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3.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4.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5.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heme/themeOverride1.xml" ContentType="application/vnd.openxmlformats-officedocument.themeOverride+xml"/>
  <Override PartName="/ppt/tags/tag150.xml" ContentType="application/vnd.openxmlformats-officedocument.presentationml.tags+xml"/>
  <Override PartName="/ppt/notesSlides/notesSlide1.xml" ContentType="application/vnd.openxmlformats-officedocument.presentationml.notesSlide+xml"/>
  <Override PartName="/ppt/tags/tag151.xml" ContentType="application/vnd.openxmlformats-officedocument.presentationml.tags+xml"/>
  <Override PartName="/ppt/notesSlides/notesSlide2.xml" ContentType="application/vnd.openxmlformats-officedocument.presentationml.notesSlide+xml"/>
  <Override PartName="/ppt/tags/tag152.xml" ContentType="application/vnd.openxmlformats-officedocument.presentationml.tags+xml"/>
  <Override PartName="/ppt/notesSlides/notesSlide3.xml" ContentType="application/vnd.openxmlformats-officedocument.presentationml.notesSlide+xml"/>
  <Override PartName="/ppt/tags/tag153.xml" ContentType="application/vnd.openxmlformats-officedocument.presentationml.tags+xml"/>
  <Override PartName="/ppt/notesSlides/notesSlide4.xml" ContentType="application/vnd.openxmlformats-officedocument.presentationml.notesSlide+xml"/>
  <Override PartName="/ppt/tags/tag154.xml" ContentType="application/vnd.openxmlformats-officedocument.presentationml.tags+xml"/>
  <Override PartName="/ppt/notesSlides/notesSlide5.xml" ContentType="application/vnd.openxmlformats-officedocument.presentationml.notesSlide+xml"/>
  <Override PartName="/ppt/tags/tag155.xml" ContentType="application/vnd.openxmlformats-officedocument.presentationml.tags+xml"/>
  <Override PartName="/ppt/notesSlides/notesSlide6.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7.xml" ContentType="application/vnd.openxmlformats-officedocument.presentationml.notesSlide+xml"/>
  <Override PartName="/ppt/tags/tag158.xml" ContentType="application/vnd.openxmlformats-officedocument.presentationml.tags+xml"/>
  <Override PartName="/ppt/notesSlides/notesSlide8.xml" ContentType="application/vnd.openxmlformats-officedocument.presentationml.notesSlide+xml"/>
  <Override PartName="/ppt/tags/tag159.xml" ContentType="application/vnd.openxmlformats-officedocument.presentationml.tags+xml"/>
  <Override PartName="/ppt/notesSlides/notesSlide9.xml" ContentType="application/vnd.openxmlformats-officedocument.presentationml.notesSlide+xml"/>
  <Override PartName="/ppt/tags/tag160.xml" ContentType="application/vnd.openxmlformats-officedocument.presentationml.tags+xml"/>
  <Override PartName="/ppt/notesSlides/notesSlide10.xml" ContentType="application/vnd.openxmlformats-officedocument.presentationml.notesSlide+xml"/>
  <Override PartName="/ppt/tags/tag161.xml" ContentType="application/vnd.openxmlformats-officedocument.presentationml.tags+xml"/>
  <Override PartName="/ppt/notesSlides/notesSlide11.xml" ContentType="application/vnd.openxmlformats-officedocument.presentationml.notesSlide+xml"/>
  <Override PartName="/ppt/tags/tag162.xml" ContentType="application/vnd.openxmlformats-officedocument.presentationml.tags+xml"/>
  <Override PartName="/ppt/notesSlides/notesSlide12.xml" ContentType="application/vnd.openxmlformats-officedocument.presentationml.notesSlide+xml"/>
  <Override PartName="/ppt/tags/tag163.xml" ContentType="application/vnd.openxmlformats-officedocument.presentationml.tags+xml"/>
  <Override PartName="/ppt/notesSlides/notesSlide13.xml" ContentType="application/vnd.openxmlformats-officedocument.presentationml.notesSlide+xml"/>
  <Override PartName="/ppt/tags/tag16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65.xml" ContentType="application/vnd.openxmlformats-officedocument.presentationml.tags+xml"/>
  <Override PartName="/ppt/notesSlides/notesSlide18.xml" ContentType="application/vnd.openxmlformats-officedocument.presentationml.notesSlide+xml"/>
  <Override PartName="/ppt/tags/tag166.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 id="2147485211" r:id="rId6"/>
    <p:sldMasterId id="2147485241" r:id="rId7"/>
    <p:sldMasterId id="2147485316" r:id="rId8"/>
  </p:sldMasterIdLst>
  <p:notesMasterIdLst>
    <p:notesMasterId r:id="rId30"/>
  </p:notesMasterIdLst>
  <p:handoutMasterIdLst>
    <p:handoutMasterId r:id="rId31"/>
  </p:handoutMasterIdLst>
  <p:sldIdLst>
    <p:sldId id="2147480528" r:id="rId9"/>
    <p:sldId id="2147480574" r:id="rId10"/>
    <p:sldId id="523" r:id="rId11"/>
    <p:sldId id="525" r:id="rId12"/>
    <p:sldId id="531" r:id="rId13"/>
    <p:sldId id="2147480573" r:id="rId14"/>
    <p:sldId id="2147480529" r:id="rId15"/>
    <p:sldId id="2147480537" r:id="rId16"/>
    <p:sldId id="2147480540" r:id="rId17"/>
    <p:sldId id="2147480538" r:id="rId18"/>
    <p:sldId id="2147480539" r:id="rId19"/>
    <p:sldId id="2147480543" r:id="rId20"/>
    <p:sldId id="2147480542" r:id="rId21"/>
    <p:sldId id="541" r:id="rId22"/>
    <p:sldId id="2147480584" r:id="rId23"/>
    <p:sldId id="537" r:id="rId24"/>
    <p:sldId id="538" r:id="rId25"/>
    <p:sldId id="389" r:id="rId26"/>
    <p:sldId id="2147480562" r:id="rId27"/>
    <p:sldId id="2147480585" r:id="rId28"/>
    <p:sldId id="306" r:id="rId29"/>
  </p:sldIdLst>
  <p:sldSz cx="12192000" cy="6858000"/>
  <p:notesSz cx="6950075" cy="9236075"/>
  <p:custShowLst>
    <p:custShow name="Format Guide Workshop" id="0">
      <p:sldLst/>
    </p:custShow>
  </p:custShowLst>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2634B9-287D-4B75-8237-9C2CFA16E04A}">
          <p14:sldIdLst>
            <p14:sldId id="2147480528"/>
          </p14:sldIdLst>
        </p14:section>
        <p14:section name="HBS slides" id="{8ECADB4D-BF92-4AE5-ADEC-DCD360FD5091}">
          <p14:sldIdLst>
            <p14:sldId id="2147480574"/>
            <p14:sldId id="523"/>
            <p14:sldId id="525"/>
            <p14:sldId id="531"/>
            <p14:sldId id="2147480573"/>
          </p14:sldIdLst>
        </p14:section>
        <p14:section name="BCG slides" id="{F0D35E25-A018-494D-84FE-2389AB37D6F1}">
          <p14:sldIdLst>
            <p14:sldId id="2147480529"/>
            <p14:sldId id="2147480537"/>
            <p14:sldId id="2147480540"/>
            <p14:sldId id="2147480538"/>
            <p14:sldId id="2147480539"/>
            <p14:sldId id="2147480543"/>
            <p14:sldId id="2147480542"/>
            <p14:sldId id="541"/>
            <p14:sldId id="2147480584"/>
            <p14:sldId id="537"/>
            <p14:sldId id="538"/>
            <p14:sldId id="389"/>
            <p14:sldId id="2147480562"/>
            <p14:sldId id="2147480585"/>
            <p14:sldId id="306"/>
          </p14:sldIdLst>
        </p14:section>
      </p14:sectionLst>
    </p:ext>
    <p:ext uri="{EFAFB233-063F-42B5-8137-9DF3F51BA10A}">
      <p15:sldGuideLst xmlns:p15="http://schemas.microsoft.com/office/powerpoint/2012/main">
        <p15:guide id="1" orient="horz" pos="2160">
          <p15:clr>
            <a:srgbClr val="A4A3A4"/>
          </p15:clr>
        </p15:guide>
        <p15:guide id="2" pos="717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A41034"/>
    <a:srgbClr val="000000"/>
    <a:srgbClr val="37373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359"/>
    <p:restoredTop sz="79517" autoAdjust="0"/>
  </p:normalViewPr>
  <p:slideViewPr>
    <p:cSldViewPr snapToGrid="0">
      <p:cViewPr varScale="1">
        <p:scale>
          <a:sx n="82" d="100"/>
          <a:sy n="82" d="100"/>
        </p:scale>
        <p:origin x="696" y="176"/>
      </p:cViewPr>
      <p:guideLst>
        <p:guide orient="horz" pos="2160"/>
        <p:guide pos="7176"/>
      </p:guideLst>
    </p:cSldViewPr>
  </p:slideViewPr>
  <p:notesTextViewPr>
    <p:cViewPr>
      <p:scale>
        <a:sx n="1" d="1"/>
        <a:sy n="1" d="1"/>
      </p:scale>
      <p:origin x="0" y="0"/>
    </p:cViewPr>
  </p:notesTextViewPr>
  <p:notesViewPr>
    <p:cSldViewPr snapToGrid="0">
      <p:cViewPr varScale="1">
        <p:scale>
          <a:sx n="143" d="100"/>
          <a:sy n="143" d="100"/>
        </p:scale>
        <p:origin x="2688" y="2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rtl="0"/>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rtl="0">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rtl="0">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rtl="0">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rtl="0">
              <a:defRPr sz="1200"/>
            </a:lvl1pPr>
          </a:lstStyle>
          <a:p>
            <a:fld id="{F2C7CF5F-7CF3-4DF3-838A-EE34544862CC}" type="datetimeFigureOut">
              <a:rPr lang="en-US" smtClean="0"/>
              <a:pPr/>
              <a:t>7/20/23</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8" name="Google Shape;198;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a:spcBef>
                <a:spcPts val="0"/>
              </a:spcBef>
              <a:spcAft>
                <a:spcPts val="0"/>
              </a:spcAft>
              <a:buNone/>
            </a:pPr>
            <a:endParaRPr lang="en-US" dirty="0"/>
          </a:p>
        </p:txBody>
      </p:sp>
      <p:sp>
        <p:nvSpPr>
          <p:cNvPr id="199" name="Google Shape;199;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r" defTabSz="914400" eaLnBrk="1" fontAlgn="auto" latinLnBrk="0" hangingPunct="1">
                <a:lnSpc>
                  <a:spcPct val="100000"/>
                </a:lnSpc>
                <a:spcBef>
                  <a:spcPts val="0"/>
                </a:spcBef>
                <a:spcAft>
                  <a:spcPts val="0"/>
                </a:spcAft>
                <a:buClr>
                  <a:srgbClr val="000000"/>
                </a:buClr>
                <a:buSzTx/>
                <a:buFont typeface="Arial"/>
                <a:buNone/>
                <a:tabLst/>
                <a:defRPr/>
              </a:pPr>
              <a:t>0</a:t>
            </a:fld>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solidFill>
                  <a:srgbClr val="A41034"/>
                </a:solidFill>
                <a:latin typeface="Arial" panose="020B0604020202020204" pitchFamily="34" charset="0"/>
                <a:cs typeface="Arial" panose="020B0604020202020204" pitchFamily="34" charset="0"/>
              </a:rPr>
              <a:t>Explanation:</a:t>
            </a:r>
            <a:r>
              <a:rPr lang="hu-HU" dirty="0">
                <a:solidFill>
                  <a:srgbClr val="A41034"/>
                </a:solidFill>
                <a:latin typeface="Arial" panose="020B0604020202020204" pitchFamily="34" charset="0"/>
                <a:cs typeface="Arial" panose="020B0604020202020204" pitchFamily="34" charset="0"/>
              </a:rPr>
              <a:t> </a:t>
            </a:r>
            <a:r>
              <a:rPr lang="en-US" sz="1200" dirty="0">
                <a:solidFill>
                  <a:srgbClr val="37373A"/>
                </a:solidFill>
                <a:latin typeface="Arial" panose="020B0604020202020204" pitchFamily="34" charset="0"/>
                <a:ea typeface="Times New Roman" panose="02020603050405020304" pitchFamily="18" charset="0"/>
                <a:cs typeface="Arial" panose="020B0604020202020204" pitchFamily="34" charset="0"/>
              </a:rPr>
              <a:t>Many firms still consider reskilling to be the responsibility of HR. As a result, they think of skilling efforts in narrow terms, measuring outcome in number of trainings delivered, cost per learner, and so on. To drive real impact, reskilling targets should be embedded in the annual strategy planning process and in managers' KPIs as well. </a:t>
            </a:r>
            <a:endParaRPr lang="en-US" sz="1200" dirty="0">
              <a:solidFill>
                <a:srgbClr val="37373A"/>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167049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solidFill>
                  <a:srgbClr val="A41034"/>
                </a:solidFill>
                <a:latin typeface="Arial" panose="020B0604020202020204" pitchFamily="34" charset="0"/>
                <a:cs typeface="Arial" panose="020B0604020202020204" pitchFamily="34" charset="0"/>
              </a:rPr>
              <a:t>Explanation: </a:t>
            </a:r>
            <a:r>
              <a:rPr lang="en-US" sz="1200" dirty="0">
                <a:solidFill>
                  <a:srgbClr val="37373A"/>
                </a:solidFill>
                <a:latin typeface="Arial" panose="020B0604020202020204" pitchFamily="34" charset="0"/>
                <a:ea typeface="Times New Roman" panose="02020603050405020304" pitchFamily="18" charset="0"/>
                <a:cs typeface="Arial" panose="020B0604020202020204" pitchFamily="34" charset="0"/>
              </a:rPr>
              <a:t>Companies have long considered reskilling just one of many forms of employee training. However, the most successful players approach reskilling as a change-management initiative— one that involves considerable mindset and culture change and requires thorough planning and stakeholder management.</a:t>
            </a:r>
            <a:endParaRPr lang="en-US" sz="1200" dirty="0">
              <a:solidFill>
                <a:srgbClr val="37373A"/>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6929710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rPr>
              <a:t>Explanation: </a:t>
            </a:r>
            <a:r>
              <a:rPr lang="en-US" dirty="0">
                <a:solidFill>
                  <a:srgbClr val="A41034"/>
                </a:solidFill>
                <a:latin typeface="Arial" panose="020B0604020202020204" pitchFamily="34" charset="0"/>
                <a:cs typeface="Arial" panose="020B0604020202020204" pitchFamily="34" charset="0"/>
              </a:rPr>
              <a:t>Companies used to assume that they would have to work hard to convince employees to reskill, since reskilling amounts to a major life change and requires a lot of effort.</a:t>
            </a:r>
            <a:endParaRPr lang="hu-HU" dirty="0">
              <a:solidFill>
                <a:srgbClr val="A41034"/>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hu-HU" dirty="0">
              <a:solidFill>
                <a:srgbClr val="A41034"/>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hu-HU" dirty="0">
                <a:solidFill>
                  <a:srgbClr val="A41034"/>
                </a:solidFill>
                <a:latin typeface="Arial" panose="020B0604020202020204" pitchFamily="34" charset="0"/>
                <a:cs typeface="Arial" panose="020B0604020202020204" pitchFamily="34" charset="0"/>
              </a:rPr>
              <a:t>This is not true,</a:t>
            </a:r>
            <a:r>
              <a:rPr lang="en-US" dirty="0">
                <a:solidFill>
                  <a:srgbClr val="A41034"/>
                </a:solidFill>
                <a:latin typeface="Arial" panose="020B0604020202020204" pitchFamily="34" charset="0"/>
                <a:cs typeface="Arial" panose="020B0604020202020204" pitchFamily="34" charset="0"/>
              </a:rPr>
              <a:t> </a:t>
            </a:r>
            <a:r>
              <a:rPr lang="hu-HU" sz="1200" dirty="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rPr>
              <a:t>Decoding Global Talent: 67% of 200,000 people globally who filled the survey said they are open to reskill to a completely different rol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hu-HU" dirty="0">
              <a:solidFill>
                <a:srgbClr val="A41034"/>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solidFill>
                  <a:srgbClr val="A41034"/>
                </a:solidFill>
                <a:latin typeface="Arial" panose="020B0604020202020204" pitchFamily="34" charset="0"/>
                <a:cs typeface="Arial" panose="020B0604020202020204" pitchFamily="34" charset="0"/>
              </a:rPr>
              <a:t>However, if the value proposition of the program is clear, workers are more willing to reskill than managers might expect</a:t>
            </a:r>
            <a:r>
              <a:rPr lang="hu-HU" dirty="0">
                <a:solidFill>
                  <a:srgbClr val="A41034"/>
                </a:solidFill>
                <a:latin typeface="Arial" panose="020B0604020202020204" pitchFamily="34" charset="0"/>
                <a:cs typeface="Arial" panose="020B0604020202020204" pitchFamily="34" charset="0"/>
              </a:rPr>
              <a:t> .Its not that they dont like learning or reskilling – but very often the value proposition of programs arent clear, they dont know what they get at the end, they dont have mental space or time to skill besides their daily job etc.</a:t>
            </a:r>
            <a:endParaRPr lang="en-US" dirty="0">
              <a:solidFill>
                <a:srgbClr val="A41034"/>
              </a:solidFill>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hu-HU" sz="1200" dirty="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hu-HU" sz="1200" dirty="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hu-HU" sz="1200" dirty="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73335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solidFill>
                  <a:srgbClr val="A41034"/>
                </a:solidFill>
                <a:latin typeface="Arial" panose="020B0604020202020204" pitchFamily="34" charset="0"/>
                <a:cs typeface="Arial" panose="020B0604020202020204" pitchFamily="34" charset="0"/>
              </a:rPr>
              <a:t>Explanation: </a:t>
            </a:r>
            <a:r>
              <a:rPr lang="en-US" sz="1200" dirty="0">
                <a:solidFill>
                  <a:srgbClr val="37373A"/>
                </a:solidFill>
                <a:latin typeface="Arial" panose="020B0604020202020204" pitchFamily="34" charset="0"/>
                <a:ea typeface="Times New Roman" panose="02020603050405020304" pitchFamily="18" charset="0"/>
                <a:cs typeface="Arial" panose="020B0604020202020204" pitchFamily="34" charset="0"/>
              </a:rPr>
              <a:t>Building reskilling programs from scratch can sound daunting, but it's not necessary. Reskilling takes place in an ecosystem in which many actors have roles to play. Governments can incentivize reskilling through funds, policies, and public programs; industry can team up with academia to develop new skill-building offers, and NGOs provide a bridge to unexplored pools of talent.</a:t>
            </a:r>
            <a:endParaRPr lang="en-US" sz="1200" dirty="0">
              <a:solidFill>
                <a:srgbClr val="37373A"/>
              </a:solidFill>
              <a:latin typeface="Arial" panose="020B0604020202020204" pitchFamily="34" charset="0"/>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7880843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https://europe.autonews.com/automakers/shift-evs-means-huge-reskilling-job-europe-study-says</a:t>
            </a:r>
          </a:p>
          <a:p>
            <a:endParaRPr lang="en-US" dirty="0"/>
          </a:p>
          <a:p>
            <a:r>
              <a:rPr lang="en-US" dirty="0"/>
              <a:t>https://www.acea.auto/message-dg/reskilling-billions-of-euros-to-be-mobilised-for-making-europes-automotive-workforce-future-proof/</a:t>
            </a:r>
          </a:p>
          <a:p>
            <a:endParaRPr lang="en-US" dirty="0"/>
          </a:p>
          <a:p>
            <a:r>
              <a:rPr lang="en-US" dirty="0"/>
              <a:t>https://www.ft.com/content/6e6be236-050a-4bfe-839b-653f6d8cb3ac</a:t>
            </a:r>
          </a:p>
          <a:p>
            <a:endParaRPr lang="en-US" dirty="0"/>
          </a:p>
          <a:p>
            <a:r>
              <a:rPr lang="en-US" dirty="0"/>
              <a:t>https://www.media.volvocars.com/us/en-us/media/pressreleases/283450/volvo-cars-officially-opens-volvo-car-university-campus-in-south-Carolina</a:t>
            </a:r>
          </a:p>
          <a:p>
            <a:endParaRPr lang="en-US" dirty="0"/>
          </a:p>
          <a:p>
            <a:r>
              <a:rPr lang="en-US" dirty="0"/>
              <a:t>GM: https://www.cnbc.com/2022/10/16/how-one-gm-auto-plants-union-workforce-is-learning-to-make-evs.html</a:t>
            </a:r>
          </a:p>
          <a:p>
            <a:endParaRPr lang="en-US" b="0"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0C0A36C-1211-4CAF-8EEC-F940F83B8A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916771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26"/>
        <p:cNvGrpSpPr/>
        <p:nvPr/>
      </p:nvGrpSpPr>
      <p:grpSpPr>
        <a:xfrm>
          <a:off x="0" y="0"/>
          <a:ext cx="0" cy="0"/>
          <a:chOff x="0" y="0"/>
          <a:chExt cx="0" cy="0"/>
        </a:xfrm>
      </p:grpSpPr>
      <p:sp>
        <p:nvSpPr>
          <p:cNvPr id="11027" name="Google Shape;11027;p4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028" name="Google Shape;11028;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7963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26"/>
        <p:cNvGrpSpPr/>
        <p:nvPr/>
      </p:nvGrpSpPr>
      <p:grpSpPr>
        <a:xfrm>
          <a:off x="0" y="0"/>
          <a:ext cx="0" cy="0"/>
          <a:chOff x="0" y="0"/>
          <a:chExt cx="0" cy="0"/>
        </a:xfrm>
      </p:grpSpPr>
      <p:sp>
        <p:nvSpPr>
          <p:cNvPr id="11027" name="Google Shape;11027;p4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028" name="Google Shape;11028;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690455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GB" dirty="0"/>
              <a:t>Layout option for three images and text</a:t>
            </a:r>
          </a:p>
          <a:p>
            <a:endParaRPr lang="en-GB" dirty="0"/>
          </a:p>
          <a:p>
            <a:r>
              <a:rPr lang="en-GB" dirty="0"/>
              <a:t>To change the image bring in any image into the slide and place the where the current image is located. Delete the current image afterwards.</a:t>
            </a:r>
          </a:p>
          <a:p>
            <a:r>
              <a:rPr lang="en-GB" b="1" dirty="0"/>
              <a:t>To adjust the positioning of the image:</a:t>
            </a:r>
          </a:p>
          <a:p>
            <a:r>
              <a:rPr lang="en-GB" dirty="0"/>
              <a:t>Right click on the image &gt; Crop &gt; Drag image to desired position</a:t>
            </a:r>
          </a:p>
          <a:p>
            <a:r>
              <a:rPr lang="en-GB" b="1" dirty="0"/>
              <a:t>To resize the image:</a:t>
            </a:r>
          </a:p>
          <a:p>
            <a:r>
              <a:rPr lang="en-GB" dirty="0"/>
              <a:t>Right click on the image &gt; Crop &gt; Press down Shift &gt; drag one of the round corner points in or out to make your image smaller or bigger &gt; drag image side ways to adjust the positioning if necessary </a:t>
            </a:r>
          </a:p>
          <a:p>
            <a:endParaRPr lang="en-GB" dirty="0"/>
          </a:p>
        </p:txBody>
      </p:sp>
      <p:sp>
        <p:nvSpPr>
          <p:cNvPr id="4" name="Slide Number Placeholder 3"/>
          <p:cNvSpPr>
            <a:spLocks noGrp="1"/>
          </p:cNvSpPr>
          <p:nvPr>
            <p:ph type="sldNum" sz="quarter" idx="5"/>
          </p:nvPr>
        </p:nvSpPr>
        <p:spPr/>
        <p:txBody>
          <a:bodyPr/>
          <a:lstStyle/>
          <a:p>
            <a:fld id="{F0C0A36C-1211-4CAF-8EEC-F940F83B8AE4}" type="slidenum">
              <a:rPr lang="en-GB" smtClean="0"/>
              <a:t>17</a:t>
            </a:fld>
            <a:endParaRPr lang="en-GB"/>
          </a:p>
        </p:txBody>
      </p:sp>
    </p:spTree>
    <p:extLst>
      <p:ext uri="{BB962C8B-B14F-4D97-AF65-F5344CB8AC3E}">
        <p14:creationId xmlns:p14="http://schemas.microsoft.com/office/powerpoint/2010/main" val="3936223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26"/>
        <p:cNvGrpSpPr/>
        <p:nvPr/>
      </p:nvGrpSpPr>
      <p:grpSpPr>
        <a:xfrm>
          <a:off x="0" y="0"/>
          <a:ext cx="0" cy="0"/>
          <a:chOff x="0" y="0"/>
          <a:chExt cx="0" cy="0"/>
        </a:xfrm>
      </p:grpSpPr>
      <p:sp>
        <p:nvSpPr>
          <p:cNvPr id="11027" name="Google Shape;11027;p4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a:spcBef>
                <a:spcPts val="0"/>
              </a:spcBef>
              <a:spcAft>
                <a:spcPts val="0"/>
              </a:spcAft>
              <a:buNone/>
            </a:pPr>
            <a:endParaRPr lang="en-US" dirty="0"/>
          </a:p>
        </p:txBody>
      </p:sp>
      <p:sp>
        <p:nvSpPr>
          <p:cNvPr id="11028" name="Google Shape;11028;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090888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fontAlgn="base"/>
            <a:r>
              <a:rPr lang="en-US" sz="1200" kern="1200" dirty="0">
                <a:solidFill>
                  <a:schemeClr val="tx1"/>
                </a:solidFill>
                <a:effectLst/>
                <a:latin typeface="+mn-lt"/>
                <a:ea typeface="+mn-ea"/>
                <a:cs typeface="+mn-cs"/>
              </a:rPr>
              <a:t>Need different visual in the middle. That’s the engineering school that’s across the street from HBS. It’s tricky because the building doesn’t exist yet, but maybe an arial view of the HBS campus could work with a pin drop for the location.  </a:t>
            </a:r>
            <a:r>
              <a:rPr lang="en-US" sz="1200" b="1" kern="1200" dirty="0">
                <a:solidFill>
                  <a:schemeClr val="tx1"/>
                </a:solidFill>
                <a:effectLst/>
                <a:latin typeface="+mn-lt"/>
                <a:ea typeface="+mn-ea"/>
                <a:cs typeface="+mn-cs"/>
              </a:rPr>
              <a:t>actioned</a:t>
            </a:r>
          </a:p>
          <a:p>
            <a:pPr lvl="0" fontAlgn="base"/>
            <a:r>
              <a:rPr lang="en-US" sz="1200" kern="1200" dirty="0">
                <a:solidFill>
                  <a:schemeClr val="tx1"/>
                </a:solidFill>
                <a:effectLst/>
                <a:latin typeface="+mn-lt"/>
                <a:ea typeface="+mn-ea"/>
                <a:cs typeface="+mn-cs"/>
              </a:rPr>
              <a:t> </a:t>
            </a:r>
          </a:p>
          <a:p>
            <a:pPr lvl="0" fontAlgn="base"/>
            <a:r>
              <a:rPr lang="en-US" sz="1200" kern="1200" dirty="0">
                <a:solidFill>
                  <a:schemeClr val="tx1"/>
                </a:solidFill>
                <a:effectLst/>
                <a:latin typeface="+mn-lt"/>
                <a:ea typeface="+mn-ea"/>
                <a:cs typeface="+mn-cs"/>
              </a:rPr>
              <a:t>Instead of “re-educate” let’s say upskill. </a:t>
            </a:r>
            <a:r>
              <a:rPr lang="en-US" sz="1200" b="1" kern="1200" dirty="0">
                <a:solidFill>
                  <a:schemeClr val="tx1"/>
                </a:solidFill>
                <a:effectLst/>
                <a:latin typeface="+mn-lt"/>
                <a:ea typeface="+mn-ea"/>
                <a:cs typeface="+mn-cs"/>
              </a:rPr>
              <a:t>actioned</a:t>
            </a:r>
          </a:p>
          <a:p>
            <a:endParaRPr lang="en-GB" dirty="0"/>
          </a:p>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8CAA9B-C0FE-42C7-8C1F-2456BC030A8C}" type="slidenum">
              <a:rPr kumimoji="0" lang="en-V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V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55210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26"/>
        <p:cNvGrpSpPr/>
        <p:nvPr/>
      </p:nvGrpSpPr>
      <p:grpSpPr>
        <a:xfrm>
          <a:off x="0" y="0"/>
          <a:ext cx="0" cy="0"/>
          <a:chOff x="0" y="0"/>
          <a:chExt cx="0" cy="0"/>
        </a:xfrm>
      </p:grpSpPr>
      <p:sp>
        <p:nvSpPr>
          <p:cNvPr id="11027" name="Google Shape;11027;p4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a:spcBef>
                <a:spcPts val="0"/>
              </a:spcBef>
              <a:spcAft>
                <a:spcPts val="0"/>
              </a:spcAft>
              <a:buNone/>
            </a:pPr>
            <a:endParaRPr lang="en-US" dirty="0"/>
          </a:p>
        </p:txBody>
      </p:sp>
      <p:sp>
        <p:nvSpPr>
          <p:cNvPr id="11028" name="Google Shape;11028;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07962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E99E7C2F-B8AB-4B78-95AF-D55238B5E2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3027528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E99E7C2F-B8AB-4B78-95AF-D55238B5E2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95275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eaLnBrk="1" fontAlgn="auto" latinLnBrk="0" hangingPunct="1">
                <a:lnSpc>
                  <a:spcPct val="100000"/>
                </a:lnSpc>
                <a:spcBef>
                  <a:spcPts val="0"/>
                </a:spcBef>
                <a:spcAft>
                  <a:spcPts val="0"/>
                </a:spcAft>
                <a:buClr>
                  <a:srgbClr val="000000"/>
                </a:buClr>
                <a:buSzTx/>
                <a:buFont typeface="Arial"/>
                <a:buNone/>
                <a:tabLst/>
                <a:defRPr/>
              </a:pPr>
              <a:t>4</a:t>
            </a:fld>
            <a:endPar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8889416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26"/>
        <p:cNvGrpSpPr/>
        <p:nvPr/>
      </p:nvGrpSpPr>
      <p:grpSpPr>
        <a:xfrm>
          <a:off x="0" y="0"/>
          <a:ext cx="0" cy="0"/>
          <a:chOff x="0" y="0"/>
          <a:chExt cx="0" cy="0"/>
        </a:xfrm>
      </p:grpSpPr>
      <p:sp>
        <p:nvSpPr>
          <p:cNvPr id="11027" name="Google Shape;11027;p4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a:spcBef>
                <a:spcPts val="0"/>
              </a:spcBef>
              <a:spcAft>
                <a:spcPts val="0"/>
              </a:spcAft>
              <a:buNone/>
            </a:pPr>
            <a:endParaRPr lang="en-US" dirty="0"/>
          </a:p>
        </p:txBody>
      </p:sp>
      <p:sp>
        <p:nvSpPr>
          <p:cNvPr id="11028" name="Google Shape;11028;p4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220182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Notes view: </a:t>
            </a:r>
            <a:fld id="{128CEAFE-FA94-43E5-B0FF-D47E1CCDD1B4}"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t>6</a:t>
            </a:fld>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727313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3498989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t>Explanation: </a:t>
            </a:r>
            <a:r>
              <a:rPr lang="en-US" sz="1200" dirty="0">
                <a:solidFill>
                  <a:schemeClr val="bg2">
                    <a:lumMod val="10000"/>
                  </a:schemeClr>
                </a:solidFill>
                <a:effectLst/>
                <a:latin typeface="Arial" panose="020B0604020202020204" pitchFamily="34" charset="0"/>
                <a:ea typeface="Times New Roman" panose="02020603050405020304" pitchFamily="18" charset="0"/>
                <a:cs typeface="Arial" panose="020B0604020202020204" pitchFamily="34" charset="0"/>
              </a:rPr>
              <a:t>Reskilling initiatives are increasingly seen as a way to build competitive advantage, not only a way to take care of displaced workers. Leading players develop talent that is not readily available on the market to fill skills gaps that are instrumental to delivering the corporate strategy. </a:t>
            </a:r>
            <a:endParaRPr lang="en-US" sz="1200" dirty="0">
              <a:solidFill>
                <a:schemeClr val="bg2">
                  <a:lumMod val="10000"/>
                </a:schemeClr>
              </a:solidFill>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hu-HU" sz="1200" dirty="0">
              <a:solidFill>
                <a:srgbClr val="37373A"/>
              </a:solidFill>
              <a:latin typeface="Arial" panose="020B0604020202020204" pitchFamily="34" charset="0"/>
              <a:ea typeface="Times New Roman" panose="02020603050405020304" pitchFamily="18"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6929710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16.xml"/><Relationship Id="rId4" Type="http://schemas.openxmlformats.org/officeDocument/2006/relationships/image" Target="../media/image5.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17.xml"/><Relationship Id="rId4" Type="http://schemas.openxmlformats.org/officeDocument/2006/relationships/image" Target="../media/image5.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18.xml"/><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19.xml"/><Relationship Id="rId4" Type="http://schemas.openxmlformats.org/officeDocument/2006/relationships/image" Target="../media/image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20.xml"/><Relationship Id="rId4" Type="http://schemas.openxmlformats.org/officeDocument/2006/relationships/image" Target="../media/image5.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3.xml"/><Relationship Id="rId1" Type="http://schemas.openxmlformats.org/officeDocument/2006/relationships/tags" Target="../tags/tag121.xml"/><Relationship Id="rId4"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3.xml"/><Relationship Id="rId1" Type="http://schemas.openxmlformats.org/officeDocument/2006/relationships/tags" Target="../tags/tag122.xml"/><Relationship Id="rId4" Type="http://schemas.openxmlformats.org/officeDocument/2006/relationships/image" Target="../media/image5.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3.xml"/><Relationship Id="rId1" Type="http://schemas.openxmlformats.org/officeDocument/2006/relationships/tags" Target="../tags/tag123.xml"/><Relationship Id="rId4" Type="http://schemas.openxmlformats.org/officeDocument/2006/relationships/image" Target="../media/image5.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xml"/><Relationship Id="rId1" Type="http://schemas.openxmlformats.org/officeDocument/2006/relationships/tags" Target="../tags/tag124.xml"/><Relationship Id="rId4" Type="http://schemas.openxmlformats.org/officeDocument/2006/relationships/image" Target="../media/image5.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xml"/><Relationship Id="rId1" Type="http://schemas.openxmlformats.org/officeDocument/2006/relationships/tags" Target="../tags/tag125.xml"/><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26.xml"/><Relationship Id="rId4" Type="http://schemas.openxmlformats.org/officeDocument/2006/relationships/image" Target="../media/image5.emf"/></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4.xml"/><Relationship Id="rId1" Type="http://schemas.openxmlformats.org/officeDocument/2006/relationships/tags" Target="../tags/tag128.xml"/><Relationship Id="rId5" Type="http://schemas.openxmlformats.org/officeDocument/2006/relationships/image" Target="../media/image24.png"/><Relationship Id="rId4" Type="http://schemas.openxmlformats.org/officeDocument/2006/relationships/image" Target="../media/image8.emf"/></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4.xml"/><Relationship Id="rId1" Type="http://schemas.openxmlformats.org/officeDocument/2006/relationships/tags" Target="../tags/tag129.xml"/><Relationship Id="rId5" Type="http://schemas.openxmlformats.org/officeDocument/2006/relationships/image" Target="../media/image12.png"/><Relationship Id="rId4" Type="http://schemas.openxmlformats.org/officeDocument/2006/relationships/image" Target="../media/image8.emf"/></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4.xml"/><Relationship Id="rId1" Type="http://schemas.openxmlformats.org/officeDocument/2006/relationships/tags" Target="../tags/tag130.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0.png"/><Relationship Id="rId4" Type="http://schemas.openxmlformats.org/officeDocument/2006/relationships/image" Target="../media/image5.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4.xml"/><Relationship Id="rId1" Type="http://schemas.openxmlformats.org/officeDocument/2006/relationships/tags" Target="../tags/tag131.xml"/><Relationship Id="rId5" Type="http://schemas.openxmlformats.org/officeDocument/2006/relationships/image" Target="../media/image22.png"/><Relationship Id="rId4" Type="http://schemas.openxmlformats.org/officeDocument/2006/relationships/image" Target="../media/image8.emf"/></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4.xml"/><Relationship Id="rId1" Type="http://schemas.openxmlformats.org/officeDocument/2006/relationships/tags" Target="../tags/tag132.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4.xml"/><Relationship Id="rId1" Type="http://schemas.openxmlformats.org/officeDocument/2006/relationships/tags" Target="../tags/tag135.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1.png"/><Relationship Id="rId4" Type="http://schemas.openxmlformats.org/officeDocument/2006/relationships/image" Target="../media/image5.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4.xml"/><Relationship Id="rId1" Type="http://schemas.openxmlformats.org/officeDocument/2006/relationships/tags" Target="../tags/tag136.xml"/><Relationship Id="rId4"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4.xml"/><Relationship Id="rId1" Type="http://schemas.openxmlformats.org/officeDocument/2006/relationships/tags" Target="../tags/tag13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4.xml"/><Relationship Id="rId1" Type="http://schemas.openxmlformats.org/officeDocument/2006/relationships/tags" Target="../tags/tag140.xml"/><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4.xml"/><Relationship Id="rId1" Type="http://schemas.openxmlformats.org/officeDocument/2006/relationships/tags" Target="../tags/tag141.xml"/><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4.xml"/><Relationship Id="rId1" Type="http://schemas.openxmlformats.org/officeDocument/2006/relationships/tags" Target="../tags/tag14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4.xml"/><Relationship Id="rId1" Type="http://schemas.openxmlformats.org/officeDocument/2006/relationships/tags" Target="../tags/tag143.xml"/><Relationship Id="rId5" Type="http://schemas.openxmlformats.org/officeDocument/2006/relationships/image" Target="../media/image22.png"/><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5.xml"/><Relationship Id="rId1" Type="http://schemas.openxmlformats.org/officeDocument/2006/relationships/tags" Target="../tags/tag145.xml"/><Relationship Id="rId4" Type="http://schemas.openxmlformats.org/officeDocument/2006/relationships/image" Target="../media/image30.svg"/></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Master" Target="../slideMasters/slideMaster5.xml"/><Relationship Id="rId1" Type="http://schemas.openxmlformats.org/officeDocument/2006/relationships/tags" Target="../tags/tag146.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Master" Target="../slideMasters/slideMaster5.xml"/><Relationship Id="rId1" Type="http://schemas.openxmlformats.org/officeDocument/2006/relationships/tags" Target="../tags/tag148.xml"/><Relationship Id="rId5" Type="http://schemas.openxmlformats.org/officeDocument/2006/relationships/image" Target="../media/image37.png"/><Relationship Id="rId4" Type="http://schemas.openxmlformats.org/officeDocument/2006/relationships/image" Target="../media/image36.png"/></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9.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1.png"/><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12.png"/><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5.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3.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8.xml"/><Relationship Id="rId7" Type="http://schemas.openxmlformats.org/officeDocument/2006/relationships/image" Target="../media/image2.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30.bin"/><Relationship Id="rId5" Type="http://schemas.openxmlformats.org/officeDocument/2006/relationships/slideMaster" Target="../slideMasters/slideMaster1.xml"/><Relationship Id="rId4" Type="http://schemas.openxmlformats.org/officeDocument/2006/relationships/tags" Target="../tags/tag39.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9.png"/><Relationship Id="rId4" Type="http://schemas.openxmlformats.org/officeDocument/2006/relationships/image" Target="../media/image5.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0.png"/><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6.xml"/><Relationship Id="rId5" Type="http://schemas.openxmlformats.org/officeDocument/2006/relationships/image" Target="../media/image11.png"/><Relationship Id="rId4" Type="http://schemas.openxmlformats.org/officeDocument/2006/relationships/image" Target="../media/image5.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8.xml"/><Relationship Id="rId5" Type="http://schemas.openxmlformats.org/officeDocument/2006/relationships/image" Target="../media/image11.png"/><Relationship Id="rId4" Type="http://schemas.openxmlformats.org/officeDocument/2006/relationships/image" Target="../media/image5.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6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5.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3.jpe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7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7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7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7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8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81.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5.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5.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5.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5.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5.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5.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94.xml"/><Relationship Id="rId5" Type="http://schemas.openxmlformats.org/officeDocument/2006/relationships/image" Target="../media/image19.png"/><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5.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5.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5.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5.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5.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5.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5.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5.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5.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106.xml"/><Relationship Id="rId4" Type="http://schemas.openxmlformats.org/officeDocument/2006/relationships/image" Target="../media/image5.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107.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5.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108.xml"/><Relationship Id="rId4" Type="http://schemas.openxmlformats.org/officeDocument/2006/relationships/image" Target="../media/image5.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109.xml"/><Relationship Id="rId4" Type="http://schemas.openxmlformats.org/officeDocument/2006/relationships/image" Target="../media/image5.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110.xml"/><Relationship Id="rId4" Type="http://schemas.openxmlformats.org/officeDocument/2006/relationships/image" Target="../media/image5.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11.xml"/><Relationship Id="rId4"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112.xml"/><Relationship Id="rId4"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13.xml"/><Relationship Id="rId4"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14.xml"/><Relationship Id="rId5" Type="http://schemas.openxmlformats.org/officeDocument/2006/relationships/image" Target="../media/image19.png"/><Relationship Id="rId4"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15.xml"/><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86587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cstate="screen">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cstate="screen">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US" dirty="0"/>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80DE4-8890-546B-F318-7CC9732DD7C4}"/>
              </a:ext>
            </a:extLst>
          </p:cNvPr>
          <p:cNvGraphicFramePr>
            <a:graphicFrameLocks noChangeAspect="1"/>
          </p:cNvGraphicFramePr>
          <p:nvPr userDrawn="1">
            <p:custDataLst>
              <p:tags r:id="rId1"/>
            </p:custDataLst>
            <p:extLst>
              <p:ext uri="{D42A27DB-BD31-4B8C-83A1-F6EECF244321}">
                <p14:modId xmlns:p14="http://schemas.microsoft.com/office/powerpoint/2010/main" val="1768047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57980DE4-8890-546B-F318-7CC9732DD7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Core 2" type="secHead">
  <p:cSld name="Core 2">
    <p:spTree>
      <p:nvGrpSpPr>
        <p:cNvPr id="1" name="Shape 1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900D5A-186E-5AA0-DFAB-DF1D09BE6DE2}"/>
              </a:ext>
            </a:extLst>
          </p:cNvPr>
          <p:cNvGraphicFramePr>
            <a:graphicFrameLocks noChangeAspect="1"/>
          </p:cNvGraphicFramePr>
          <p:nvPr userDrawn="1">
            <p:custDataLst>
              <p:tags r:id="rId1"/>
            </p:custDataLst>
            <p:extLst>
              <p:ext uri="{D42A27DB-BD31-4B8C-83A1-F6EECF244321}">
                <p14:modId xmlns:p14="http://schemas.microsoft.com/office/powerpoint/2010/main" val="419990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BD900D5A-186E-5AA0-DFAB-DF1D09BE6D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Google Shape;149;p69"/>
          <p:cNvSpPr txBox="1">
            <a:spLocks noGrp="1"/>
          </p:cNvSpPr>
          <p:nvPr>
            <p:ph type="title"/>
          </p:nvPr>
        </p:nvSpPr>
        <p:spPr>
          <a:xfrm>
            <a:off x="334963" y="1196975"/>
            <a:ext cx="11495087" cy="2852737"/>
          </a:xfrm>
          <a:prstGeom prst="rect">
            <a:avLst/>
          </a:prstGeom>
          <a:no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dk2"/>
              </a:buClr>
              <a:buSzPts val="6000"/>
              <a:buFont typeface="Arial"/>
              <a:buNone/>
              <a:defRPr sz="6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50" name="Google Shape;150;p69"/>
          <p:cNvSpPr txBox="1">
            <a:spLocks noGrp="1"/>
          </p:cNvSpPr>
          <p:nvPr>
            <p:ph type="body" idx="1"/>
          </p:nvPr>
        </p:nvSpPr>
        <p:spPr>
          <a:xfrm>
            <a:off x="334963" y="4160838"/>
            <a:ext cx="11495087" cy="1500187"/>
          </a:xfrm>
          <a:prstGeom prst="rect">
            <a:avLst/>
          </a:prstGeom>
          <a:noFill/>
          <a:ln>
            <a:noFill/>
          </a:ln>
        </p:spPr>
        <p:txBody>
          <a:bodyPr spcFirstLastPara="1" wrap="square" lIns="91425" tIns="45700" rIns="91425" bIns="45700" anchor="t" anchorCtr="0">
            <a:normAutofit/>
          </a:bodyPr>
          <a:lstStyle>
            <a:lvl1pPr marL="457200" lvl="0" indent="-228600" algn="l" rtl="0">
              <a:lnSpc>
                <a:spcPct val="90000"/>
              </a:lnSpc>
              <a:spcBef>
                <a:spcPts val="1000"/>
              </a:spcBef>
              <a:spcAft>
                <a:spcPts val="0"/>
              </a:spcAft>
              <a:buSzPts val="2400"/>
              <a:buNone/>
              <a:defRPr sz="2400">
                <a:solidFill>
                  <a:srgbClr val="888888"/>
                </a:solidFill>
              </a:defRPr>
            </a:lvl1pPr>
            <a:lvl2pPr marL="914400" lvl="1" indent="-228600" algn="l">
              <a:lnSpc>
                <a:spcPct val="90000"/>
              </a:lnSpc>
              <a:spcBef>
                <a:spcPts val="500"/>
              </a:spcBef>
              <a:spcAft>
                <a:spcPts val="0"/>
              </a:spcAft>
              <a:buSzPts val="2000"/>
              <a:buNone/>
              <a:defRPr sz="2000">
                <a:solidFill>
                  <a:srgbClr val="888888"/>
                </a:solidFill>
              </a:defRPr>
            </a:lvl2pPr>
            <a:lvl3pPr marL="1371600" lvl="2" indent="-228600" algn="l">
              <a:lnSpc>
                <a:spcPct val="90000"/>
              </a:lnSpc>
              <a:spcBef>
                <a:spcPts val="500"/>
              </a:spcBef>
              <a:spcAft>
                <a:spcPts val="0"/>
              </a:spcAft>
              <a:buSzPts val="1800"/>
              <a:buNone/>
              <a:defRPr sz="1800">
                <a:solidFill>
                  <a:srgbClr val="888888"/>
                </a:solidFill>
              </a:defRPr>
            </a:lvl3pPr>
            <a:lvl4pPr marL="1828800" lvl="3" indent="-228600" algn="l">
              <a:lnSpc>
                <a:spcPct val="90000"/>
              </a:lnSpc>
              <a:spcBef>
                <a:spcPts val="500"/>
              </a:spcBef>
              <a:spcAft>
                <a:spcPts val="0"/>
              </a:spcAft>
              <a:buSzPts val="1600"/>
              <a:buNone/>
              <a:defRPr sz="1600">
                <a:solidFill>
                  <a:srgbClr val="888888"/>
                </a:solidFill>
              </a:defRPr>
            </a:lvl4pPr>
            <a:lvl5pPr marL="2286000" lvl="4" indent="-228600" algn="l">
              <a:lnSpc>
                <a:spcPct val="90000"/>
              </a:lnSpc>
              <a:spcBef>
                <a:spcPts val="500"/>
              </a:spcBef>
              <a:spcAft>
                <a:spcPts val="0"/>
              </a:spcAft>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lang="en-US" dirty="0"/>
          </a:p>
        </p:txBody>
      </p:sp>
      <p:sp>
        <p:nvSpPr>
          <p:cNvPr id="151" name="Google Shape;151;p69"/>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52" name="Google Shape;152;p69"/>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53" name="Google Shape;153;p69"/>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944574671"/>
      </p:ext>
    </p:extLst>
  </p:cSld>
  <p:clrMapOvr>
    <a:masterClrMapping/>
  </p:clrMapOvr>
  <p:transition spd="slow">
    <p:push/>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Core 3" type="twoObj">
  <p:cSld name="Core 3">
    <p:spTree>
      <p:nvGrpSpPr>
        <p:cNvPr id="1" name="Shape 15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D8B75B-63F3-41B4-C014-F4BE91CCE493}"/>
              </a:ext>
            </a:extLst>
          </p:cNvPr>
          <p:cNvGraphicFramePr>
            <a:graphicFrameLocks noChangeAspect="1"/>
          </p:cNvGraphicFramePr>
          <p:nvPr userDrawn="1">
            <p:custDataLst>
              <p:tags r:id="rId1"/>
            </p:custDataLst>
            <p:extLst>
              <p:ext uri="{D42A27DB-BD31-4B8C-83A1-F6EECF244321}">
                <p14:modId xmlns:p14="http://schemas.microsoft.com/office/powerpoint/2010/main" val="3188705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0DD8B75B-63F3-41B4-C014-F4BE91CCE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5" name="Google Shape;155;p70"/>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56" name="Google Shape;156;p70"/>
          <p:cNvSpPr txBox="1">
            <a:spLocks noGrp="1"/>
          </p:cNvSpPr>
          <p:nvPr>
            <p:ph type="body" idx="1"/>
          </p:nvPr>
        </p:nvSpPr>
        <p:spPr>
          <a:xfrm>
            <a:off x="334963" y="1196974"/>
            <a:ext cx="5621336" cy="5076825"/>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57" name="Google Shape;157;p70"/>
          <p:cNvSpPr txBox="1">
            <a:spLocks noGrp="1"/>
          </p:cNvSpPr>
          <p:nvPr>
            <p:ph type="body" idx="2"/>
          </p:nvPr>
        </p:nvSpPr>
        <p:spPr>
          <a:xfrm>
            <a:off x="6234113" y="1196975"/>
            <a:ext cx="5595937" cy="5076824"/>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58" name="Google Shape;158;p70"/>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59" name="Google Shape;159;p70"/>
          <p:cNvSpPr txBox="1">
            <a:spLocks noGrp="1"/>
          </p:cNvSpPr>
          <p:nvPr>
            <p:ph type="ftr" idx="11"/>
          </p:nvPr>
        </p:nvSpPr>
        <p:spPr>
          <a:xfrm>
            <a:off x="371475" y="6391177"/>
            <a:ext cx="4508500"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60" name="Google Shape;160;p70"/>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1058688060"/>
      </p:ext>
    </p:extLst>
  </p:cSld>
  <p:clrMapOvr>
    <a:masterClrMapping/>
  </p:clrMapOvr>
  <p:transition spd="slow">
    <p:push/>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Core 4">
  <p:cSld name="Core 4">
    <p:spTree>
      <p:nvGrpSpPr>
        <p:cNvPr id="1" name="Shape 16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67BCA65-7A9C-AA42-093C-D87173DBAA0A}"/>
              </a:ext>
            </a:extLst>
          </p:cNvPr>
          <p:cNvGraphicFramePr>
            <a:graphicFrameLocks noChangeAspect="1"/>
          </p:cNvGraphicFramePr>
          <p:nvPr userDrawn="1">
            <p:custDataLst>
              <p:tags r:id="rId1"/>
            </p:custDataLst>
            <p:extLst>
              <p:ext uri="{D42A27DB-BD31-4B8C-83A1-F6EECF244321}">
                <p14:modId xmlns:p14="http://schemas.microsoft.com/office/powerpoint/2010/main" val="3526382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F67BCA65-7A9C-AA42-093C-D87173DBA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2" name="Google Shape;162;p71"/>
          <p:cNvSpPr txBox="1">
            <a:spLocks noGrp="1"/>
          </p:cNvSpPr>
          <p:nvPr>
            <p:ph type="body" idx="1"/>
          </p:nvPr>
        </p:nvSpPr>
        <p:spPr>
          <a:xfrm>
            <a:off x="334963" y="1196974"/>
            <a:ext cx="5621337" cy="806499"/>
          </a:xfrm>
          <a:prstGeom prst="rect">
            <a:avLst/>
          </a:prstGeom>
          <a:solidFill>
            <a:schemeClr val="accent2"/>
          </a:solidFill>
          <a:ln>
            <a:noFill/>
          </a:ln>
        </p:spPr>
        <p:txBody>
          <a:bodyPr spcFirstLastPara="1" wrap="square" lIns="72000" tIns="72000" rIns="72000" bIns="72000" anchor="ctr" anchorCtr="0">
            <a:normAutofit/>
          </a:bodyPr>
          <a:lstStyle>
            <a:lvl1pPr marL="457200" lvl="0" indent="-228600" algn="ctr" rtl="0">
              <a:lnSpc>
                <a:spcPct val="90000"/>
              </a:lnSpc>
              <a:spcBef>
                <a:spcPts val="1000"/>
              </a:spcBef>
              <a:spcAft>
                <a:spcPts val="0"/>
              </a:spcAft>
              <a:buSzPts val="2400"/>
              <a:buNone/>
              <a:defRPr sz="2400" b="1">
                <a:solidFill>
                  <a:schemeClr val="dk2"/>
                </a:solidFill>
              </a:defRPr>
            </a:lvl1pPr>
            <a:lvl2pPr marL="914400" lvl="1" indent="-228600" algn="l">
              <a:lnSpc>
                <a:spcPct val="90000"/>
              </a:lnSpc>
              <a:spcBef>
                <a:spcPts val="500"/>
              </a:spcBef>
              <a:spcAft>
                <a:spcPts val="0"/>
              </a:spcAft>
              <a:buSzPts val="2000"/>
              <a:buNone/>
              <a:defRPr sz="2000" b="1"/>
            </a:lvl2pPr>
            <a:lvl3pPr marL="1371600" lvl="2" indent="-228600" algn="l">
              <a:lnSpc>
                <a:spcPct val="90000"/>
              </a:lnSpc>
              <a:spcBef>
                <a:spcPts val="500"/>
              </a:spcBef>
              <a:spcAft>
                <a:spcPts val="0"/>
              </a:spcAft>
              <a:buSzPts val="1800"/>
              <a:buNone/>
              <a:defRPr sz="1800" b="1"/>
            </a:lvl3pPr>
            <a:lvl4pPr marL="1828800" lvl="3" indent="-228600" algn="l">
              <a:lnSpc>
                <a:spcPct val="90000"/>
              </a:lnSpc>
              <a:spcBef>
                <a:spcPts val="500"/>
              </a:spcBef>
              <a:spcAft>
                <a:spcPts val="0"/>
              </a:spcAft>
              <a:buSzPts val="1600"/>
              <a:buNone/>
              <a:defRPr sz="1600" b="1"/>
            </a:lvl4pPr>
            <a:lvl5pPr marL="2286000" lvl="4" indent="-228600" algn="l">
              <a:lnSpc>
                <a:spcPct val="90000"/>
              </a:lnSpc>
              <a:spcBef>
                <a:spcPts val="500"/>
              </a:spcBef>
              <a:spcAft>
                <a:spcPts val="0"/>
              </a:spcAft>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lang="en-US" dirty="0"/>
          </a:p>
        </p:txBody>
      </p:sp>
      <p:sp>
        <p:nvSpPr>
          <p:cNvPr id="163" name="Google Shape;163;p71"/>
          <p:cNvSpPr txBox="1">
            <a:spLocks noGrp="1"/>
          </p:cNvSpPr>
          <p:nvPr>
            <p:ph type="body" idx="2"/>
          </p:nvPr>
        </p:nvSpPr>
        <p:spPr>
          <a:xfrm>
            <a:off x="334963" y="2176052"/>
            <a:ext cx="5621337" cy="4113623"/>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64" name="Google Shape;164;p71"/>
          <p:cNvSpPr txBox="1">
            <a:spLocks noGrp="1"/>
          </p:cNvSpPr>
          <p:nvPr>
            <p:ph type="body" idx="3"/>
          </p:nvPr>
        </p:nvSpPr>
        <p:spPr>
          <a:xfrm>
            <a:off x="6235702" y="1196974"/>
            <a:ext cx="5594348" cy="806499"/>
          </a:xfrm>
          <a:prstGeom prst="rect">
            <a:avLst/>
          </a:prstGeom>
          <a:solidFill>
            <a:schemeClr val="accent2"/>
          </a:solidFill>
          <a:ln>
            <a:noFill/>
          </a:ln>
        </p:spPr>
        <p:txBody>
          <a:bodyPr spcFirstLastPara="1" wrap="square" lIns="72000" tIns="72000" rIns="72000" bIns="72000" anchor="ctr" anchorCtr="0">
            <a:normAutofit/>
          </a:bodyPr>
          <a:lstStyle>
            <a:lvl1pPr marL="457200" lvl="0" indent="-228600" algn="ctr" rtl="0">
              <a:lnSpc>
                <a:spcPct val="90000"/>
              </a:lnSpc>
              <a:spcBef>
                <a:spcPts val="1000"/>
              </a:spcBef>
              <a:spcAft>
                <a:spcPts val="0"/>
              </a:spcAft>
              <a:buSzPts val="2400"/>
              <a:buNone/>
              <a:defRPr sz="2400" b="1">
                <a:solidFill>
                  <a:schemeClr val="dk2"/>
                </a:solidFill>
              </a:defRPr>
            </a:lvl1pPr>
            <a:lvl2pPr marL="914400" lvl="1" indent="-228600" algn="l">
              <a:lnSpc>
                <a:spcPct val="90000"/>
              </a:lnSpc>
              <a:spcBef>
                <a:spcPts val="500"/>
              </a:spcBef>
              <a:spcAft>
                <a:spcPts val="0"/>
              </a:spcAft>
              <a:buSzPts val="2000"/>
              <a:buNone/>
              <a:defRPr sz="2000" b="1"/>
            </a:lvl2pPr>
            <a:lvl3pPr marL="1371600" lvl="2" indent="-228600" algn="l">
              <a:lnSpc>
                <a:spcPct val="90000"/>
              </a:lnSpc>
              <a:spcBef>
                <a:spcPts val="500"/>
              </a:spcBef>
              <a:spcAft>
                <a:spcPts val="0"/>
              </a:spcAft>
              <a:buSzPts val="1800"/>
              <a:buNone/>
              <a:defRPr sz="1800" b="1"/>
            </a:lvl3pPr>
            <a:lvl4pPr marL="1828800" lvl="3" indent="-228600" algn="l">
              <a:lnSpc>
                <a:spcPct val="90000"/>
              </a:lnSpc>
              <a:spcBef>
                <a:spcPts val="500"/>
              </a:spcBef>
              <a:spcAft>
                <a:spcPts val="0"/>
              </a:spcAft>
              <a:buSzPts val="1600"/>
              <a:buNone/>
              <a:defRPr sz="1600" b="1"/>
            </a:lvl4pPr>
            <a:lvl5pPr marL="2286000" lvl="4" indent="-228600" algn="l">
              <a:lnSpc>
                <a:spcPct val="90000"/>
              </a:lnSpc>
              <a:spcBef>
                <a:spcPts val="500"/>
              </a:spcBef>
              <a:spcAft>
                <a:spcPts val="0"/>
              </a:spcAft>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lang="en-US" dirty="0"/>
          </a:p>
        </p:txBody>
      </p:sp>
      <p:sp>
        <p:nvSpPr>
          <p:cNvPr id="165" name="Google Shape;165;p71"/>
          <p:cNvSpPr txBox="1">
            <a:spLocks noGrp="1"/>
          </p:cNvSpPr>
          <p:nvPr>
            <p:ph type="body" idx="4"/>
          </p:nvPr>
        </p:nvSpPr>
        <p:spPr>
          <a:xfrm>
            <a:off x="6261102" y="2164940"/>
            <a:ext cx="5568948" cy="4113623"/>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66" name="Google Shape;166;p71"/>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67" name="Google Shape;167;p71"/>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68" name="Google Shape;168;p71"/>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169" name="Google Shape;169;p71"/>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3503376331"/>
      </p:ext>
    </p:extLst>
  </p:cSld>
  <p:clrMapOvr>
    <a:masterClrMapping/>
  </p:clrMapOvr>
  <p:transition spd="slow">
    <p:push/>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ore 5" type="objTx">
  <p:cSld name="Core 5">
    <p:spTree>
      <p:nvGrpSpPr>
        <p:cNvPr id="1" name="Shape 17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BC2946-4D6B-2791-4188-54BD49AFFC92}"/>
              </a:ext>
            </a:extLst>
          </p:cNvPr>
          <p:cNvGraphicFramePr>
            <a:graphicFrameLocks noChangeAspect="1"/>
          </p:cNvGraphicFramePr>
          <p:nvPr userDrawn="1">
            <p:custDataLst>
              <p:tags r:id="rId1"/>
            </p:custDataLst>
            <p:extLst>
              <p:ext uri="{D42A27DB-BD31-4B8C-83A1-F6EECF244321}">
                <p14:modId xmlns:p14="http://schemas.microsoft.com/office/powerpoint/2010/main" val="155305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C6BC2946-4D6B-2791-4188-54BD49AFFC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1" name="Google Shape;171;p72"/>
          <p:cNvSpPr txBox="1">
            <a:spLocks noGrp="1"/>
          </p:cNvSpPr>
          <p:nvPr>
            <p:ph type="title"/>
          </p:nvPr>
        </p:nvSpPr>
        <p:spPr>
          <a:xfrm>
            <a:off x="334963" y="1196975"/>
            <a:ext cx="4545012" cy="1001811"/>
          </a:xfrm>
          <a:prstGeom prst="rect">
            <a:avLst/>
          </a:prstGeom>
          <a:no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dk2"/>
              </a:buClr>
              <a:buSzPts val="3200"/>
              <a:buFont typeface="Arial"/>
              <a:buNone/>
              <a:defRPr sz="32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72" name="Google Shape;172;p72"/>
          <p:cNvSpPr txBox="1">
            <a:spLocks noGrp="1"/>
          </p:cNvSpPr>
          <p:nvPr>
            <p:ph type="body" idx="1"/>
          </p:nvPr>
        </p:nvSpPr>
        <p:spPr>
          <a:xfrm>
            <a:off x="4994275" y="1196975"/>
            <a:ext cx="6837361" cy="5003800"/>
          </a:xfrm>
          <a:prstGeom prst="rect">
            <a:avLst/>
          </a:prstGeom>
          <a:noFill/>
          <a:ln>
            <a:noFill/>
          </a:ln>
        </p:spPr>
        <p:txBody>
          <a:bodyPr spcFirstLastPara="1" wrap="square" lIns="91425" tIns="45700" rIns="91425" bIns="45700" anchor="t" anchorCtr="0">
            <a:normAutofit/>
          </a:bodyPr>
          <a:lstStyle>
            <a:lvl1pPr marL="457200" lvl="0" indent="-431800" algn="l" rtl="0">
              <a:lnSpc>
                <a:spcPct val="90000"/>
              </a:lnSpc>
              <a:spcBef>
                <a:spcPts val="1000"/>
              </a:spcBef>
              <a:spcAft>
                <a:spcPts val="0"/>
              </a:spcAft>
              <a:buSzPts val="3200"/>
              <a:buChar char="•"/>
              <a:defRPr sz="3200"/>
            </a:lvl1pPr>
            <a:lvl2pPr marL="914400" lvl="1" indent="-406400" algn="l">
              <a:lnSpc>
                <a:spcPct val="90000"/>
              </a:lnSpc>
              <a:spcBef>
                <a:spcPts val="500"/>
              </a:spcBef>
              <a:spcAft>
                <a:spcPts val="0"/>
              </a:spcAft>
              <a:buSzPts val="2800"/>
              <a:buChar char="•"/>
              <a:defRPr sz="2800"/>
            </a:lvl2pPr>
            <a:lvl3pPr marL="1371600" lvl="2" indent="-381000" algn="l">
              <a:lnSpc>
                <a:spcPct val="90000"/>
              </a:lnSpc>
              <a:spcBef>
                <a:spcPts val="500"/>
              </a:spcBef>
              <a:spcAft>
                <a:spcPts val="0"/>
              </a:spcAft>
              <a:buSzPts val="2400"/>
              <a:buChar char="•"/>
              <a:defRPr sz="2400"/>
            </a:lvl3pPr>
            <a:lvl4pPr marL="1828800" lvl="3" indent="-355600" algn="l">
              <a:lnSpc>
                <a:spcPct val="90000"/>
              </a:lnSpc>
              <a:spcBef>
                <a:spcPts val="500"/>
              </a:spcBef>
              <a:spcAft>
                <a:spcPts val="0"/>
              </a:spcAft>
              <a:buSzPts val="2000"/>
              <a:buChar char="•"/>
              <a:defRPr sz="2000"/>
            </a:lvl4pPr>
            <a:lvl5pPr marL="2286000" lvl="4" indent="-355600" algn="l">
              <a:lnSpc>
                <a:spcPct val="90000"/>
              </a:lnSpc>
              <a:spcBef>
                <a:spcPts val="500"/>
              </a:spcBef>
              <a:spcAft>
                <a:spcPts val="0"/>
              </a:spcAft>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lang="en-US" dirty="0"/>
          </a:p>
        </p:txBody>
      </p:sp>
      <p:sp>
        <p:nvSpPr>
          <p:cNvPr id="173" name="Google Shape;173;p72"/>
          <p:cNvSpPr txBox="1">
            <a:spLocks noGrp="1"/>
          </p:cNvSpPr>
          <p:nvPr>
            <p:ph type="body" idx="2"/>
          </p:nvPr>
        </p:nvSpPr>
        <p:spPr>
          <a:xfrm>
            <a:off x="334963" y="2324100"/>
            <a:ext cx="4545012" cy="3876675"/>
          </a:xfrm>
          <a:prstGeom prst="rect">
            <a:avLst/>
          </a:prstGeom>
          <a:noFill/>
          <a:ln>
            <a:noFill/>
          </a:ln>
        </p:spPr>
        <p:txBody>
          <a:bodyPr spcFirstLastPara="1" wrap="square" lIns="91425" tIns="45700" rIns="91425" bIns="45700" anchor="t" anchorCtr="0">
            <a:normAutofit/>
          </a:bodyPr>
          <a:lstStyle>
            <a:lvl1pPr marL="457200" lvl="0" indent="-228600" algn="l" rtl="0">
              <a:lnSpc>
                <a:spcPct val="90000"/>
              </a:lnSpc>
              <a:spcBef>
                <a:spcPts val="1000"/>
              </a:spcBef>
              <a:spcAft>
                <a:spcPts val="0"/>
              </a:spcAft>
              <a:buSzPts val="1600"/>
              <a:buNone/>
              <a:defRPr sz="1600"/>
            </a:lvl1pPr>
            <a:lvl2pPr marL="914400" lvl="1" indent="-228600" algn="l">
              <a:lnSpc>
                <a:spcPct val="90000"/>
              </a:lnSpc>
              <a:spcBef>
                <a:spcPts val="500"/>
              </a:spcBef>
              <a:spcAft>
                <a:spcPts val="0"/>
              </a:spcAft>
              <a:buSzPts val="1400"/>
              <a:buNone/>
              <a:defRPr sz="1400"/>
            </a:lvl2pPr>
            <a:lvl3pPr marL="1371600" lvl="2" indent="-228600" algn="l">
              <a:lnSpc>
                <a:spcPct val="90000"/>
              </a:lnSpc>
              <a:spcBef>
                <a:spcPts val="500"/>
              </a:spcBef>
              <a:spcAft>
                <a:spcPts val="0"/>
              </a:spcAft>
              <a:buSzPts val="1200"/>
              <a:buNone/>
              <a:defRPr sz="1200"/>
            </a:lvl3pPr>
            <a:lvl4pPr marL="1828800" lvl="3" indent="-228600" algn="l">
              <a:lnSpc>
                <a:spcPct val="90000"/>
              </a:lnSpc>
              <a:spcBef>
                <a:spcPts val="500"/>
              </a:spcBef>
              <a:spcAft>
                <a:spcPts val="0"/>
              </a:spcAft>
              <a:buSzPts val="1000"/>
              <a:buNone/>
              <a:defRPr sz="1000"/>
            </a:lvl4pPr>
            <a:lvl5pPr marL="2286000" lvl="4" indent="-228600" algn="l">
              <a:lnSpc>
                <a:spcPct val="90000"/>
              </a:lnSpc>
              <a:spcBef>
                <a:spcPts val="500"/>
              </a:spcBef>
              <a:spcAft>
                <a:spcPts val="0"/>
              </a:spcAft>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lang="en-US" dirty="0"/>
          </a:p>
        </p:txBody>
      </p:sp>
      <p:sp>
        <p:nvSpPr>
          <p:cNvPr id="174" name="Google Shape;174;p72"/>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75" name="Google Shape;175;p72"/>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76" name="Google Shape;176;p72"/>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2895993186"/>
      </p:ext>
    </p:extLst>
  </p:cSld>
  <p:clrMapOvr>
    <a:masterClrMapping/>
  </p:clrMapOvr>
  <p:transition spd="slow">
    <p:push/>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Core 6" type="picTx">
  <p:cSld name="Core 6">
    <p:spTree>
      <p:nvGrpSpPr>
        <p:cNvPr id="1" name="Shape 17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D72DDF-6B0B-666B-6652-7F0A2A770D20}"/>
              </a:ext>
            </a:extLst>
          </p:cNvPr>
          <p:cNvGraphicFramePr>
            <a:graphicFrameLocks noChangeAspect="1"/>
          </p:cNvGraphicFramePr>
          <p:nvPr userDrawn="1">
            <p:custDataLst>
              <p:tags r:id="rId1"/>
            </p:custDataLst>
            <p:extLst>
              <p:ext uri="{D42A27DB-BD31-4B8C-83A1-F6EECF244321}">
                <p14:modId xmlns:p14="http://schemas.microsoft.com/office/powerpoint/2010/main" val="1873809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D6D72DDF-6B0B-666B-6652-7F0A2A770D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8" name="Google Shape;178;p73"/>
          <p:cNvSpPr txBox="1">
            <a:spLocks noGrp="1"/>
          </p:cNvSpPr>
          <p:nvPr>
            <p:ph type="title"/>
          </p:nvPr>
        </p:nvSpPr>
        <p:spPr>
          <a:xfrm>
            <a:off x="334963" y="1196976"/>
            <a:ext cx="4545012" cy="1001810"/>
          </a:xfrm>
          <a:prstGeom prst="rect">
            <a:avLst/>
          </a:prstGeom>
          <a:no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dk2"/>
              </a:buClr>
              <a:buSzPts val="3200"/>
              <a:buFont typeface="Arial"/>
              <a:buNone/>
              <a:defRPr sz="32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79" name="Google Shape;179;p73"/>
          <p:cNvSpPr>
            <a:spLocks noGrp="1"/>
          </p:cNvSpPr>
          <p:nvPr>
            <p:ph type="pic" idx="2"/>
          </p:nvPr>
        </p:nvSpPr>
        <p:spPr>
          <a:xfrm>
            <a:off x="4994275" y="1196976"/>
            <a:ext cx="6837361" cy="5003800"/>
          </a:xfrm>
          <a:prstGeom prst="rect">
            <a:avLst/>
          </a:prstGeom>
          <a:noFill/>
          <a:ln>
            <a:noFill/>
          </a:ln>
        </p:spPr>
      </p:sp>
      <p:sp>
        <p:nvSpPr>
          <p:cNvPr id="180" name="Google Shape;180;p73"/>
          <p:cNvSpPr txBox="1">
            <a:spLocks noGrp="1"/>
          </p:cNvSpPr>
          <p:nvPr>
            <p:ph type="body" idx="1"/>
          </p:nvPr>
        </p:nvSpPr>
        <p:spPr>
          <a:xfrm>
            <a:off x="334963" y="2324100"/>
            <a:ext cx="4545012" cy="3876675"/>
          </a:xfrm>
          <a:prstGeom prst="rect">
            <a:avLst/>
          </a:prstGeom>
          <a:noFill/>
          <a:ln>
            <a:noFill/>
          </a:ln>
        </p:spPr>
        <p:txBody>
          <a:bodyPr spcFirstLastPara="1" wrap="square" lIns="91425" tIns="45700" rIns="91425" bIns="45700" anchor="t" anchorCtr="0">
            <a:normAutofit/>
          </a:bodyPr>
          <a:lstStyle>
            <a:lvl1pPr marL="457200" lvl="0" indent="-228600" algn="l" rtl="0">
              <a:lnSpc>
                <a:spcPct val="90000"/>
              </a:lnSpc>
              <a:spcBef>
                <a:spcPts val="1000"/>
              </a:spcBef>
              <a:spcAft>
                <a:spcPts val="0"/>
              </a:spcAft>
              <a:buSzPts val="1600"/>
              <a:buNone/>
              <a:defRPr sz="1600"/>
            </a:lvl1pPr>
            <a:lvl2pPr marL="914400" lvl="1" indent="-228600" algn="l">
              <a:lnSpc>
                <a:spcPct val="90000"/>
              </a:lnSpc>
              <a:spcBef>
                <a:spcPts val="500"/>
              </a:spcBef>
              <a:spcAft>
                <a:spcPts val="0"/>
              </a:spcAft>
              <a:buSzPts val="1400"/>
              <a:buNone/>
              <a:defRPr sz="1400"/>
            </a:lvl2pPr>
            <a:lvl3pPr marL="1371600" lvl="2" indent="-228600" algn="l">
              <a:lnSpc>
                <a:spcPct val="90000"/>
              </a:lnSpc>
              <a:spcBef>
                <a:spcPts val="500"/>
              </a:spcBef>
              <a:spcAft>
                <a:spcPts val="0"/>
              </a:spcAft>
              <a:buSzPts val="1200"/>
              <a:buNone/>
              <a:defRPr sz="1200"/>
            </a:lvl3pPr>
            <a:lvl4pPr marL="1828800" lvl="3" indent="-228600" algn="l">
              <a:lnSpc>
                <a:spcPct val="90000"/>
              </a:lnSpc>
              <a:spcBef>
                <a:spcPts val="500"/>
              </a:spcBef>
              <a:spcAft>
                <a:spcPts val="0"/>
              </a:spcAft>
              <a:buSzPts val="1000"/>
              <a:buNone/>
              <a:defRPr sz="1000"/>
            </a:lvl4pPr>
            <a:lvl5pPr marL="2286000" lvl="4" indent="-228600" algn="l">
              <a:lnSpc>
                <a:spcPct val="90000"/>
              </a:lnSpc>
              <a:spcBef>
                <a:spcPts val="500"/>
              </a:spcBef>
              <a:spcAft>
                <a:spcPts val="0"/>
              </a:spcAft>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lang="en-US" dirty="0"/>
          </a:p>
        </p:txBody>
      </p:sp>
      <p:sp>
        <p:nvSpPr>
          <p:cNvPr id="181" name="Google Shape;181;p73"/>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82" name="Google Shape;182;p73"/>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83" name="Google Shape;183;p73"/>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52469795"/>
      </p:ext>
    </p:extLst>
  </p:cSld>
  <p:clrMapOvr>
    <a:masterClrMapping/>
  </p:clrMapOvr>
  <p:transition spd="slow">
    <p:push/>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Core 7" type="vertTx">
  <p:cSld name="Core 7">
    <p:spTree>
      <p:nvGrpSpPr>
        <p:cNvPr id="1" name="Shape 18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187482-1E01-8A42-B7DE-41759358BF15}"/>
              </a:ext>
            </a:extLst>
          </p:cNvPr>
          <p:cNvGraphicFramePr>
            <a:graphicFrameLocks noChangeAspect="1"/>
          </p:cNvGraphicFramePr>
          <p:nvPr userDrawn="1">
            <p:custDataLst>
              <p:tags r:id="rId1"/>
            </p:custDataLst>
            <p:extLst>
              <p:ext uri="{D42A27DB-BD31-4B8C-83A1-F6EECF244321}">
                <p14:modId xmlns:p14="http://schemas.microsoft.com/office/powerpoint/2010/main" val="3411108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FC187482-1E01-8A42-B7DE-41759358BF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5" name="Google Shape;185;p74"/>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86" name="Google Shape;186;p74"/>
          <p:cNvSpPr txBox="1">
            <a:spLocks noGrp="1"/>
          </p:cNvSpPr>
          <p:nvPr>
            <p:ph type="body" idx="1"/>
          </p:nvPr>
        </p:nvSpPr>
        <p:spPr>
          <a:xfrm rot="5400000">
            <a:off x="3548192" y="-2009644"/>
            <a:ext cx="5070215" cy="11496672"/>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87" name="Google Shape;187;p74"/>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88" name="Google Shape;188;p74"/>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89" name="Google Shape;189;p74"/>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1092148488"/>
      </p:ext>
    </p:extLst>
  </p:cSld>
  <p:clrMapOvr>
    <a:masterClrMapping/>
  </p:clrMapOvr>
  <p:transition spd="slow">
    <p:push/>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Core 8" type="vertTitleAndTx">
  <p:cSld name="Core 8">
    <p:spTree>
      <p:nvGrpSpPr>
        <p:cNvPr id="1" name="Shape 19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790CFC-3F54-EA20-3AA0-4308953E56FB}"/>
              </a:ext>
            </a:extLst>
          </p:cNvPr>
          <p:cNvGraphicFramePr>
            <a:graphicFrameLocks noChangeAspect="1"/>
          </p:cNvGraphicFramePr>
          <p:nvPr userDrawn="1">
            <p:custDataLst>
              <p:tags r:id="rId1"/>
            </p:custDataLst>
            <p:extLst>
              <p:ext uri="{D42A27DB-BD31-4B8C-83A1-F6EECF244321}">
                <p14:modId xmlns:p14="http://schemas.microsoft.com/office/powerpoint/2010/main" val="2003150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F7790CFC-3F54-EA20-3AA0-4308953E56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1" name="Google Shape;191;p75"/>
          <p:cNvSpPr txBox="1">
            <a:spLocks noGrp="1"/>
          </p:cNvSpPr>
          <p:nvPr>
            <p:ph type="title"/>
          </p:nvPr>
        </p:nvSpPr>
        <p:spPr>
          <a:xfrm rot="5400000">
            <a:off x="7739062" y="2182812"/>
            <a:ext cx="5076825" cy="3105150"/>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92" name="Google Shape;192;p75"/>
          <p:cNvSpPr txBox="1">
            <a:spLocks noGrp="1"/>
          </p:cNvSpPr>
          <p:nvPr>
            <p:ph type="body" idx="1"/>
          </p:nvPr>
        </p:nvSpPr>
        <p:spPr>
          <a:xfrm rot="5400000">
            <a:off x="1929607" y="-397669"/>
            <a:ext cx="5076825" cy="8266112"/>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93" name="Google Shape;193;p75"/>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94" name="Google Shape;194;p75"/>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95" name="Google Shape;195;p75"/>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4201257296"/>
      </p:ext>
    </p:extLst>
  </p:cSld>
  <p:clrMapOvr>
    <a:masterClrMapping/>
  </p:clrMapOvr>
  <p:transition spd="slow">
    <p:push/>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CAB233-4FF9-2D4C-DBA2-E453A1507958}"/>
              </a:ext>
            </a:extLst>
          </p:cNvPr>
          <p:cNvGraphicFramePr>
            <a:graphicFrameLocks noChangeAspect="1"/>
          </p:cNvGraphicFramePr>
          <p:nvPr userDrawn="1">
            <p:custDataLst>
              <p:tags r:id="rId1"/>
            </p:custDataLst>
            <p:extLst>
              <p:ext uri="{D42A27DB-BD31-4B8C-83A1-F6EECF244321}">
                <p14:modId xmlns:p14="http://schemas.microsoft.com/office/powerpoint/2010/main" val="407625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C0CAB233-4FF9-2D4C-DBA2-E453A15079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DDD0CA42-2D9F-4DAF-91D0-38A44A6B126D}"/>
              </a:ext>
            </a:extLst>
          </p:cNvPr>
          <p:cNvSpPr/>
          <p:nvPr userDrawn="1"/>
        </p:nvSpPr>
        <p:spPr>
          <a:xfrm>
            <a:off x="0" y="0"/>
            <a:ext cx="12192000" cy="62674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12056567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five coloumn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2E37CB-BCC5-95A9-F5B4-F9CF796F5588}"/>
              </a:ext>
            </a:extLst>
          </p:cNvPr>
          <p:cNvGraphicFramePr>
            <a:graphicFrameLocks noChangeAspect="1"/>
          </p:cNvGraphicFramePr>
          <p:nvPr userDrawn="1">
            <p:custDataLst>
              <p:tags r:id="rId1"/>
            </p:custDataLst>
            <p:extLst>
              <p:ext uri="{D42A27DB-BD31-4B8C-83A1-F6EECF244321}">
                <p14:modId xmlns:p14="http://schemas.microsoft.com/office/powerpoint/2010/main" val="3424706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Object 6" hidden="1">
                        <a:extLst>
                          <a:ext uri="{FF2B5EF4-FFF2-40B4-BE49-F238E27FC236}">
                            <a16:creationId xmlns:a16="http://schemas.microsoft.com/office/drawing/2014/main" id="{352E37CB-BCC5-95A9-F5B4-F9CF796F55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74FFEC00-E3F2-4373-B9B3-80EDC86C3A63}"/>
              </a:ext>
            </a:extLst>
          </p:cNvPr>
          <p:cNvSpPr>
            <a:spLocks noGrp="1"/>
          </p:cNvSpPr>
          <p:nvPr>
            <p:ph type="body" sz="quarter" idx="13" hasCustomPrompt="1"/>
          </p:nvPr>
        </p:nvSpPr>
        <p:spPr>
          <a:xfrm>
            <a:off x="360363" y="2824163"/>
            <a:ext cx="2201862" cy="3449637"/>
          </a:xfrm>
          <a:solidFill>
            <a:schemeClr val="tx2"/>
          </a:solidFill>
        </p:spPr>
        <p:txBody>
          <a:bodyPr lIns="72000" tIns="72000" rIns="72000" bIns="72000">
            <a:normAutofit/>
          </a:bodyPr>
          <a:lstStyle>
            <a:lvl1pPr marL="0" indent="0" algn="ctr" rtl="0">
              <a:buNone/>
              <a:defRPr sz="1400">
                <a:solidFill>
                  <a:schemeClr val="bg1"/>
                </a:solidFill>
              </a:defRPr>
            </a:lvl1pPr>
          </a:lstStyle>
          <a:p>
            <a:pPr lvl="0"/>
            <a:r>
              <a:rPr lang="en-US" dirty="0"/>
              <a:t>Click to edit Master</a:t>
            </a:r>
            <a:br>
              <a:rPr lang="en-US" dirty="0"/>
            </a:br>
            <a:r>
              <a:rPr lang="en-US" dirty="0"/>
              <a:t>text styles</a:t>
            </a:r>
          </a:p>
        </p:txBody>
      </p:sp>
      <p:sp>
        <p:nvSpPr>
          <p:cNvPr id="14" name="Text Placeholder 12">
            <a:extLst>
              <a:ext uri="{FF2B5EF4-FFF2-40B4-BE49-F238E27FC236}">
                <a16:creationId xmlns:a16="http://schemas.microsoft.com/office/drawing/2014/main" id="{A48958EB-3C53-4077-B82B-E6A58D3C7C4E}"/>
              </a:ext>
            </a:extLst>
          </p:cNvPr>
          <p:cNvSpPr>
            <a:spLocks noGrp="1"/>
          </p:cNvSpPr>
          <p:nvPr>
            <p:ph type="body" sz="quarter" idx="14" hasCustomPrompt="1"/>
          </p:nvPr>
        </p:nvSpPr>
        <p:spPr>
          <a:xfrm>
            <a:off x="2679669" y="2824163"/>
            <a:ext cx="2201862" cy="3449637"/>
          </a:xfrm>
          <a:solidFill>
            <a:schemeClr val="tx2"/>
          </a:solidFill>
        </p:spPr>
        <p:txBody>
          <a:bodyPr lIns="72000" tIns="72000" rIns="72000" bIns="72000">
            <a:normAutofit/>
          </a:bodyPr>
          <a:lstStyle>
            <a:lvl1pPr marL="0" indent="0" algn="ctr" rtl="0">
              <a:buNone/>
              <a:defRPr sz="1400">
                <a:solidFill>
                  <a:schemeClr val="bg1"/>
                </a:solidFill>
              </a:defRPr>
            </a:lvl1pPr>
          </a:lstStyle>
          <a:p>
            <a:pPr lvl="0"/>
            <a:r>
              <a:rPr lang="en-US" dirty="0"/>
              <a:t>Click to edit Master</a:t>
            </a:r>
            <a:br>
              <a:rPr lang="en-US" dirty="0"/>
            </a:br>
            <a:r>
              <a:rPr lang="en-US" dirty="0"/>
              <a:t>text styles</a:t>
            </a:r>
          </a:p>
        </p:txBody>
      </p:sp>
      <p:sp>
        <p:nvSpPr>
          <p:cNvPr id="15" name="Text Placeholder 12">
            <a:extLst>
              <a:ext uri="{FF2B5EF4-FFF2-40B4-BE49-F238E27FC236}">
                <a16:creationId xmlns:a16="http://schemas.microsoft.com/office/drawing/2014/main" id="{970013D6-1A28-4D0C-B272-F5D32306CE17}"/>
              </a:ext>
            </a:extLst>
          </p:cNvPr>
          <p:cNvSpPr>
            <a:spLocks noGrp="1"/>
          </p:cNvSpPr>
          <p:nvPr>
            <p:ph type="body" sz="quarter" idx="15" hasCustomPrompt="1"/>
          </p:nvPr>
        </p:nvSpPr>
        <p:spPr>
          <a:xfrm>
            <a:off x="4998975" y="2824163"/>
            <a:ext cx="2201862" cy="3449637"/>
          </a:xfrm>
          <a:solidFill>
            <a:schemeClr val="tx2"/>
          </a:solidFill>
        </p:spPr>
        <p:txBody>
          <a:bodyPr lIns="72000" tIns="72000" rIns="72000" bIns="72000">
            <a:normAutofit/>
          </a:bodyPr>
          <a:lstStyle>
            <a:lvl1pPr marL="0" indent="0" algn="ctr" rtl="0">
              <a:buNone/>
              <a:defRPr sz="1400">
                <a:solidFill>
                  <a:schemeClr val="bg1"/>
                </a:solidFill>
              </a:defRPr>
            </a:lvl1pPr>
          </a:lstStyle>
          <a:p>
            <a:pPr lvl="0"/>
            <a:r>
              <a:rPr lang="en-US" dirty="0"/>
              <a:t>Click to edit Master</a:t>
            </a:r>
            <a:br>
              <a:rPr lang="en-US" dirty="0"/>
            </a:br>
            <a:r>
              <a:rPr lang="en-US" dirty="0"/>
              <a:t>text styles</a:t>
            </a:r>
          </a:p>
        </p:txBody>
      </p:sp>
      <p:sp>
        <p:nvSpPr>
          <p:cNvPr id="16" name="Text Placeholder 12">
            <a:extLst>
              <a:ext uri="{FF2B5EF4-FFF2-40B4-BE49-F238E27FC236}">
                <a16:creationId xmlns:a16="http://schemas.microsoft.com/office/drawing/2014/main" id="{2A10160D-9456-43B4-967B-5BF92BCCCA56}"/>
              </a:ext>
            </a:extLst>
          </p:cNvPr>
          <p:cNvSpPr>
            <a:spLocks noGrp="1"/>
          </p:cNvSpPr>
          <p:nvPr>
            <p:ph type="body" sz="quarter" idx="16" hasCustomPrompt="1"/>
          </p:nvPr>
        </p:nvSpPr>
        <p:spPr>
          <a:xfrm>
            <a:off x="7318281" y="2824163"/>
            <a:ext cx="2201862" cy="3449637"/>
          </a:xfrm>
          <a:solidFill>
            <a:schemeClr val="tx2"/>
          </a:solidFill>
        </p:spPr>
        <p:txBody>
          <a:bodyPr lIns="72000" tIns="72000" rIns="72000" bIns="72000">
            <a:normAutofit/>
          </a:bodyPr>
          <a:lstStyle>
            <a:lvl1pPr marL="0" indent="0" algn="ctr" rtl="0">
              <a:buNone/>
              <a:defRPr sz="1400">
                <a:solidFill>
                  <a:schemeClr val="bg1"/>
                </a:solidFill>
              </a:defRPr>
            </a:lvl1pPr>
          </a:lstStyle>
          <a:p>
            <a:pPr lvl="0"/>
            <a:r>
              <a:rPr lang="en-US" dirty="0"/>
              <a:t>Click to edit Master</a:t>
            </a:r>
            <a:br>
              <a:rPr lang="en-US" dirty="0"/>
            </a:br>
            <a:r>
              <a:rPr lang="en-US" dirty="0"/>
              <a:t>text styles</a:t>
            </a:r>
          </a:p>
        </p:txBody>
      </p:sp>
      <p:sp>
        <p:nvSpPr>
          <p:cNvPr id="17" name="Text Placeholder 12">
            <a:extLst>
              <a:ext uri="{FF2B5EF4-FFF2-40B4-BE49-F238E27FC236}">
                <a16:creationId xmlns:a16="http://schemas.microsoft.com/office/drawing/2014/main" id="{255EF188-55C6-42C8-98AD-5EDAE9AFCEF4}"/>
              </a:ext>
            </a:extLst>
          </p:cNvPr>
          <p:cNvSpPr>
            <a:spLocks noGrp="1"/>
          </p:cNvSpPr>
          <p:nvPr>
            <p:ph type="body" sz="quarter" idx="17" hasCustomPrompt="1"/>
          </p:nvPr>
        </p:nvSpPr>
        <p:spPr>
          <a:xfrm>
            <a:off x="9637587" y="2824163"/>
            <a:ext cx="2201862" cy="3449637"/>
          </a:xfrm>
          <a:solidFill>
            <a:schemeClr val="tx2"/>
          </a:solidFill>
        </p:spPr>
        <p:txBody>
          <a:bodyPr lIns="72000" tIns="72000" rIns="72000" bIns="72000">
            <a:normAutofit/>
          </a:bodyPr>
          <a:lstStyle>
            <a:lvl1pPr marL="0" indent="0" algn="ctr" rtl="0">
              <a:buNone/>
              <a:defRPr sz="1400">
                <a:solidFill>
                  <a:schemeClr val="bg1"/>
                </a:solidFill>
              </a:defRPr>
            </a:lvl1pPr>
          </a:lstStyle>
          <a:p>
            <a:pPr lvl="0"/>
            <a:r>
              <a:rPr lang="en-US" dirty="0"/>
              <a:t>Click to edit Master</a:t>
            </a:r>
            <a:br>
              <a:rPr lang="en-US" dirty="0"/>
            </a:br>
            <a:r>
              <a:rPr lang="en-US" dirty="0"/>
              <a:t>text styles</a:t>
            </a:r>
          </a:p>
        </p:txBody>
      </p:sp>
      <p:sp>
        <p:nvSpPr>
          <p:cNvPr id="2" name="Title 1">
            <a:extLst>
              <a:ext uri="{FF2B5EF4-FFF2-40B4-BE49-F238E27FC236}">
                <a16:creationId xmlns:a16="http://schemas.microsoft.com/office/drawing/2014/main" id="{9C4B60F4-B5D9-40B7-B4E7-1BDECFD409B4}"/>
              </a:ext>
            </a:extLst>
          </p:cNvPr>
          <p:cNvSpPr>
            <a:spLocks noGrp="1"/>
          </p:cNvSpPr>
          <p:nvPr>
            <p:ph type="title"/>
          </p:nvPr>
        </p:nvSpPr>
        <p:spPr>
          <a:solidFill>
            <a:schemeClr val="accent1"/>
          </a:solidFill>
        </p:spPr>
        <p:txBody>
          <a:bodyPr vert="horz"/>
          <a:lstStyle>
            <a:lvl1pPr rtl="0">
              <a:defRPr/>
            </a:lvl1pPr>
          </a:lstStyle>
          <a:p>
            <a:r>
              <a:rPr lang="en-US" dirty="0"/>
              <a:t>Click to edit Master title style</a:t>
            </a:r>
          </a:p>
        </p:txBody>
      </p:sp>
      <p:sp>
        <p:nvSpPr>
          <p:cNvPr id="3" name="Date Placeholder 2">
            <a:extLst>
              <a:ext uri="{FF2B5EF4-FFF2-40B4-BE49-F238E27FC236}">
                <a16:creationId xmlns:a16="http://schemas.microsoft.com/office/drawing/2014/main" id="{D9AB5AF9-7C23-41BD-B47B-9122FAAF91BD}"/>
              </a:ext>
            </a:extLst>
          </p:cNvPr>
          <p:cNvSpPr>
            <a:spLocks noGrp="1"/>
          </p:cNvSpPr>
          <p:nvPr>
            <p:ph type="dt" sz="half" idx="10"/>
          </p:nvPr>
        </p:nvSpPr>
        <p:spPr/>
        <p:txBody>
          <a:bodyPr/>
          <a:lstStyle>
            <a:lvl1pPr rtl="0">
              <a:defRPr/>
            </a:lvl1pPr>
          </a:lstStyle>
          <a:p>
            <a:fld id="{A9A6EF92-A23C-4EC1-9D34-7DEBB70EFFF3}" type="datetimeFigureOut">
              <a:rPr lang="en-US" smtClean="0"/>
              <a:pPr/>
              <a:t>7/20/23</a:t>
            </a:fld>
            <a:endParaRPr lang="en-US" dirty="0"/>
          </a:p>
        </p:txBody>
      </p:sp>
      <p:sp>
        <p:nvSpPr>
          <p:cNvPr id="4" name="Footer Placeholder 3">
            <a:extLst>
              <a:ext uri="{FF2B5EF4-FFF2-40B4-BE49-F238E27FC236}">
                <a16:creationId xmlns:a16="http://schemas.microsoft.com/office/drawing/2014/main" id="{891AE2FA-783D-4D3E-8CCE-21406326B4A7}"/>
              </a:ext>
            </a:extLst>
          </p:cNvPr>
          <p:cNvSpPr>
            <a:spLocks noGrp="1"/>
          </p:cNvSpPr>
          <p:nvPr>
            <p:ph type="ftr" sz="quarter" idx="11"/>
          </p:nvPr>
        </p:nvSpPr>
        <p:spPr/>
        <p:txBody>
          <a:bodyPr/>
          <a:lstStyle>
            <a:lvl1pPr rtl="0">
              <a:defRPr/>
            </a:lvl1pPr>
          </a:lstStyle>
          <a:p>
            <a:endParaRPr lang="en-US" dirty="0"/>
          </a:p>
        </p:txBody>
      </p:sp>
      <p:sp>
        <p:nvSpPr>
          <p:cNvPr id="5" name="Slide Number Placeholder 4">
            <a:extLst>
              <a:ext uri="{FF2B5EF4-FFF2-40B4-BE49-F238E27FC236}">
                <a16:creationId xmlns:a16="http://schemas.microsoft.com/office/drawing/2014/main" id="{AAF8BEE1-6940-4C01-8365-B09094D17BE7}"/>
              </a:ext>
            </a:extLst>
          </p:cNvPr>
          <p:cNvSpPr>
            <a:spLocks noGrp="1"/>
          </p:cNvSpPr>
          <p:nvPr>
            <p:ph type="sldNum" sz="quarter" idx="12"/>
          </p:nvPr>
        </p:nvSpPr>
        <p:spPr/>
        <p:txBody>
          <a:bodyPr/>
          <a:lstStyle>
            <a:lvl1pPr rtl="0">
              <a:defRPr/>
            </a:lvl1pPr>
          </a:lstStyle>
          <a:p>
            <a:fld id="{0253CDF2-F7F9-43E0-87CB-D85F6EEB53D6}" type="slidenum">
              <a:rPr lang="en-US" smtClean="0"/>
              <a:pPr/>
              <a:t>‹#›</a:t>
            </a:fld>
            <a:endParaRPr lang="en-US" dirty="0"/>
          </a:p>
        </p:txBody>
      </p:sp>
    </p:spTree>
    <p:extLst>
      <p:ext uri="{BB962C8B-B14F-4D97-AF65-F5344CB8AC3E}">
        <p14:creationId xmlns:p14="http://schemas.microsoft.com/office/powerpoint/2010/main" val="3573520474"/>
      </p:ext>
    </p:extLst>
  </p:cSld>
  <p:clrMapOvr>
    <a:masterClrMapping/>
  </p:clrMapOvr>
  <p:transition spd="slow">
    <p:push dir="u"/>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cSld name="Blank with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54C353-78D4-77F7-F647-193F25BC4B37}"/>
              </a:ext>
            </a:extLst>
          </p:cNvPr>
          <p:cNvGraphicFramePr>
            <a:graphicFrameLocks noChangeAspect="1"/>
          </p:cNvGraphicFramePr>
          <p:nvPr userDrawn="1">
            <p:custDataLst>
              <p:tags r:id="rId1"/>
            </p:custDataLst>
            <p:extLst>
              <p:ext uri="{D42A27DB-BD31-4B8C-83A1-F6EECF244321}">
                <p14:modId xmlns:p14="http://schemas.microsoft.com/office/powerpoint/2010/main" val="371059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D554C353-78D4-77F7-F647-193F25BC4B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A244810-FE4A-4F21-B2F4-13AC35A16F64}"/>
              </a:ext>
            </a:extLst>
          </p:cNvPr>
          <p:cNvSpPr>
            <a:spLocks noGrp="1"/>
          </p:cNvSpPr>
          <p:nvPr>
            <p:ph type="dt" sz="half" idx="10"/>
          </p:nvPr>
        </p:nvSpPr>
        <p:spPr/>
        <p:txBody>
          <a:bodyPr/>
          <a:lstStyle>
            <a:lvl1pPr rtl="0">
              <a:defRPr/>
            </a:lvl1pPr>
          </a:lstStyle>
          <a:p>
            <a:fld id="{A9A6EF92-A23C-4EC1-9D34-7DEBB70EFFF3}" type="datetimeFigureOut">
              <a:rPr lang="en-US" smtClean="0"/>
              <a:pPr/>
              <a:t>7/20/23</a:t>
            </a:fld>
            <a:endParaRPr lang="en-US" dirty="0"/>
          </a:p>
        </p:txBody>
      </p:sp>
      <p:sp>
        <p:nvSpPr>
          <p:cNvPr id="3" name="Footer Placeholder 2">
            <a:extLst>
              <a:ext uri="{FF2B5EF4-FFF2-40B4-BE49-F238E27FC236}">
                <a16:creationId xmlns:a16="http://schemas.microsoft.com/office/drawing/2014/main" id="{866E83A7-277C-4212-B539-2F7F9C8E2338}"/>
              </a:ext>
            </a:extLst>
          </p:cNvPr>
          <p:cNvSpPr>
            <a:spLocks noGrp="1"/>
          </p:cNvSpPr>
          <p:nvPr>
            <p:ph type="ftr" sz="quarter" idx="11"/>
          </p:nvPr>
        </p:nvSpPr>
        <p:spPr/>
        <p:txBody>
          <a:bodyPr/>
          <a:lstStyle>
            <a:lvl1pPr rtl="0">
              <a:defRPr/>
            </a:lvl1pPr>
          </a:lstStyle>
          <a:p>
            <a:endParaRPr lang="en-US" dirty="0"/>
          </a:p>
        </p:txBody>
      </p:sp>
      <p:sp>
        <p:nvSpPr>
          <p:cNvPr id="4" name="Slide Number Placeholder 3">
            <a:extLst>
              <a:ext uri="{FF2B5EF4-FFF2-40B4-BE49-F238E27FC236}">
                <a16:creationId xmlns:a16="http://schemas.microsoft.com/office/drawing/2014/main" id="{13728F43-D00A-4C45-8EAA-9A34DFFF7FCB}"/>
              </a:ext>
            </a:extLst>
          </p:cNvPr>
          <p:cNvSpPr>
            <a:spLocks noGrp="1"/>
          </p:cNvSpPr>
          <p:nvPr>
            <p:ph type="sldNum" sz="quarter" idx="12"/>
          </p:nvPr>
        </p:nvSpPr>
        <p:spPr/>
        <p:txBody>
          <a:bodyPr/>
          <a:lstStyle>
            <a:lvl1pPr rtl="0">
              <a:defRPr/>
            </a:lvl1pPr>
          </a:lstStyle>
          <a:p>
            <a:fld id="{0253CDF2-F7F9-43E0-87CB-D85F6EEB53D6}" type="slidenum">
              <a:rPr lang="en-US" smtClean="0"/>
              <a:pPr/>
              <a:t>‹#›</a:t>
            </a:fld>
            <a:endParaRPr lang="en-US" dirty="0"/>
          </a:p>
        </p:txBody>
      </p:sp>
    </p:spTree>
    <p:extLst>
      <p:ext uri="{BB962C8B-B14F-4D97-AF65-F5344CB8AC3E}">
        <p14:creationId xmlns:p14="http://schemas.microsoft.com/office/powerpoint/2010/main" val="2773880153"/>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1E7E1B-92C8-7DCF-16F6-ED6553F6F578}"/>
              </a:ext>
            </a:extLst>
          </p:cNvPr>
          <p:cNvGraphicFramePr>
            <a:graphicFrameLocks noChangeAspect="1"/>
          </p:cNvGraphicFramePr>
          <p:nvPr userDrawn="1">
            <p:custDataLst>
              <p:tags r:id="rId1"/>
            </p:custDataLst>
            <p:extLst>
              <p:ext uri="{D42A27DB-BD31-4B8C-83A1-F6EECF244321}">
                <p14:modId xmlns:p14="http://schemas.microsoft.com/office/powerpoint/2010/main" val="4285090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ED1E7E1B-92C8-7DCF-16F6-ED6553F6F5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E83628-72A2-BA4B-7706-A1568513A764}"/>
              </a:ext>
            </a:extLst>
          </p:cNvPr>
          <p:cNvGraphicFramePr>
            <a:graphicFrameLocks noChangeAspect="1"/>
          </p:cNvGraphicFramePr>
          <p:nvPr userDrawn="1">
            <p:custDataLst>
              <p:tags r:id="rId1"/>
            </p:custDataLst>
            <p:extLst>
              <p:ext uri="{D42A27DB-BD31-4B8C-83A1-F6EECF244321}">
                <p14:modId xmlns:p14="http://schemas.microsoft.com/office/powerpoint/2010/main" val="378575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19E83628-72A2-BA4B-7706-A1568513A7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389077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hree column text ">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FB611BD1-2A88-430F-A9D4-45F5A2E9FDD3}"/>
              </a:ext>
            </a:extLst>
          </p:cNvPr>
          <p:cNvSpPr>
            <a:spLocks noGrp="1"/>
          </p:cNvSpPr>
          <p:nvPr>
            <p:ph type="body" sz="quarter" idx="13"/>
          </p:nvPr>
        </p:nvSpPr>
        <p:spPr>
          <a:xfrm>
            <a:off x="360363" y="4191000"/>
            <a:ext cx="3649662" cy="2082800"/>
          </a:xfrm>
        </p:spPr>
        <p:txBody>
          <a:bodyPr lIns="72000" tIns="72000" rIns="72000" bIns="72000"/>
          <a:lstStyle>
            <a:lvl1pPr marL="0" indent="0" algn="ctr">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2" name="Title 1">
            <a:extLst>
              <a:ext uri="{FF2B5EF4-FFF2-40B4-BE49-F238E27FC236}">
                <a16:creationId xmlns:a16="http://schemas.microsoft.com/office/drawing/2014/main" id="{C2B88806-15D0-45B7-878C-BBEFD6F83F7F}"/>
              </a:ext>
            </a:extLst>
          </p:cNvPr>
          <p:cNvSpPr>
            <a:spLocks noGrp="1"/>
          </p:cNvSpPr>
          <p:nvPr>
            <p:ph type="title"/>
          </p:nvPr>
        </p:nvSpPr>
        <p:spPr/>
        <p:txBody>
          <a:bodyPr/>
          <a:lstStyle/>
          <a:p>
            <a:r>
              <a:rPr lang="en-US"/>
              <a:t>Click to edit Master title style</a:t>
            </a:r>
            <a:endParaRPr lang="en-GB"/>
          </a:p>
        </p:txBody>
      </p:sp>
      <p:sp>
        <p:nvSpPr>
          <p:cNvPr id="13" name="Text Placeholder 12">
            <a:extLst>
              <a:ext uri="{FF2B5EF4-FFF2-40B4-BE49-F238E27FC236}">
                <a16:creationId xmlns:a16="http://schemas.microsoft.com/office/drawing/2014/main" id="{09619EA0-BA23-4214-8203-65949873EAC7}"/>
              </a:ext>
            </a:extLst>
          </p:cNvPr>
          <p:cNvSpPr>
            <a:spLocks noGrp="1"/>
          </p:cNvSpPr>
          <p:nvPr>
            <p:ph type="body" sz="quarter" idx="14"/>
          </p:nvPr>
        </p:nvSpPr>
        <p:spPr>
          <a:xfrm>
            <a:off x="4271963" y="4191000"/>
            <a:ext cx="3646487" cy="2079625"/>
          </a:xfrm>
        </p:spPr>
        <p:txBody>
          <a:bodyPr lIns="72000" tIns="72000" rIns="72000" bIns="72000"/>
          <a:lstStyle>
            <a:lvl1pPr marL="0" indent="0" algn="ctr">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5" name="Text Placeholder 14">
            <a:extLst>
              <a:ext uri="{FF2B5EF4-FFF2-40B4-BE49-F238E27FC236}">
                <a16:creationId xmlns:a16="http://schemas.microsoft.com/office/drawing/2014/main" id="{1B7E765A-8F9C-49D9-B3EB-8F207503C245}"/>
              </a:ext>
            </a:extLst>
          </p:cNvPr>
          <p:cNvSpPr>
            <a:spLocks noGrp="1"/>
          </p:cNvSpPr>
          <p:nvPr>
            <p:ph type="body" sz="quarter" idx="15"/>
          </p:nvPr>
        </p:nvSpPr>
        <p:spPr>
          <a:xfrm>
            <a:off x="8180388" y="4194175"/>
            <a:ext cx="3646487" cy="2076450"/>
          </a:xfrm>
        </p:spPr>
        <p:txBody>
          <a:bodyPr lIns="72000" tIns="72000" rIns="72000" bIns="72000"/>
          <a:lstStyle>
            <a:lvl1pPr marL="0" indent="0" algn="ctr">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105269172"/>
      </p:ext>
    </p:extLst>
  </p:cSld>
  <p:clrMapOvr>
    <a:masterClrMapping/>
  </p:clrMapOvr>
  <p:transition spd="slow">
    <p:push dir="u"/>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19" name="Rectangle 18"/>
          <p:cNvSpPr/>
          <p:nvPr userDrawn="1"/>
        </p:nvSpPr>
        <p:spPr bwMode="black">
          <a:xfrm>
            <a:off x="630936" y="626200"/>
            <a:ext cx="8125200" cy="5529600"/>
          </a:xfrm>
          <a:prstGeom prst="rect">
            <a:avLst/>
          </a:prstGeom>
          <a:gradFill flip="none" rotWithShape="1">
            <a:gsLst>
              <a:gs pos="0">
                <a:srgbClr val="97DF65">
                  <a:alpha val="89804"/>
                </a:srgbClr>
              </a:gs>
              <a:gs pos="100000">
                <a:srgbClr val="60C090">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sp>
        <p:nvSpPr>
          <p:cNvPr id="28"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rgbClr val="575757"/>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9"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p>
        </p:txBody>
      </p:sp>
      <p:pic>
        <p:nvPicPr>
          <p:cNvPr id="31" name="Picture 3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9325" y="885825"/>
            <a:ext cx="3032202" cy="848410"/>
          </a:xfrm>
          <a:prstGeom prst="rect">
            <a:avLst/>
          </a:prstGeom>
        </p:spPr>
      </p:pic>
    </p:spTree>
    <p:extLst>
      <p:ext uri="{BB962C8B-B14F-4D97-AF65-F5344CB8AC3E}">
        <p14:creationId xmlns:p14="http://schemas.microsoft.com/office/powerpoint/2010/main" val="969413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60C090"/>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77037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60C090"/>
                </a:solidFill>
                <a:latin typeface="+mj-lt"/>
              </a:defRPr>
            </a:lvl1pPr>
          </a:lstStyle>
          <a:p>
            <a:r>
              <a:rPr lang="en-US"/>
              <a:t>Click to add title</a:t>
            </a:r>
          </a:p>
        </p:txBody>
      </p:sp>
    </p:spTree>
    <p:extLst>
      <p:ext uri="{BB962C8B-B14F-4D97-AF65-F5344CB8AC3E}">
        <p14:creationId xmlns:p14="http://schemas.microsoft.com/office/powerpoint/2010/main" val="1919734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633032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5740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60C090"/>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655861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60C090"/>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933394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02657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2B8178-AB5F-5073-380E-D60C6C725F7E}"/>
              </a:ext>
            </a:extLst>
          </p:cNvPr>
          <p:cNvGraphicFramePr>
            <a:graphicFrameLocks noChangeAspect="1"/>
          </p:cNvGraphicFramePr>
          <p:nvPr userDrawn="1">
            <p:custDataLst>
              <p:tags r:id="rId1"/>
            </p:custDataLst>
            <p:extLst>
              <p:ext uri="{D42A27DB-BD31-4B8C-83A1-F6EECF244321}">
                <p14:modId xmlns:p14="http://schemas.microsoft.com/office/powerpoint/2010/main" val="2968981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B72B8178-AB5F-5073-380E-D60C6C725F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709345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39249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60C090"/>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0853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20325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60C090"/>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8290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69314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60C090"/>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42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18679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60C090"/>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644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60C090"/>
              </a:gs>
              <a:gs pos="100000">
                <a:srgbClr val="97DF6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92046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7CC045-F0EC-C86E-8753-FBC6191FFEAE}"/>
              </a:ext>
            </a:extLst>
          </p:cNvPr>
          <p:cNvGraphicFramePr>
            <a:graphicFrameLocks noChangeAspect="1"/>
          </p:cNvGraphicFramePr>
          <p:nvPr userDrawn="1">
            <p:custDataLst>
              <p:tags r:id="rId1"/>
            </p:custDataLst>
            <p:extLst>
              <p:ext uri="{D42A27DB-BD31-4B8C-83A1-F6EECF244321}">
                <p14:modId xmlns:p14="http://schemas.microsoft.com/office/powerpoint/2010/main" val="3767163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CE7CC045-F0EC-C86E-8753-FBC6191FF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73432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44AD9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44AD93"/>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191072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21564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60C090"/>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2953019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012756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910307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078717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The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899920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Rectangle 9"/>
          <p:cNvSpPr/>
          <p:nvPr userDrawn="1"/>
        </p:nvSpPr>
        <p:spPr bwMode="black">
          <a:xfrm>
            <a:off x="626289" y="626321"/>
            <a:ext cx="5610517" cy="5532504"/>
          </a:xfrm>
          <a:prstGeom prst="rect">
            <a:avLst/>
          </a:prstGeom>
          <a:gradFill flip="none" rotWithShape="1">
            <a:gsLst>
              <a:gs pos="0">
                <a:srgbClr val="97DF65">
                  <a:alpha val="89804"/>
                </a:srgbClr>
              </a:gs>
              <a:gs pos="100000">
                <a:srgbClr val="60C090">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sp>
        <p:nvSpPr>
          <p:cNvPr id="16" name="TextBox 15"/>
          <p:cNvSpPr txBox="1"/>
          <p:nvPr userDrawn="1"/>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prstClr val="white"/>
                </a:solidFill>
                <a:sym typeface="Trebuchet MS" panose="020B0603020202020204" pitchFamily="34" charset="0"/>
              </a:rPr>
              <a:t>bcg.com</a:t>
            </a: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175" y="2692143"/>
            <a:ext cx="5006648" cy="1400860"/>
          </a:xfrm>
          <a:prstGeom prst="rect">
            <a:avLst/>
          </a:prstGeom>
        </p:spPr>
      </p:pic>
    </p:spTree>
    <p:extLst>
      <p:ext uri="{BB962C8B-B14F-4D97-AF65-F5344CB8AC3E}">
        <p14:creationId xmlns:p14="http://schemas.microsoft.com/office/powerpoint/2010/main" val="50991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082417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5276850"/>
          </a:xfrm>
          <a:prstGeom prst="rect">
            <a:avLst/>
          </a:prstGeom>
        </p:spPr>
      </p:pic>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19" name="Rectangle 18"/>
          <p:cNvSpPr/>
          <p:nvPr userDrawn="1"/>
        </p:nvSpPr>
        <p:spPr bwMode="black">
          <a:xfrm>
            <a:off x="630936" y="626200"/>
            <a:ext cx="8125200" cy="5529600"/>
          </a:xfrm>
          <a:prstGeom prst="rect">
            <a:avLst/>
          </a:prstGeom>
          <a:gradFill flip="none" rotWithShape="1">
            <a:gsLst>
              <a:gs pos="0">
                <a:srgbClr val="97DF65">
                  <a:alpha val="89804"/>
                </a:srgbClr>
              </a:gs>
              <a:gs pos="100000">
                <a:srgbClr val="60C090">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sp>
        <p:nvSpPr>
          <p:cNvPr id="28"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rgbClr val="575757"/>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9"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0"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a:t>Click to edit Master title style</a:t>
            </a:r>
          </a:p>
        </p:txBody>
      </p:sp>
      <p:pic>
        <p:nvPicPr>
          <p:cNvPr id="31" name="Picture 3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49325" y="885825"/>
            <a:ext cx="3032202" cy="848410"/>
          </a:xfrm>
          <a:prstGeom prst="rect">
            <a:avLst/>
          </a:prstGeom>
        </p:spPr>
      </p:pic>
    </p:spTree>
    <p:extLst>
      <p:ext uri="{BB962C8B-B14F-4D97-AF65-F5344CB8AC3E}">
        <p14:creationId xmlns:p14="http://schemas.microsoft.com/office/powerpoint/2010/main" val="3474898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75072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solidFill>
                  <a:srgbClr val="60C090"/>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209044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60C090"/>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60C090"/>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99027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0C090"/>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44AD9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56946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60C090"/>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44AD93"/>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703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60C090"/>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739022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60C090"/>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94425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chemeClr val="bg1">
                <a:lumMod val="75000"/>
              </a:schemeClr>
            </a:gs>
            <a:gs pos="100000">
              <a:srgbClr val="3737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253CDF-F7B5-A79A-D8A0-0ABA6A63DB69}"/>
              </a:ext>
            </a:extLst>
          </p:cNvPr>
          <p:cNvGraphicFramePr>
            <a:graphicFrameLocks noChangeAspect="1"/>
          </p:cNvGraphicFramePr>
          <p:nvPr userDrawn="1">
            <p:custDataLst>
              <p:tags r:id="rId1"/>
            </p:custDataLst>
            <p:extLst>
              <p:ext uri="{D42A27DB-BD31-4B8C-83A1-F6EECF244321}">
                <p14:modId xmlns:p14="http://schemas.microsoft.com/office/powerpoint/2010/main" val="1982270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1B253CDF-F7B5-A79A-D8A0-0ABA6A63DB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57575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140240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8953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324627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19081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934F12-AA49-A526-8BA2-3673A247037B}"/>
              </a:ext>
            </a:extLst>
          </p:cNvPr>
          <p:cNvGraphicFramePr>
            <a:graphicFrameLocks noChangeAspect="1"/>
          </p:cNvGraphicFramePr>
          <p:nvPr userDrawn="1">
            <p:custDataLst>
              <p:tags r:id="rId1"/>
            </p:custDataLst>
            <p:extLst>
              <p:ext uri="{D42A27DB-BD31-4B8C-83A1-F6EECF244321}">
                <p14:modId xmlns:p14="http://schemas.microsoft.com/office/powerpoint/2010/main" val="180301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F8934F12-AA49-A526-8BA2-3673A2470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60C090"/>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96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07468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60C090"/>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5772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9499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60C090"/>
                </a:solidFill>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1632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029393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60C090"/>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550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60C090"/>
              </a:gs>
              <a:gs pos="100000">
                <a:srgbClr val="97DF6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99481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125712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44AD9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44AD93"/>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647705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3B59A0-4D27-F6F1-945C-2F616FBA8369}"/>
              </a:ext>
            </a:extLst>
          </p:cNvPr>
          <p:cNvGraphicFramePr>
            <a:graphicFrameLocks noChangeAspect="1"/>
          </p:cNvGraphicFramePr>
          <p:nvPr userDrawn="1">
            <p:custDataLst>
              <p:tags r:id="rId1"/>
            </p:custDataLst>
            <p:extLst>
              <p:ext uri="{D42A27DB-BD31-4B8C-83A1-F6EECF244321}">
                <p14:modId xmlns:p14="http://schemas.microsoft.com/office/powerpoint/2010/main" val="1070451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03B59A0-4D27-F6F1-945C-2F616FBA83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215649"/>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60C090"/>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381282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55316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60C090"/>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8795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01598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098572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The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085982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Rectangle 9"/>
          <p:cNvSpPr/>
          <p:nvPr userDrawn="1"/>
        </p:nvSpPr>
        <p:spPr bwMode="black">
          <a:xfrm>
            <a:off x="626289" y="626321"/>
            <a:ext cx="5610517" cy="5532504"/>
          </a:xfrm>
          <a:prstGeom prst="rect">
            <a:avLst/>
          </a:prstGeom>
          <a:gradFill flip="none" rotWithShape="1">
            <a:gsLst>
              <a:gs pos="0">
                <a:srgbClr val="97DF65">
                  <a:alpha val="89804"/>
                </a:srgbClr>
              </a:gs>
              <a:gs pos="100000">
                <a:srgbClr val="60C090">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sp>
        <p:nvSpPr>
          <p:cNvPr id="16" name="TextBox 15"/>
          <p:cNvSpPr txBox="1"/>
          <p:nvPr userDrawn="1"/>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prstClr val="white"/>
                </a:solidFill>
                <a:sym typeface="Trebuchet MS" panose="020B0603020202020204" pitchFamily="34" charset="0"/>
              </a:rPr>
              <a:t>bcg.com</a:t>
            </a: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2175" y="2692143"/>
            <a:ext cx="5006648" cy="1400860"/>
          </a:xfrm>
          <a:prstGeom prst="rect">
            <a:avLst/>
          </a:prstGeom>
        </p:spPr>
      </p:pic>
    </p:spTree>
    <p:extLst>
      <p:ext uri="{BB962C8B-B14F-4D97-AF65-F5344CB8AC3E}">
        <p14:creationId xmlns:p14="http://schemas.microsoft.com/office/powerpoint/2010/main" val="2644760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13198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1993568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2836958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68664A-1C1F-AAFB-19AC-BF4756426D43}"/>
              </a:ext>
            </a:extLst>
          </p:cNvPr>
          <p:cNvGraphicFramePr>
            <a:graphicFrameLocks noChangeAspect="1"/>
          </p:cNvGraphicFramePr>
          <p:nvPr userDrawn="1">
            <p:custDataLst>
              <p:tags r:id="rId1"/>
            </p:custDataLst>
            <p:extLst>
              <p:ext uri="{D42A27DB-BD31-4B8C-83A1-F6EECF244321}">
                <p14:modId xmlns:p14="http://schemas.microsoft.com/office/powerpoint/2010/main" val="1850040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F868664A-1C1F-AAFB-19AC-BF4756426D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835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5068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056859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44AD9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44AD93"/>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rgbClr val="44AD93"/>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rgbClr val="44AD93"/>
                </a:solidFill>
              </a:rPr>
              <a:t>Agenda</a:t>
            </a:r>
          </a:p>
        </p:txBody>
      </p:sp>
    </p:spTree>
    <p:extLst>
      <p:ext uri="{BB962C8B-B14F-4D97-AF65-F5344CB8AC3E}">
        <p14:creationId xmlns:p14="http://schemas.microsoft.com/office/powerpoint/2010/main" val="1574152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44AD9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44AD9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691762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44AD93"/>
                </a:solidFill>
              </a:rPr>
              <a:t>Agenda</a:t>
            </a:r>
          </a:p>
        </p:txBody>
      </p:sp>
      <p:cxnSp>
        <p:nvCxnSpPr>
          <p:cNvPr id="9" name="Straight Connector 8"/>
          <p:cNvCxnSpPr/>
          <p:nvPr userDrawn="1"/>
        </p:nvCxnSpPr>
        <p:spPr bwMode="white">
          <a:xfrm>
            <a:off x="618898" y="1206000"/>
            <a:ext cx="11576304" cy="0"/>
          </a:xfrm>
          <a:prstGeom prst="line">
            <a:avLst/>
          </a:prstGeom>
          <a:ln w="9525" cmpd="sng">
            <a:solidFill>
              <a:srgbClr val="44AD93"/>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3243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99560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2766744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08830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44AD93"/>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9288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861203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88379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573FE49-5606-1EB3-6310-FED4B605191A}"/>
              </a:ext>
            </a:extLst>
          </p:cNvPr>
          <p:cNvSpPr>
            <a:spLocks noGrp="1"/>
          </p:cNvSpPr>
          <p:nvPr>
            <p:ph type="pic" sz="quarter" idx="13"/>
          </p:nvPr>
        </p:nvSpPr>
        <p:spPr>
          <a:xfrm>
            <a:off x="5987845" y="0"/>
            <a:ext cx="6204155" cy="6858000"/>
          </a:xfrm>
        </p:spPr>
        <p:txBody>
          <a:bodyPr/>
          <a:lstStyle/>
          <a:p>
            <a:endParaRPr lang="en-US" dirty="0"/>
          </a:p>
        </p:txBody>
      </p:sp>
      <p:sp>
        <p:nvSpPr>
          <p:cNvPr id="7" name="Title 1">
            <a:extLst>
              <a:ext uri="{FF2B5EF4-FFF2-40B4-BE49-F238E27FC236}">
                <a16:creationId xmlns:a16="http://schemas.microsoft.com/office/drawing/2014/main" id="{5896F148-791D-3B72-3289-702EA2B463BB}"/>
              </a:ext>
            </a:extLst>
          </p:cNvPr>
          <p:cNvSpPr>
            <a:spLocks noGrp="1"/>
          </p:cNvSpPr>
          <p:nvPr>
            <p:ph type="ctrTitle" hasCustomPrompt="1"/>
          </p:nvPr>
        </p:nvSpPr>
        <p:spPr>
          <a:xfrm>
            <a:off x="424405" y="1705261"/>
            <a:ext cx="5189317" cy="2387600"/>
          </a:xfrm>
          <a:prstGeom prst="rect">
            <a:avLst/>
          </a:prstGeom>
        </p:spPr>
        <p:txBody>
          <a:bodyPr anchor="t">
            <a:normAutofit/>
          </a:bodyPr>
          <a:lstStyle>
            <a:lvl1pPr algn="l">
              <a:defRPr sz="4800" b="1" cap="all" baseline="0">
                <a:solidFill>
                  <a:schemeClr val="tx1"/>
                </a:solidFill>
              </a:defRPr>
            </a:lvl1pPr>
          </a:lstStyle>
          <a:p>
            <a:r>
              <a:rPr lang="en-US" dirty="0"/>
              <a:t>CLICK TO EDIT MASTER TITLE STYLE</a:t>
            </a:r>
            <a:endParaRPr lang="en-VI" dirty="0"/>
          </a:p>
        </p:txBody>
      </p:sp>
      <p:sp>
        <p:nvSpPr>
          <p:cNvPr id="9" name="Subtitle 2">
            <a:extLst>
              <a:ext uri="{FF2B5EF4-FFF2-40B4-BE49-F238E27FC236}">
                <a16:creationId xmlns:a16="http://schemas.microsoft.com/office/drawing/2014/main" id="{5D0C170A-0780-2561-EAAF-8C7BDBED87CE}"/>
              </a:ext>
            </a:extLst>
          </p:cNvPr>
          <p:cNvSpPr>
            <a:spLocks noGrp="1"/>
          </p:cNvSpPr>
          <p:nvPr>
            <p:ph type="subTitle" idx="1"/>
          </p:nvPr>
        </p:nvSpPr>
        <p:spPr>
          <a:xfrm>
            <a:off x="424405" y="4184936"/>
            <a:ext cx="5189317" cy="1655762"/>
          </a:xfrm>
          <a:prstGeom prst="rect">
            <a:avLst/>
          </a:prstGeo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VI" dirty="0"/>
          </a:p>
        </p:txBody>
      </p:sp>
      <p:pic>
        <p:nvPicPr>
          <p:cNvPr id="16" name="Picture 11">
            <a:extLst>
              <a:ext uri="{FF2B5EF4-FFF2-40B4-BE49-F238E27FC236}">
                <a16:creationId xmlns:a16="http://schemas.microsoft.com/office/drawing/2014/main" id="{6135DF5B-93BB-692C-4D12-7A6A34BEC7D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25174" y="362680"/>
            <a:ext cx="1479544" cy="829194"/>
          </a:xfrm>
          <a:prstGeom prst="rect">
            <a:avLst/>
          </a:prstGeom>
        </p:spPr>
      </p:pic>
      <p:sp>
        <p:nvSpPr>
          <p:cNvPr id="26" name="Rectangle 25">
            <a:extLst>
              <a:ext uri="{FF2B5EF4-FFF2-40B4-BE49-F238E27FC236}">
                <a16:creationId xmlns:a16="http://schemas.microsoft.com/office/drawing/2014/main" id="{F349E05D-9DA5-FF8A-8C56-D45E5341D470}"/>
              </a:ext>
            </a:extLst>
          </p:cNvPr>
          <p:cNvSpPr/>
          <p:nvPr userDrawn="1"/>
        </p:nvSpPr>
        <p:spPr>
          <a:xfrm rot="16200000">
            <a:off x="11834020" y="-80590"/>
            <a:ext cx="434757" cy="450322"/>
          </a:xfrm>
          <a:prstGeom prst="rect">
            <a:avLst/>
          </a:prstGeom>
          <a:noFill/>
          <a:ln w="19050" cap="flat">
            <a:solidFill>
              <a:schemeClr val="accent2"/>
            </a:solidFill>
            <a:prstDash val="solid"/>
            <a:miter/>
          </a:ln>
        </p:spPr>
        <p:txBody>
          <a:bodyPr rtlCol="0" anchor="ctr"/>
          <a:lstStyle/>
          <a:p>
            <a:endParaRPr lang="en-VI"/>
          </a:p>
        </p:txBody>
      </p:sp>
      <p:sp>
        <p:nvSpPr>
          <p:cNvPr id="27" name="Freeform: Shape 10">
            <a:extLst>
              <a:ext uri="{FF2B5EF4-FFF2-40B4-BE49-F238E27FC236}">
                <a16:creationId xmlns:a16="http://schemas.microsoft.com/office/drawing/2014/main" id="{A9CE393A-21C9-BB3C-EB45-2E5431111DDF}"/>
              </a:ext>
            </a:extLst>
          </p:cNvPr>
          <p:cNvSpPr/>
          <p:nvPr userDrawn="1"/>
        </p:nvSpPr>
        <p:spPr>
          <a:xfrm rot="16200000">
            <a:off x="10970000" y="9091"/>
            <a:ext cx="1232349" cy="1211651"/>
          </a:xfrm>
          <a:custGeom>
            <a:avLst/>
            <a:gdLst>
              <a:gd name="connsiteX0" fmla="*/ 0 w 664066"/>
              <a:gd name="connsiteY0" fmla="*/ 652912 h 652912"/>
              <a:gd name="connsiteX1" fmla="*/ 0 w 664066"/>
              <a:gd name="connsiteY1" fmla="*/ 0 h 652912"/>
              <a:gd name="connsiteX2" fmla="*/ 664067 w 664066"/>
              <a:gd name="connsiteY2" fmla="*/ 0 h 652912"/>
              <a:gd name="connsiteX3" fmla="*/ 0 w 664066"/>
              <a:gd name="connsiteY3" fmla="*/ 652912 h 652912"/>
            </a:gdLst>
            <a:ahLst/>
            <a:cxnLst>
              <a:cxn ang="0">
                <a:pos x="connsiteX0" y="connsiteY0"/>
              </a:cxn>
              <a:cxn ang="0">
                <a:pos x="connsiteX1" y="connsiteY1"/>
              </a:cxn>
              <a:cxn ang="0">
                <a:pos x="connsiteX2" y="connsiteY2"/>
              </a:cxn>
              <a:cxn ang="0">
                <a:pos x="connsiteX3" y="connsiteY3"/>
              </a:cxn>
            </a:cxnLst>
            <a:rect l="l" t="t" r="r" b="b"/>
            <a:pathLst>
              <a:path w="664066" h="652912">
                <a:moveTo>
                  <a:pt x="0" y="652912"/>
                </a:moveTo>
                <a:lnTo>
                  <a:pt x="0" y="0"/>
                </a:lnTo>
                <a:cubicBezTo>
                  <a:pt x="0" y="0"/>
                  <a:pt x="664067" y="0"/>
                  <a:pt x="664067" y="0"/>
                </a:cubicBezTo>
                <a:cubicBezTo>
                  <a:pt x="664067" y="360553"/>
                  <a:pt x="366764" y="652912"/>
                  <a:pt x="0" y="652912"/>
                </a:cubicBezTo>
              </a:path>
            </a:pathLst>
          </a:custGeom>
          <a:solidFill>
            <a:schemeClr val="accent3"/>
          </a:solidFill>
          <a:ln w="28575" cap="flat">
            <a:noFill/>
            <a:prstDash val="solid"/>
            <a:miter/>
          </a:ln>
        </p:spPr>
        <p:txBody>
          <a:bodyPr rtlCol="0" anchor="ctr"/>
          <a:lstStyle/>
          <a:p>
            <a:endParaRPr lang="en-VI"/>
          </a:p>
        </p:txBody>
      </p:sp>
    </p:spTree>
    <p:custDataLst>
      <p:tags r:id="rId1"/>
    </p:custDataLst>
    <p:extLst>
      <p:ext uri="{BB962C8B-B14F-4D97-AF65-F5344CB8AC3E}">
        <p14:creationId xmlns:p14="http://schemas.microsoft.com/office/powerpoint/2010/main" val="5967083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663">
          <p15:clr>
            <a:srgbClr val="FBAE40"/>
          </p15:clr>
        </p15:guide>
        <p15:guide id="4" orient="horz" pos="30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25E451-81B9-11D5-D47C-8E2EFA15E04A}"/>
              </a:ext>
            </a:extLst>
          </p:cNvPr>
          <p:cNvGraphicFramePr>
            <a:graphicFrameLocks noChangeAspect="1"/>
          </p:cNvGraphicFramePr>
          <p:nvPr userDrawn="1">
            <p:custDataLst>
              <p:tags r:id="rId1"/>
            </p:custDataLst>
            <p:extLst>
              <p:ext uri="{D42A27DB-BD31-4B8C-83A1-F6EECF244321}">
                <p14:modId xmlns:p14="http://schemas.microsoft.com/office/powerpoint/2010/main" val="4154952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425E451-81B9-11D5-D47C-8E2EFA15E0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19FCE38B-3C13-4FC5-8185-D603FE719F27}"/>
              </a:ext>
            </a:extLst>
          </p:cNvPr>
          <p:cNvSpPr>
            <a:spLocks noGrp="1"/>
          </p:cNvSpPr>
          <p:nvPr>
            <p:ph type="pic" sz="quarter" idx="10"/>
          </p:nvPr>
        </p:nvSpPr>
        <p:spPr>
          <a:xfrm>
            <a:off x="0" y="0"/>
            <a:ext cx="12192000" cy="6875463"/>
          </a:xfrm>
        </p:spPr>
        <p:txBody>
          <a:bodyPr/>
          <a:lstStyle/>
          <a:p>
            <a:endParaRPr lang="en-US"/>
          </a:p>
        </p:txBody>
      </p:sp>
      <p:sp>
        <p:nvSpPr>
          <p:cNvPr id="8" name="Title 1">
            <a:extLst>
              <a:ext uri="{FF2B5EF4-FFF2-40B4-BE49-F238E27FC236}">
                <a16:creationId xmlns:a16="http://schemas.microsoft.com/office/drawing/2014/main" id="{5E5B8751-5251-D633-7CF9-18F2A3C5B8BD}"/>
              </a:ext>
            </a:extLst>
          </p:cNvPr>
          <p:cNvSpPr>
            <a:spLocks noGrp="1"/>
          </p:cNvSpPr>
          <p:nvPr>
            <p:ph type="ctrTitle" hasCustomPrompt="1"/>
          </p:nvPr>
        </p:nvSpPr>
        <p:spPr>
          <a:xfrm>
            <a:off x="425174" y="2314861"/>
            <a:ext cx="5189317" cy="2387600"/>
          </a:xfrm>
          <a:prstGeom prst="rect">
            <a:avLst/>
          </a:prstGeom>
        </p:spPr>
        <p:txBody>
          <a:bodyPr anchor="t">
            <a:normAutofit/>
          </a:bodyPr>
          <a:lstStyle>
            <a:lvl1pPr algn="l">
              <a:defRPr sz="4800" b="1" cap="all" baseline="0">
                <a:solidFill>
                  <a:schemeClr val="bg1"/>
                </a:solidFill>
              </a:defRPr>
            </a:lvl1pPr>
          </a:lstStyle>
          <a:p>
            <a:r>
              <a:rPr lang="en-US" dirty="0"/>
              <a:t>CLICK TO EDIT MASTER TITLE STYLE</a:t>
            </a:r>
            <a:endParaRPr lang="en-VI" dirty="0"/>
          </a:p>
        </p:txBody>
      </p:sp>
      <p:sp>
        <p:nvSpPr>
          <p:cNvPr id="10" name="Subtitle 2">
            <a:extLst>
              <a:ext uri="{FF2B5EF4-FFF2-40B4-BE49-F238E27FC236}">
                <a16:creationId xmlns:a16="http://schemas.microsoft.com/office/drawing/2014/main" id="{4C78746B-9738-5D9F-7625-D2E23E2B5CD8}"/>
              </a:ext>
            </a:extLst>
          </p:cNvPr>
          <p:cNvSpPr>
            <a:spLocks noGrp="1"/>
          </p:cNvSpPr>
          <p:nvPr>
            <p:ph type="subTitle" idx="1"/>
          </p:nvPr>
        </p:nvSpPr>
        <p:spPr>
          <a:xfrm>
            <a:off x="425174" y="4826888"/>
            <a:ext cx="5189317" cy="1019886"/>
          </a:xfrm>
          <a:prstGeom prst="rect">
            <a:avLst/>
          </a:prstGeo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VI" dirty="0"/>
          </a:p>
        </p:txBody>
      </p:sp>
      <p:pic>
        <p:nvPicPr>
          <p:cNvPr id="12" name="Picture 11">
            <a:extLst>
              <a:ext uri="{FF2B5EF4-FFF2-40B4-BE49-F238E27FC236}">
                <a16:creationId xmlns:a16="http://schemas.microsoft.com/office/drawing/2014/main" id="{BAEC1B93-0F6E-58C1-B8FC-83DB76A8AAD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25174" y="362680"/>
            <a:ext cx="1479544" cy="829195"/>
          </a:xfrm>
          <a:prstGeom prst="rect">
            <a:avLst/>
          </a:prstGeom>
        </p:spPr>
      </p:pic>
      <p:sp>
        <p:nvSpPr>
          <p:cNvPr id="25" name="Rectangle 24">
            <a:extLst>
              <a:ext uri="{FF2B5EF4-FFF2-40B4-BE49-F238E27FC236}">
                <a16:creationId xmlns:a16="http://schemas.microsoft.com/office/drawing/2014/main" id="{07FBA5E6-EA87-B1EA-1329-F26E96D85B4F}"/>
              </a:ext>
            </a:extLst>
          </p:cNvPr>
          <p:cNvSpPr/>
          <p:nvPr userDrawn="1"/>
        </p:nvSpPr>
        <p:spPr>
          <a:xfrm rot="16200000">
            <a:off x="11834020" y="6517354"/>
            <a:ext cx="434757" cy="450322"/>
          </a:xfrm>
          <a:prstGeom prst="rect">
            <a:avLst/>
          </a:prstGeom>
          <a:noFill/>
          <a:ln w="19050" cap="flat">
            <a:solidFill>
              <a:schemeClr val="accent2"/>
            </a:solidFill>
            <a:prstDash val="solid"/>
            <a:miter/>
          </a:ln>
        </p:spPr>
        <p:txBody>
          <a:bodyPr rtlCol="0" anchor="ctr"/>
          <a:lstStyle/>
          <a:p>
            <a:endParaRPr lang="en-VI"/>
          </a:p>
        </p:txBody>
      </p:sp>
      <p:pic>
        <p:nvPicPr>
          <p:cNvPr id="29" name="Graphic 28">
            <a:extLst>
              <a:ext uri="{FF2B5EF4-FFF2-40B4-BE49-F238E27FC236}">
                <a16:creationId xmlns:a16="http://schemas.microsoft.com/office/drawing/2014/main" id="{F8C5F913-D978-FC91-BA3D-5BA0BC44633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982715" y="5643188"/>
            <a:ext cx="1209285" cy="1232350"/>
          </a:xfrm>
          <a:prstGeom prst="rect">
            <a:avLst/>
          </a:prstGeom>
        </p:spPr>
      </p:pic>
    </p:spTree>
    <p:custDataLst>
      <p:tags r:id="rId1"/>
    </p:custDataLst>
    <p:extLst>
      <p:ext uri="{BB962C8B-B14F-4D97-AF65-F5344CB8AC3E}">
        <p14:creationId xmlns:p14="http://schemas.microsoft.com/office/powerpoint/2010/main" val="7334182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663">
          <p15:clr>
            <a:srgbClr val="FBAE40"/>
          </p15:clr>
        </p15:guide>
        <p15:guide id="4" orient="horz" pos="30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D361CB-5177-247F-AD28-D66F1C4DE739}"/>
              </a:ext>
            </a:extLst>
          </p:cNvPr>
          <p:cNvSpPr/>
          <p:nvPr userDrawn="1"/>
        </p:nvSpPr>
        <p:spPr>
          <a:xfrm>
            <a:off x="7031115" y="361952"/>
            <a:ext cx="4798933" cy="6496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I"/>
          </a:p>
        </p:txBody>
      </p:sp>
      <p:sp>
        <p:nvSpPr>
          <p:cNvPr id="7" name="Title 6">
            <a:extLst>
              <a:ext uri="{FF2B5EF4-FFF2-40B4-BE49-F238E27FC236}">
                <a16:creationId xmlns:a16="http://schemas.microsoft.com/office/drawing/2014/main" id="{8C9C2800-F12D-4E10-A82D-44FDABB0E3F1}"/>
              </a:ext>
            </a:extLst>
          </p:cNvPr>
          <p:cNvSpPr>
            <a:spLocks noGrp="1"/>
          </p:cNvSpPr>
          <p:nvPr>
            <p:ph type="title" hasCustomPrompt="1"/>
          </p:nvPr>
        </p:nvSpPr>
        <p:spPr>
          <a:xfrm>
            <a:off x="334961" y="353073"/>
            <a:ext cx="6227885" cy="878019"/>
          </a:xfrm>
          <a:prstGeom prst="rect">
            <a:avLst/>
          </a:prstGeom>
          <a:noFill/>
        </p:spPr>
        <p:txBody>
          <a:bodyPr anchor="t">
            <a:normAutofit/>
          </a:bodyPr>
          <a:lstStyle>
            <a:lvl1pPr>
              <a:defRPr sz="2800">
                <a:solidFill>
                  <a:schemeClr val="accent1"/>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192C83E-3C9A-97DC-BDE2-426042D5FDF8}"/>
              </a:ext>
            </a:extLst>
          </p:cNvPr>
          <p:cNvSpPr>
            <a:spLocks noGrp="1"/>
          </p:cNvSpPr>
          <p:nvPr>
            <p:ph sz="half" idx="13"/>
          </p:nvPr>
        </p:nvSpPr>
        <p:spPr>
          <a:xfrm>
            <a:off x="7145112" y="2140845"/>
            <a:ext cx="4570938" cy="4250332"/>
          </a:xfrm>
          <a:prstGeom prst="rect">
            <a:avLst/>
          </a:prstGeom>
        </p:spPr>
        <p:txBody>
          <a:bodyPr>
            <a:normAutofit/>
          </a:bodyPr>
          <a:lstStyle>
            <a:lvl1pPr marL="228600" indent="-228600">
              <a:lnSpc>
                <a:spcPct val="100000"/>
              </a:lnSpc>
              <a:buFont typeface="Wingdings" panose="05000000000000000000" pitchFamily="2" charset="2"/>
              <a:buChar char="§"/>
              <a:defRPr sz="1400" b="1">
                <a:solidFill>
                  <a:schemeClr val="tx1"/>
                </a:solidFill>
              </a:defRPr>
            </a:lvl1pPr>
            <a:lvl2pPr marL="685800" indent="-228600">
              <a:lnSpc>
                <a:spcPct val="100000"/>
              </a:lnSpc>
              <a:buFont typeface="Wingdings" panose="05000000000000000000" pitchFamily="2" charset="2"/>
              <a:buChar char="§"/>
              <a:defRPr sz="1400">
                <a:solidFill>
                  <a:schemeClr val="tx1"/>
                </a:solidFill>
              </a:defRPr>
            </a:lvl2pPr>
            <a:lvl3pPr marL="1143000" indent="-228600">
              <a:lnSpc>
                <a:spcPct val="100000"/>
              </a:lnSpc>
              <a:buFont typeface="Wingdings" panose="05000000000000000000" pitchFamily="2" charset="2"/>
              <a:buChar char="§"/>
              <a:defRPr sz="1400">
                <a:solidFill>
                  <a:schemeClr val="tx1"/>
                </a:solidFill>
              </a:defRPr>
            </a:lvl3pPr>
            <a:lvl4pPr marL="1600200" indent="-228600">
              <a:lnSpc>
                <a:spcPct val="100000"/>
              </a:lnSpc>
              <a:buFont typeface="Wingdings" panose="05000000000000000000" pitchFamily="2" charset="2"/>
              <a:buChar char="§"/>
              <a:defRPr sz="1400">
                <a:solidFill>
                  <a:schemeClr val="tx1"/>
                </a:solidFill>
              </a:defRPr>
            </a:lvl4pPr>
            <a:lvl5pPr marL="2057400" indent="-228600">
              <a:lnSpc>
                <a:spcPct val="100000"/>
              </a:lnSpc>
              <a:buFont typeface="Wingdings" panose="05000000000000000000" pitchFamily="2" charset="2"/>
              <a:buChar cha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11">
            <a:extLst>
              <a:ext uri="{FF2B5EF4-FFF2-40B4-BE49-F238E27FC236}">
                <a16:creationId xmlns:a16="http://schemas.microsoft.com/office/drawing/2014/main" id="{A079127C-1E31-E0AD-E0E4-AD157B5DC95B}"/>
              </a:ext>
            </a:extLst>
          </p:cNvPr>
          <p:cNvSpPr>
            <a:spLocks noGrp="1"/>
          </p:cNvSpPr>
          <p:nvPr>
            <p:ph sz="quarter" idx="24" hasCustomPrompt="1"/>
          </p:nvPr>
        </p:nvSpPr>
        <p:spPr>
          <a:xfrm>
            <a:off x="334961" y="1247224"/>
            <a:ext cx="6227885" cy="392757"/>
          </a:xfrm>
          <a:prstGeom prst="rect">
            <a:avLst/>
          </a:prstGeom>
        </p:spPr>
        <p:txBody>
          <a:bodyPr>
            <a:normAutofit/>
          </a:bodyPr>
          <a:lstStyle>
            <a:lvl1pPr marL="0" indent="0">
              <a:buFontTx/>
              <a:buNone/>
              <a:defRPr sz="2000">
                <a:latin typeface="Roboto  "/>
              </a:defRPr>
            </a:lvl1pPr>
          </a:lstStyle>
          <a:p>
            <a:pPr lvl="0"/>
            <a:r>
              <a:rPr lang="en-US" dirty="0"/>
              <a:t>Click To Add Subtitle Style</a:t>
            </a:r>
            <a:endParaRPr lang="en-VI" dirty="0"/>
          </a:p>
        </p:txBody>
      </p:sp>
      <p:sp>
        <p:nvSpPr>
          <p:cNvPr id="23" name="Content Placeholder 2">
            <a:extLst>
              <a:ext uri="{FF2B5EF4-FFF2-40B4-BE49-F238E27FC236}">
                <a16:creationId xmlns:a16="http://schemas.microsoft.com/office/drawing/2014/main" id="{DBFA2E8F-B9F7-60D3-E1EB-152375045B8F}"/>
              </a:ext>
            </a:extLst>
          </p:cNvPr>
          <p:cNvSpPr>
            <a:spLocks noGrp="1"/>
          </p:cNvSpPr>
          <p:nvPr>
            <p:ph sz="half" idx="25"/>
          </p:nvPr>
        </p:nvSpPr>
        <p:spPr>
          <a:xfrm>
            <a:off x="334961" y="1852269"/>
            <a:ext cx="4542579" cy="2001630"/>
          </a:xfrm>
          <a:prstGeom prst="rect">
            <a:avLst/>
          </a:prstGeom>
        </p:spPr>
        <p:txBody>
          <a:bodyPr>
            <a:normAutofit/>
          </a:bodyPr>
          <a:lstStyle>
            <a:lvl1pPr marL="0" indent="0">
              <a:lnSpc>
                <a:spcPct val="100000"/>
              </a:lnSpc>
              <a:buFontTx/>
              <a:buNone/>
              <a:defRPr sz="1400" b="0">
                <a:solidFill>
                  <a:schemeClr val="tx2"/>
                </a:solidFill>
              </a:defRPr>
            </a:lvl1pPr>
            <a:lvl2pPr marL="457200" indent="0">
              <a:lnSpc>
                <a:spcPct val="100000"/>
              </a:lnSpc>
              <a:buFontTx/>
              <a:buNone/>
              <a:defRPr sz="1400" b="0">
                <a:solidFill>
                  <a:schemeClr val="tx2"/>
                </a:solidFill>
              </a:defRPr>
            </a:lvl2pPr>
            <a:lvl3pPr marL="914400" indent="0">
              <a:lnSpc>
                <a:spcPct val="100000"/>
              </a:lnSpc>
              <a:buFontTx/>
              <a:buNone/>
              <a:defRPr sz="1400" b="0">
                <a:solidFill>
                  <a:schemeClr val="tx2"/>
                </a:solidFill>
              </a:defRPr>
            </a:lvl3pPr>
            <a:lvl4pPr marL="1371600" indent="0">
              <a:lnSpc>
                <a:spcPct val="100000"/>
              </a:lnSpc>
              <a:buFontTx/>
              <a:buNone/>
              <a:defRPr sz="1400" b="0">
                <a:solidFill>
                  <a:schemeClr val="tx2"/>
                </a:solidFill>
              </a:defRPr>
            </a:lvl4pPr>
            <a:lvl5pPr marL="1828800" indent="0">
              <a:lnSpc>
                <a:spcPct val="100000"/>
              </a:lnSpc>
              <a:buFontTx/>
              <a:buNone/>
              <a:defRPr sz="1400" b="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Content Placeholder 2">
            <a:extLst>
              <a:ext uri="{FF2B5EF4-FFF2-40B4-BE49-F238E27FC236}">
                <a16:creationId xmlns:a16="http://schemas.microsoft.com/office/drawing/2014/main" id="{C7917871-A326-75A0-4CFE-79A65CFF1F12}"/>
              </a:ext>
            </a:extLst>
          </p:cNvPr>
          <p:cNvSpPr>
            <a:spLocks noGrp="1"/>
          </p:cNvSpPr>
          <p:nvPr>
            <p:ph sz="half" idx="26" hasCustomPrompt="1"/>
          </p:nvPr>
        </p:nvSpPr>
        <p:spPr>
          <a:xfrm>
            <a:off x="7145112" y="1852269"/>
            <a:ext cx="4570938" cy="288576"/>
          </a:xfrm>
          <a:prstGeom prst="rect">
            <a:avLst/>
          </a:prstGeom>
        </p:spPr>
        <p:txBody>
          <a:bodyPr>
            <a:normAutofit/>
          </a:bodyPr>
          <a:lstStyle>
            <a:lvl1pPr marL="0" indent="0">
              <a:buFont typeface="Wingdings" panose="05000000000000000000" pitchFamily="2" charset="2"/>
              <a:buNone/>
              <a:defRPr sz="1400" b="1">
                <a:solidFill>
                  <a:schemeClr val="tx1"/>
                </a:solidFill>
                <a:latin typeface="+mj-lt"/>
              </a:defRPr>
            </a:lvl1pPr>
            <a:lvl2pPr marL="685800" indent="-228600">
              <a:buFont typeface="Wingdings" panose="05000000000000000000" pitchFamily="2" charset="2"/>
              <a:buChar char="§"/>
              <a:defRPr sz="1400">
                <a:solidFill>
                  <a:schemeClr val="bg1"/>
                </a:solidFill>
              </a:defRPr>
            </a:lvl2pPr>
            <a:lvl3pPr marL="1143000" indent="-228600">
              <a:buFont typeface="Wingdings" panose="05000000000000000000" pitchFamily="2" charset="2"/>
              <a:buChar char="§"/>
              <a:defRPr sz="1400">
                <a:solidFill>
                  <a:schemeClr val="bg1"/>
                </a:solidFill>
              </a:defRPr>
            </a:lvl3pPr>
            <a:lvl4pPr marL="1600200" indent="-228600">
              <a:buFont typeface="Wingdings" panose="05000000000000000000" pitchFamily="2" charset="2"/>
              <a:buChar char="§"/>
              <a:defRPr sz="1400">
                <a:solidFill>
                  <a:schemeClr val="bg1"/>
                </a:solidFill>
              </a:defRPr>
            </a:lvl4pPr>
            <a:lvl5pPr marL="2057400" indent="-228600">
              <a:buFont typeface="Wingdings" panose="05000000000000000000" pitchFamily="2" charset="2"/>
              <a:buChar char="§"/>
              <a:defRPr sz="1400">
                <a:solidFill>
                  <a:schemeClr val="bg1"/>
                </a:solidFill>
              </a:defRPr>
            </a:lvl5pPr>
          </a:lstStyle>
          <a:p>
            <a:pPr lvl="0"/>
            <a:r>
              <a:rPr lang="en-GB" dirty="0"/>
              <a:t>Headline here</a:t>
            </a:r>
          </a:p>
        </p:txBody>
      </p:sp>
      <p:sp>
        <p:nvSpPr>
          <p:cNvPr id="4" name="Date Placeholder 3">
            <a:extLst>
              <a:ext uri="{FF2B5EF4-FFF2-40B4-BE49-F238E27FC236}">
                <a16:creationId xmlns:a16="http://schemas.microsoft.com/office/drawing/2014/main" id="{8AC4E214-BB9F-612D-EA35-F22464BE0414}"/>
              </a:ext>
            </a:extLst>
          </p:cNvPr>
          <p:cNvSpPr>
            <a:spLocks noGrp="1"/>
          </p:cNvSpPr>
          <p:nvPr>
            <p:ph type="dt" sz="half" idx="10"/>
          </p:nvPr>
        </p:nvSpPr>
        <p:spPr>
          <a:xfrm>
            <a:off x="4877540" y="6382299"/>
            <a:ext cx="2201863" cy="365124"/>
          </a:xfrm>
          <a:prstGeom prst="rect">
            <a:avLst/>
          </a:prstGeom>
        </p:spPr>
        <p:txBody>
          <a:bodyPr/>
          <a:lstStyle>
            <a:lvl1pPr algn="l">
              <a:defRPr sz="800" spc="20" baseline="0">
                <a:solidFill>
                  <a:schemeClr val="tx2"/>
                </a:solidFill>
                <a:latin typeface="Roboto  "/>
              </a:defRPr>
            </a:lvl1pPr>
          </a:lstStyle>
          <a:p>
            <a:endParaRPr lang="en-GB" dirty="0"/>
          </a:p>
        </p:txBody>
      </p:sp>
      <p:sp>
        <p:nvSpPr>
          <p:cNvPr id="5" name="Footer Placeholder 4">
            <a:extLst>
              <a:ext uri="{FF2B5EF4-FFF2-40B4-BE49-F238E27FC236}">
                <a16:creationId xmlns:a16="http://schemas.microsoft.com/office/drawing/2014/main" id="{431562FD-49C6-B00E-CC6A-DC15A093F163}"/>
              </a:ext>
            </a:extLst>
          </p:cNvPr>
          <p:cNvSpPr>
            <a:spLocks noGrp="1"/>
          </p:cNvSpPr>
          <p:nvPr>
            <p:ph type="ftr" sz="quarter" idx="11"/>
          </p:nvPr>
        </p:nvSpPr>
        <p:spPr>
          <a:xfrm>
            <a:off x="838200" y="6382299"/>
            <a:ext cx="4039340" cy="365125"/>
          </a:xfrm>
          <a:prstGeom prst="rect">
            <a:avLst/>
          </a:prstGeom>
        </p:spPr>
        <p:txBody>
          <a:bodyPr/>
          <a:lstStyle>
            <a:lvl1pPr algn="l">
              <a:defRPr sz="800" kern="0" spc="100" baseline="0">
                <a:solidFill>
                  <a:schemeClr val="tx2"/>
                </a:solidFill>
                <a:latin typeface="Roboto  "/>
              </a:defRPr>
            </a:lvl1pPr>
          </a:lstStyle>
          <a:p>
            <a:r>
              <a:rPr lang="en-GB"/>
              <a:t>DIGITAL DATA DESIGN INSTITUTE AT HARVARD</a:t>
            </a:r>
            <a:endParaRPr lang="en-GB" dirty="0"/>
          </a:p>
        </p:txBody>
      </p:sp>
      <p:sp>
        <p:nvSpPr>
          <p:cNvPr id="6" name="Slide Number Placeholder 5">
            <a:extLst>
              <a:ext uri="{FF2B5EF4-FFF2-40B4-BE49-F238E27FC236}">
                <a16:creationId xmlns:a16="http://schemas.microsoft.com/office/drawing/2014/main" id="{D507688B-A123-4E72-F308-5B7B230BD79B}"/>
              </a:ext>
            </a:extLst>
          </p:cNvPr>
          <p:cNvSpPr>
            <a:spLocks noGrp="1"/>
          </p:cNvSpPr>
          <p:nvPr>
            <p:ph type="sldNum" sz="quarter" idx="12"/>
          </p:nvPr>
        </p:nvSpPr>
        <p:spPr>
          <a:xfrm>
            <a:off x="334962" y="6382299"/>
            <a:ext cx="503237" cy="365124"/>
          </a:xfrm>
          <a:prstGeom prst="rect">
            <a:avLst/>
          </a:prstGeom>
        </p:spPr>
        <p:txBody>
          <a:bodyPr/>
          <a:lstStyle>
            <a:lvl1pPr algn="l">
              <a:defRPr sz="800" spc="20" baseline="0">
                <a:solidFill>
                  <a:schemeClr val="tx2"/>
                </a:solidFill>
                <a:latin typeface="Roboto  "/>
              </a:defRPr>
            </a:lvl1pPr>
          </a:lstStyle>
          <a:p>
            <a:fld id="{0253CDF2-F7F9-43E0-87CB-D85F6EEB53D6}" type="slidenum">
              <a:rPr lang="en-GB" smtClean="0"/>
              <a:pPr/>
              <a:t>‹#›</a:t>
            </a:fld>
            <a:endParaRPr lang="en-GB" dirty="0"/>
          </a:p>
        </p:txBody>
      </p:sp>
      <p:sp>
        <p:nvSpPr>
          <p:cNvPr id="8" name="Freeform: Shape 10">
            <a:extLst>
              <a:ext uri="{FF2B5EF4-FFF2-40B4-BE49-F238E27FC236}">
                <a16:creationId xmlns:a16="http://schemas.microsoft.com/office/drawing/2014/main" id="{FE81E533-6D11-9080-97B9-01533DD3EE27}"/>
              </a:ext>
            </a:extLst>
          </p:cNvPr>
          <p:cNvSpPr/>
          <p:nvPr userDrawn="1"/>
        </p:nvSpPr>
        <p:spPr>
          <a:xfrm rot="16200000">
            <a:off x="10970000" y="9091"/>
            <a:ext cx="1232349" cy="1211651"/>
          </a:xfrm>
          <a:custGeom>
            <a:avLst/>
            <a:gdLst>
              <a:gd name="connsiteX0" fmla="*/ 0 w 664066"/>
              <a:gd name="connsiteY0" fmla="*/ 652912 h 652912"/>
              <a:gd name="connsiteX1" fmla="*/ 0 w 664066"/>
              <a:gd name="connsiteY1" fmla="*/ 0 h 652912"/>
              <a:gd name="connsiteX2" fmla="*/ 664067 w 664066"/>
              <a:gd name="connsiteY2" fmla="*/ 0 h 652912"/>
              <a:gd name="connsiteX3" fmla="*/ 0 w 664066"/>
              <a:gd name="connsiteY3" fmla="*/ 652912 h 652912"/>
            </a:gdLst>
            <a:ahLst/>
            <a:cxnLst>
              <a:cxn ang="0">
                <a:pos x="connsiteX0" y="connsiteY0"/>
              </a:cxn>
              <a:cxn ang="0">
                <a:pos x="connsiteX1" y="connsiteY1"/>
              </a:cxn>
              <a:cxn ang="0">
                <a:pos x="connsiteX2" y="connsiteY2"/>
              </a:cxn>
              <a:cxn ang="0">
                <a:pos x="connsiteX3" y="connsiteY3"/>
              </a:cxn>
            </a:cxnLst>
            <a:rect l="l" t="t" r="r" b="b"/>
            <a:pathLst>
              <a:path w="664066" h="652912">
                <a:moveTo>
                  <a:pt x="0" y="652912"/>
                </a:moveTo>
                <a:lnTo>
                  <a:pt x="0" y="0"/>
                </a:lnTo>
                <a:cubicBezTo>
                  <a:pt x="0" y="0"/>
                  <a:pt x="664067" y="0"/>
                  <a:pt x="664067" y="0"/>
                </a:cubicBezTo>
                <a:cubicBezTo>
                  <a:pt x="664067" y="360553"/>
                  <a:pt x="366764" y="652912"/>
                  <a:pt x="0" y="652912"/>
                </a:cubicBezTo>
              </a:path>
            </a:pathLst>
          </a:custGeom>
          <a:solidFill>
            <a:schemeClr val="accent3"/>
          </a:solidFill>
          <a:ln w="28575" cap="flat">
            <a:noFill/>
            <a:prstDash val="solid"/>
            <a:miter/>
          </a:ln>
        </p:spPr>
        <p:txBody>
          <a:bodyPr rtlCol="0" anchor="ctr"/>
          <a:lstStyle/>
          <a:p>
            <a:endParaRPr lang="en-VI"/>
          </a:p>
        </p:txBody>
      </p:sp>
      <p:sp>
        <p:nvSpPr>
          <p:cNvPr id="11" name="Rectangle 10">
            <a:extLst>
              <a:ext uri="{FF2B5EF4-FFF2-40B4-BE49-F238E27FC236}">
                <a16:creationId xmlns:a16="http://schemas.microsoft.com/office/drawing/2014/main" id="{BE713F1F-30DB-0DED-723C-CC44639EF870}"/>
              </a:ext>
            </a:extLst>
          </p:cNvPr>
          <p:cNvSpPr/>
          <p:nvPr userDrawn="1"/>
        </p:nvSpPr>
        <p:spPr>
          <a:xfrm rot="16200000">
            <a:off x="11837830" y="-80588"/>
            <a:ext cx="434757" cy="450322"/>
          </a:xfrm>
          <a:prstGeom prst="rect">
            <a:avLst/>
          </a:prstGeom>
          <a:noFill/>
          <a:ln w="19050" cap="flat">
            <a:solidFill>
              <a:schemeClr val="accent2"/>
            </a:solidFill>
            <a:prstDash val="solid"/>
            <a:miter/>
          </a:ln>
        </p:spPr>
        <p:txBody>
          <a:bodyPr rtlCol="0" anchor="ctr"/>
          <a:lstStyle/>
          <a:p>
            <a:endParaRPr lang="en-VI"/>
          </a:p>
        </p:txBody>
      </p:sp>
    </p:spTree>
    <p:custDataLst>
      <p:tags r:id="rId1"/>
    </p:custDataLst>
    <p:extLst>
      <p:ext uri="{BB962C8B-B14F-4D97-AF65-F5344CB8AC3E}">
        <p14:creationId xmlns:p14="http://schemas.microsoft.com/office/powerpoint/2010/main" val="3960722528"/>
      </p:ext>
    </p:extLst>
  </p:cSld>
  <p:clrMapOvr>
    <a:masterClrMapping/>
  </p:clrMapOvr>
  <p:extLst>
    <p:ext uri="{DCECCB84-F9BA-43D5-87BE-67443E8EF086}">
      <p15:sldGuideLst xmlns:p15="http://schemas.microsoft.com/office/powerpoint/2012/main">
        <p15:guide id="1" orient="horz" pos="1298">
          <p15:clr>
            <a:srgbClr val="FBAE40"/>
          </p15:clr>
        </p15:guide>
        <p15:guide id="2" pos="384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A485FD0-E1D6-13AC-ACE1-89104AC999F3}"/>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VI" dirty="0"/>
          </a:p>
        </p:txBody>
      </p:sp>
      <p:sp>
        <p:nvSpPr>
          <p:cNvPr id="10" name="Freeform: Shape 9">
            <a:extLst>
              <a:ext uri="{FF2B5EF4-FFF2-40B4-BE49-F238E27FC236}">
                <a16:creationId xmlns:a16="http://schemas.microsoft.com/office/drawing/2014/main" id="{92532745-268A-9154-2996-2CCE0B488108}"/>
              </a:ext>
            </a:extLst>
          </p:cNvPr>
          <p:cNvSpPr/>
          <p:nvPr/>
        </p:nvSpPr>
        <p:spPr>
          <a:xfrm>
            <a:off x="8646006" y="0"/>
            <a:ext cx="3538868" cy="3599495"/>
          </a:xfrm>
          <a:custGeom>
            <a:avLst/>
            <a:gdLst>
              <a:gd name="connsiteX0" fmla="*/ 3538868 w 3538868"/>
              <a:gd name="connsiteY0" fmla="*/ 3599496 h 3599495"/>
              <a:gd name="connsiteX1" fmla="*/ 0 w 3538868"/>
              <a:gd name="connsiteY1" fmla="*/ 3599496 h 3599495"/>
              <a:gd name="connsiteX2" fmla="*/ 0 w 3538868"/>
              <a:gd name="connsiteY2" fmla="*/ 0 h 3599495"/>
              <a:gd name="connsiteX3" fmla="*/ 3538868 w 3538868"/>
              <a:gd name="connsiteY3" fmla="*/ 3599496 h 3599495"/>
            </a:gdLst>
            <a:ahLst/>
            <a:cxnLst>
              <a:cxn ang="0">
                <a:pos x="connsiteX0" y="connsiteY0"/>
              </a:cxn>
              <a:cxn ang="0">
                <a:pos x="connsiteX1" y="connsiteY1"/>
              </a:cxn>
              <a:cxn ang="0">
                <a:pos x="connsiteX2" y="connsiteY2"/>
              </a:cxn>
              <a:cxn ang="0">
                <a:pos x="connsiteX3" y="connsiteY3"/>
              </a:cxn>
            </a:cxnLst>
            <a:rect l="l" t="t" r="r" b="b"/>
            <a:pathLst>
              <a:path w="3538868" h="3599495">
                <a:moveTo>
                  <a:pt x="3538868" y="3599496"/>
                </a:moveTo>
                <a:lnTo>
                  <a:pt x="0" y="3599496"/>
                </a:lnTo>
                <a:cubicBezTo>
                  <a:pt x="0" y="3599496"/>
                  <a:pt x="0" y="0"/>
                  <a:pt x="0" y="0"/>
                </a:cubicBezTo>
                <a:cubicBezTo>
                  <a:pt x="1954467" y="0"/>
                  <a:pt x="3538868" y="1611503"/>
                  <a:pt x="3538868" y="3599496"/>
                </a:cubicBezTo>
              </a:path>
            </a:pathLst>
          </a:custGeom>
          <a:noFill/>
          <a:ln w="28575" cap="flat">
            <a:solidFill>
              <a:srgbClr val="3CBDB7"/>
            </a:solidFill>
            <a:prstDash val="solid"/>
            <a:miter/>
          </a:ln>
        </p:spPr>
        <p:txBody>
          <a:bodyPr rtlCol="0" anchor="ctr"/>
          <a:lstStyle/>
          <a:p>
            <a:endParaRPr lang="en-VI"/>
          </a:p>
        </p:txBody>
      </p:sp>
      <p:sp>
        <p:nvSpPr>
          <p:cNvPr id="8" name="Freeform: Shape 7">
            <a:extLst>
              <a:ext uri="{FF2B5EF4-FFF2-40B4-BE49-F238E27FC236}">
                <a16:creationId xmlns:a16="http://schemas.microsoft.com/office/drawing/2014/main" id="{2512F9C3-9718-B8FD-7589-34C441D7AB03}"/>
              </a:ext>
            </a:extLst>
          </p:cNvPr>
          <p:cNvSpPr/>
          <p:nvPr/>
        </p:nvSpPr>
        <p:spPr>
          <a:xfrm>
            <a:off x="5842942" y="3833927"/>
            <a:ext cx="3079038" cy="3027189"/>
          </a:xfrm>
          <a:custGeom>
            <a:avLst/>
            <a:gdLst>
              <a:gd name="connsiteX0" fmla="*/ 3079039 w 3079038"/>
              <a:gd name="connsiteY0" fmla="*/ 0 h 3027189"/>
              <a:gd name="connsiteX1" fmla="*/ 3079039 w 3079038"/>
              <a:gd name="connsiteY1" fmla="*/ 3027190 h 3027189"/>
              <a:gd name="connsiteX2" fmla="*/ 0 w 3079038"/>
              <a:gd name="connsiteY2" fmla="*/ 3027190 h 3027189"/>
              <a:gd name="connsiteX3" fmla="*/ 3079039 w 3079038"/>
              <a:gd name="connsiteY3" fmla="*/ 0 h 3027189"/>
            </a:gdLst>
            <a:ahLst/>
            <a:cxnLst>
              <a:cxn ang="0">
                <a:pos x="connsiteX0" y="connsiteY0"/>
              </a:cxn>
              <a:cxn ang="0">
                <a:pos x="connsiteX1" y="connsiteY1"/>
              </a:cxn>
              <a:cxn ang="0">
                <a:pos x="connsiteX2" y="connsiteY2"/>
              </a:cxn>
              <a:cxn ang="0">
                <a:pos x="connsiteX3" y="connsiteY3"/>
              </a:cxn>
            </a:cxnLst>
            <a:rect l="l" t="t" r="r" b="b"/>
            <a:pathLst>
              <a:path w="3079038" h="3027189">
                <a:moveTo>
                  <a:pt x="3079039" y="0"/>
                </a:moveTo>
                <a:lnTo>
                  <a:pt x="3079039" y="3027190"/>
                </a:lnTo>
                <a:lnTo>
                  <a:pt x="0" y="3027190"/>
                </a:lnTo>
                <a:cubicBezTo>
                  <a:pt x="0" y="1355314"/>
                  <a:pt x="1378535" y="0"/>
                  <a:pt x="3079039" y="0"/>
                </a:cubicBezTo>
              </a:path>
            </a:pathLst>
          </a:custGeom>
          <a:solidFill>
            <a:srgbClr val="3CBDB7"/>
          </a:solidFill>
          <a:ln w="6356" cap="flat">
            <a:noFill/>
            <a:prstDash val="solid"/>
            <a:miter/>
          </a:ln>
        </p:spPr>
        <p:txBody>
          <a:bodyPr rtlCol="0" anchor="ctr"/>
          <a:lstStyle/>
          <a:p>
            <a:endParaRPr lang="en-VI">
              <a:solidFill>
                <a:schemeClr val="bg1"/>
              </a:solidFill>
            </a:endParaRPr>
          </a:p>
        </p:txBody>
      </p:sp>
      <p:pic>
        <p:nvPicPr>
          <p:cNvPr id="14" name="Picture 13">
            <a:extLst>
              <a:ext uri="{FF2B5EF4-FFF2-40B4-BE49-F238E27FC236}">
                <a16:creationId xmlns:a16="http://schemas.microsoft.com/office/drawing/2014/main" id="{9ED30F7C-5645-B858-BE02-6280F5CA66D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28268"/>
          <a:stretch/>
        </p:blipFill>
        <p:spPr>
          <a:xfrm>
            <a:off x="6811693" y="1866786"/>
            <a:ext cx="5373181" cy="4993730"/>
          </a:xfrm>
          <a:prstGeom prst="rect">
            <a:avLst/>
          </a:prstGeom>
        </p:spPr>
      </p:pic>
      <p:pic>
        <p:nvPicPr>
          <p:cNvPr id="2" name="Picture 1">
            <a:extLst>
              <a:ext uri="{FF2B5EF4-FFF2-40B4-BE49-F238E27FC236}">
                <a16:creationId xmlns:a16="http://schemas.microsoft.com/office/drawing/2014/main" id="{980CD84D-7B49-F47F-4465-8A8DCC68276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9947" y="335931"/>
            <a:ext cx="1836807" cy="1087571"/>
          </a:xfrm>
          <a:prstGeom prst="rect">
            <a:avLst/>
          </a:prstGeom>
        </p:spPr>
      </p:pic>
      <p:pic>
        <p:nvPicPr>
          <p:cNvPr id="5" name="Picture 4">
            <a:extLst>
              <a:ext uri="{FF2B5EF4-FFF2-40B4-BE49-F238E27FC236}">
                <a16:creationId xmlns:a16="http://schemas.microsoft.com/office/drawing/2014/main" id="{CEACD704-BC31-6AA8-F370-3B1852336C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783212" y="6196216"/>
            <a:ext cx="982068" cy="411978"/>
          </a:xfrm>
          <a:prstGeom prst="rect">
            <a:avLst/>
          </a:prstGeom>
        </p:spPr>
      </p:pic>
      <p:sp>
        <p:nvSpPr>
          <p:cNvPr id="9" name="Title 1">
            <a:extLst>
              <a:ext uri="{FF2B5EF4-FFF2-40B4-BE49-F238E27FC236}">
                <a16:creationId xmlns:a16="http://schemas.microsoft.com/office/drawing/2014/main" id="{A8A48CE2-6F1F-D64B-D0AE-9B93F55CE2F5}"/>
              </a:ext>
            </a:extLst>
          </p:cNvPr>
          <p:cNvSpPr>
            <a:spLocks noGrp="1"/>
          </p:cNvSpPr>
          <p:nvPr>
            <p:ph type="ctrTitle"/>
          </p:nvPr>
        </p:nvSpPr>
        <p:spPr>
          <a:xfrm>
            <a:off x="326814" y="2927052"/>
            <a:ext cx="4937914" cy="3027189"/>
          </a:xfrm>
          <a:prstGeom prst="rect">
            <a:avLst/>
          </a:prstGeom>
        </p:spPr>
        <p:txBody>
          <a:bodyPr anchor="b">
            <a:noAutofit/>
          </a:bodyPr>
          <a:lstStyle>
            <a:lvl1pPr marL="0" marR="0" indent="0" algn="l" defTabSz="914400" rtl="0" eaLnBrk="1" fontAlgn="auto" latinLnBrk="0" hangingPunct="1">
              <a:lnSpc>
                <a:spcPct val="150000"/>
              </a:lnSpc>
              <a:spcBef>
                <a:spcPct val="0"/>
              </a:spcBef>
              <a:spcAft>
                <a:spcPts val="0"/>
              </a:spcAft>
              <a:buClrTx/>
              <a:buSzTx/>
              <a:buFontTx/>
              <a:buNone/>
              <a:tabLst/>
              <a:defRPr sz="1400" b="0">
                <a:solidFill>
                  <a:schemeClr val="bg1"/>
                </a:solidFill>
                <a:latin typeface="+mn-lt"/>
              </a:defRPr>
            </a:lvl1pPr>
          </a:lstStyle>
          <a:p>
            <a:endParaRPr lang="en-VI" dirty="0"/>
          </a:p>
        </p:txBody>
      </p:sp>
    </p:spTree>
    <p:custDataLst>
      <p:tags r:id="rId1"/>
    </p:custDataLst>
    <p:extLst>
      <p:ext uri="{BB962C8B-B14F-4D97-AF65-F5344CB8AC3E}">
        <p14:creationId xmlns:p14="http://schemas.microsoft.com/office/powerpoint/2010/main" val="42500286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106163E4-67F2-2471-C898-41DC1EFEC493}"/>
              </a:ext>
            </a:extLst>
          </p:cNvPr>
          <p:cNvSpPr>
            <a:spLocks noGrp="1"/>
          </p:cNvSpPr>
          <p:nvPr>
            <p:ph type="title" hasCustomPrompt="1"/>
          </p:nvPr>
        </p:nvSpPr>
        <p:spPr>
          <a:xfrm>
            <a:off x="334961" y="329614"/>
            <a:ext cx="10249219" cy="901477"/>
          </a:xfrm>
          <a:prstGeom prst="rect">
            <a:avLst/>
          </a:prstGeom>
          <a:noFill/>
        </p:spPr>
        <p:txBody>
          <a:bodyPr anchor="t">
            <a:normAutofit/>
          </a:bodyPr>
          <a:lstStyle>
            <a:lvl1pPr>
              <a:defRPr sz="2800">
                <a:solidFill>
                  <a:schemeClr val="accent2"/>
                </a:solidFill>
              </a:defRPr>
            </a:lvl1pPr>
          </a:lstStyle>
          <a:p>
            <a:r>
              <a:rPr lang="en-US" dirty="0"/>
              <a:t>Click To Edit Master Title Style</a:t>
            </a:r>
            <a:endParaRPr lang="en-GB" dirty="0"/>
          </a:p>
        </p:txBody>
      </p:sp>
      <p:sp>
        <p:nvSpPr>
          <p:cNvPr id="3" name="Content Placeholder 11">
            <a:extLst>
              <a:ext uri="{FF2B5EF4-FFF2-40B4-BE49-F238E27FC236}">
                <a16:creationId xmlns:a16="http://schemas.microsoft.com/office/drawing/2014/main" id="{7EC73033-C44C-1690-512C-95F2FBB25919}"/>
              </a:ext>
            </a:extLst>
          </p:cNvPr>
          <p:cNvSpPr>
            <a:spLocks noGrp="1"/>
          </p:cNvSpPr>
          <p:nvPr>
            <p:ph sz="quarter" idx="15" hasCustomPrompt="1"/>
          </p:nvPr>
        </p:nvSpPr>
        <p:spPr>
          <a:xfrm>
            <a:off x="334961" y="1264558"/>
            <a:ext cx="10249219" cy="565150"/>
          </a:xfrm>
          <a:prstGeom prst="rect">
            <a:avLst/>
          </a:prstGeom>
        </p:spPr>
        <p:txBody>
          <a:bodyPr>
            <a:normAutofit/>
          </a:bodyPr>
          <a:lstStyle>
            <a:lvl1pPr marL="0" indent="0">
              <a:buFontTx/>
              <a:buNone/>
              <a:defRPr sz="2000">
                <a:latin typeface="Roboto  "/>
              </a:defRPr>
            </a:lvl1pPr>
          </a:lstStyle>
          <a:p>
            <a:pPr lvl="0"/>
            <a:r>
              <a:rPr lang="en-US" dirty="0"/>
              <a:t>Click to add subtitle style</a:t>
            </a:r>
            <a:endParaRPr lang="en-VI" dirty="0"/>
          </a:p>
        </p:txBody>
      </p:sp>
      <p:sp>
        <p:nvSpPr>
          <p:cNvPr id="6" name="Date Placeholder 3">
            <a:extLst>
              <a:ext uri="{FF2B5EF4-FFF2-40B4-BE49-F238E27FC236}">
                <a16:creationId xmlns:a16="http://schemas.microsoft.com/office/drawing/2014/main" id="{1AC30A6A-4960-2BB0-CDDD-C2A6142B7C7D}"/>
              </a:ext>
            </a:extLst>
          </p:cNvPr>
          <p:cNvSpPr>
            <a:spLocks noGrp="1"/>
          </p:cNvSpPr>
          <p:nvPr>
            <p:ph type="dt" sz="half" idx="10"/>
          </p:nvPr>
        </p:nvSpPr>
        <p:spPr>
          <a:xfrm>
            <a:off x="4877540" y="6382299"/>
            <a:ext cx="2201863" cy="365124"/>
          </a:xfrm>
          <a:prstGeom prst="rect">
            <a:avLst/>
          </a:prstGeom>
        </p:spPr>
        <p:txBody>
          <a:bodyPr/>
          <a:lstStyle>
            <a:lvl1pPr algn="l">
              <a:defRPr sz="800" spc="20" baseline="0">
                <a:solidFill>
                  <a:schemeClr val="tx2"/>
                </a:solidFill>
                <a:latin typeface="Roboto  "/>
              </a:defRPr>
            </a:lvl1pPr>
          </a:lstStyle>
          <a:p>
            <a:endParaRPr lang="en-GB" dirty="0"/>
          </a:p>
        </p:txBody>
      </p:sp>
      <p:sp>
        <p:nvSpPr>
          <p:cNvPr id="7" name="Footer Placeholder 4">
            <a:extLst>
              <a:ext uri="{FF2B5EF4-FFF2-40B4-BE49-F238E27FC236}">
                <a16:creationId xmlns:a16="http://schemas.microsoft.com/office/drawing/2014/main" id="{34823524-7D8B-1E59-CF7C-29B41B1C051D}"/>
              </a:ext>
            </a:extLst>
          </p:cNvPr>
          <p:cNvSpPr>
            <a:spLocks noGrp="1"/>
          </p:cNvSpPr>
          <p:nvPr>
            <p:ph type="ftr" sz="quarter" idx="11"/>
          </p:nvPr>
        </p:nvSpPr>
        <p:spPr>
          <a:xfrm>
            <a:off x="838200" y="6382299"/>
            <a:ext cx="4039340" cy="365125"/>
          </a:xfrm>
          <a:prstGeom prst="rect">
            <a:avLst/>
          </a:prstGeom>
        </p:spPr>
        <p:txBody>
          <a:bodyPr/>
          <a:lstStyle>
            <a:lvl1pPr algn="l">
              <a:defRPr sz="800" kern="0" spc="100" baseline="0">
                <a:solidFill>
                  <a:schemeClr val="tx2"/>
                </a:solidFill>
                <a:latin typeface="Roboto  "/>
              </a:defRPr>
            </a:lvl1pPr>
          </a:lstStyle>
          <a:p>
            <a:r>
              <a:rPr lang="en-GB"/>
              <a:t>DIGITAL DATA DESIGN INSTITUTE AT HARVARD</a:t>
            </a:r>
            <a:endParaRPr lang="en-GB" dirty="0"/>
          </a:p>
        </p:txBody>
      </p:sp>
      <p:sp>
        <p:nvSpPr>
          <p:cNvPr id="11" name="Slide Number Placeholder 5">
            <a:extLst>
              <a:ext uri="{FF2B5EF4-FFF2-40B4-BE49-F238E27FC236}">
                <a16:creationId xmlns:a16="http://schemas.microsoft.com/office/drawing/2014/main" id="{0C1A8733-D7FF-04E3-6AF1-1184F56E15BC}"/>
              </a:ext>
            </a:extLst>
          </p:cNvPr>
          <p:cNvSpPr>
            <a:spLocks noGrp="1"/>
          </p:cNvSpPr>
          <p:nvPr>
            <p:ph type="sldNum" sz="quarter" idx="12"/>
          </p:nvPr>
        </p:nvSpPr>
        <p:spPr>
          <a:xfrm>
            <a:off x="334962" y="6382299"/>
            <a:ext cx="503237" cy="365124"/>
          </a:xfrm>
          <a:prstGeom prst="rect">
            <a:avLst/>
          </a:prstGeom>
        </p:spPr>
        <p:txBody>
          <a:bodyPr/>
          <a:lstStyle>
            <a:lvl1pPr algn="l">
              <a:defRPr sz="800" spc="20" baseline="0">
                <a:solidFill>
                  <a:schemeClr val="tx2"/>
                </a:solidFill>
                <a:latin typeface="Roboto  "/>
              </a:defRPr>
            </a:lvl1pPr>
          </a:lstStyle>
          <a:p>
            <a:fld id="{0253CDF2-F7F9-43E0-87CB-D85F6EEB53D6}" type="slidenum">
              <a:rPr lang="en-GB" smtClean="0"/>
              <a:pPr/>
              <a:t>‹#›</a:t>
            </a:fld>
            <a:endParaRPr lang="en-GB" dirty="0"/>
          </a:p>
        </p:txBody>
      </p:sp>
      <p:grpSp>
        <p:nvGrpSpPr>
          <p:cNvPr id="9" name="Group 8">
            <a:extLst>
              <a:ext uri="{FF2B5EF4-FFF2-40B4-BE49-F238E27FC236}">
                <a16:creationId xmlns:a16="http://schemas.microsoft.com/office/drawing/2014/main" id="{775C027A-2764-CDF4-CDD6-E6B94C8EC358}"/>
              </a:ext>
            </a:extLst>
          </p:cNvPr>
          <p:cNvGrpSpPr/>
          <p:nvPr userDrawn="1"/>
        </p:nvGrpSpPr>
        <p:grpSpPr>
          <a:xfrm>
            <a:off x="10980349" y="-89536"/>
            <a:ext cx="1307363" cy="1320627"/>
            <a:chOff x="10980349" y="-89536"/>
            <a:chExt cx="1307363" cy="1320627"/>
          </a:xfrm>
        </p:grpSpPr>
        <p:sp>
          <p:nvSpPr>
            <p:cNvPr id="10" name="Freeform: Shape 10">
              <a:extLst>
                <a:ext uri="{FF2B5EF4-FFF2-40B4-BE49-F238E27FC236}">
                  <a16:creationId xmlns:a16="http://schemas.microsoft.com/office/drawing/2014/main" id="{587FEADD-1596-5359-258E-012CC13ECB2B}"/>
                </a:ext>
              </a:extLst>
            </p:cNvPr>
            <p:cNvSpPr/>
            <p:nvPr userDrawn="1"/>
          </p:nvSpPr>
          <p:spPr>
            <a:xfrm rot="16200000">
              <a:off x="10970000" y="9091"/>
              <a:ext cx="1232349" cy="1211651"/>
            </a:xfrm>
            <a:custGeom>
              <a:avLst/>
              <a:gdLst>
                <a:gd name="connsiteX0" fmla="*/ 0 w 664066"/>
                <a:gd name="connsiteY0" fmla="*/ 652912 h 652912"/>
                <a:gd name="connsiteX1" fmla="*/ 0 w 664066"/>
                <a:gd name="connsiteY1" fmla="*/ 0 h 652912"/>
                <a:gd name="connsiteX2" fmla="*/ 664067 w 664066"/>
                <a:gd name="connsiteY2" fmla="*/ 0 h 652912"/>
                <a:gd name="connsiteX3" fmla="*/ 0 w 664066"/>
                <a:gd name="connsiteY3" fmla="*/ 652912 h 652912"/>
              </a:gdLst>
              <a:ahLst/>
              <a:cxnLst>
                <a:cxn ang="0">
                  <a:pos x="connsiteX0" y="connsiteY0"/>
                </a:cxn>
                <a:cxn ang="0">
                  <a:pos x="connsiteX1" y="connsiteY1"/>
                </a:cxn>
                <a:cxn ang="0">
                  <a:pos x="connsiteX2" y="connsiteY2"/>
                </a:cxn>
                <a:cxn ang="0">
                  <a:pos x="connsiteX3" y="connsiteY3"/>
                </a:cxn>
              </a:cxnLst>
              <a:rect l="l" t="t" r="r" b="b"/>
              <a:pathLst>
                <a:path w="664066" h="652912">
                  <a:moveTo>
                    <a:pt x="0" y="652912"/>
                  </a:moveTo>
                  <a:lnTo>
                    <a:pt x="0" y="0"/>
                  </a:lnTo>
                  <a:cubicBezTo>
                    <a:pt x="0" y="0"/>
                    <a:pt x="664067" y="0"/>
                    <a:pt x="664067" y="0"/>
                  </a:cubicBezTo>
                  <a:cubicBezTo>
                    <a:pt x="664067" y="360553"/>
                    <a:pt x="366764" y="652912"/>
                    <a:pt x="0" y="652912"/>
                  </a:cubicBezTo>
                </a:path>
              </a:pathLst>
            </a:custGeom>
            <a:solidFill>
              <a:schemeClr val="accent3"/>
            </a:solidFill>
            <a:ln w="28575" cap="flat">
              <a:noFill/>
              <a:prstDash val="solid"/>
              <a:miter/>
            </a:ln>
          </p:spPr>
          <p:txBody>
            <a:bodyPr rtlCol="0" anchor="ctr"/>
            <a:lstStyle/>
            <a:p>
              <a:endParaRPr lang="en-VI"/>
            </a:p>
          </p:txBody>
        </p:sp>
        <p:sp>
          <p:nvSpPr>
            <p:cNvPr id="12" name="Rectangle 11">
              <a:extLst>
                <a:ext uri="{FF2B5EF4-FFF2-40B4-BE49-F238E27FC236}">
                  <a16:creationId xmlns:a16="http://schemas.microsoft.com/office/drawing/2014/main" id="{8EFA5EF0-F8F4-AE1A-9DF9-5D7284EE12F4}"/>
                </a:ext>
              </a:extLst>
            </p:cNvPr>
            <p:cNvSpPr/>
            <p:nvPr userDrawn="1"/>
          </p:nvSpPr>
          <p:spPr>
            <a:xfrm rot="16200000">
              <a:off x="11845172" y="-97318"/>
              <a:ext cx="434757" cy="450322"/>
            </a:xfrm>
            <a:prstGeom prst="rect">
              <a:avLst/>
            </a:prstGeom>
            <a:noFill/>
            <a:ln w="19050" cap="flat">
              <a:solidFill>
                <a:schemeClr val="accent1"/>
              </a:solidFill>
              <a:prstDash val="solid"/>
              <a:miter/>
            </a:ln>
          </p:spPr>
          <p:txBody>
            <a:bodyPr rtlCol="0" anchor="ctr"/>
            <a:lstStyle/>
            <a:p>
              <a:endParaRPr lang="en-VI"/>
            </a:p>
          </p:txBody>
        </p:sp>
      </p:grpSp>
    </p:spTree>
    <p:custDataLst>
      <p:tags r:id="rId1"/>
    </p:custDataLst>
    <p:extLst>
      <p:ext uri="{BB962C8B-B14F-4D97-AF65-F5344CB8AC3E}">
        <p14:creationId xmlns:p14="http://schemas.microsoft.com/office/powerpoint/2010/main" val="40495516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E35013-434D-84ED-0884-3B7B24D27A19}"/>
              </a:ext>
            </a:extLst>
          </p:cNvPr>
          <p:cNvGraphicFramePr>
            <a:graphicFrameLocks noChangeAspect="1"/>
          </p:cNvGraphicFramePr>
          <p:nvPr userDrawn="1">
            <p:custDataLst>
              <p:tags r:id="rId1"/>
            </p:custDataLst>
            <p:extLst>
              <p:ext uri="{D42A27DB-BD31-4B8C-83A1-F6EECF244321}">
                <p14:modId xmlns:p14="http://schemas.microsoft.com/office/powerpoint/2010/main" val="3524281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EE35013-434D-84ED-0884-3B7B24D27A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AB2135-FED4-8ABC-869C-F6D777914D4C}"/>
              </a:ext>
            </a:extLst>
          </p:cNvPr>
          <p:cNvGraphicFramePr>
            <a:graphicFrameLocks noChangeAspect="1"/>
          </p:cNvGraphicFramePr>
          <p:nvPr userDrawn="1">
            <p:custDataLst>
              <p:tags r:id="rId1"/>
            </p:custDataLst>
            <p:extLst>
              <p:ext uri="{D42A27DB-BD31-4B8C-83A1-F6EECF244321}">
                <p14:modId xmlns:p14="http://schemas.microsoft.com/office/powerpoint/2010/main" val="799856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CDAB2135-FED4-8ABC-869C-F6D777914D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37F4962-7459-724E-5BF1-328B0FBCBCD5}"/>
              </a:ext>
            </a:extLst>
          </p:cNvPr>
          <p:cNvGraphicFramePr>
            <a:graphicFrameLocks noChangeAspect="1"/>
          </p:cNvGraphicFramePr>
          <p:nvPr userDrawn="1">
            <p:custDataLst>
              <p:tags r:id="rId1"/>
            </p:custDataLst>
            <p:extLst>
              <p:ext uri="{D42A27DB-BD31-4B8C-83A1-F6EECF244321}">
                <p14:modId xmlns:p14="http://schemas.microsoft.com/office/powerpoint/2010/main" val="4195834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837F4962-7459-724E-5BF1-328B0FBCBC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F0535C-DA89-92D4-6259-7D5D0A3B17DD}"/>
              </a:ext>
            </a:extLst>
          </p:cNvPr>
          <p:cNvGraphicFramePr>
            <a:graphicFrameLocks noChangeAspect="1"/>
          </p:cNvGraphicFramePr>
          <p:nvPr userDrawn="1">
            <p:custDataLst>
              <p:tags r:id="rId1"/>
            </p:custDataLst>
            <p:extLst>
              <p:ext uri="{D42A27DB-BD31-4B8C-83A1-F6EECF244321}">
                <p14:modId xmlns:p14="http://schemas.microsoft.com/office/powerpoint/2010/main" val="2047591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B0F0535C-DA89-92D4-6259-7D5D0A3B17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2486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4E6827-F91E-7555-A6B7-95A40DDA1212}"/>
              </a:ext>
            </a:extLst>
          </p:cNvPr>
          <p:cNvGraphicFramePr>
            <a:graphicFrameLocks noChangeAspect="1"/>
          </p:cNvGraphicFramePr>
          <p:nvPr userDrawn="1">
            <p:custDataLst>
              <p:tags r:id="rId1"/>
            </p:custDataLst>
            <p:extLst>
              <p:ext uri="{D42A27DB-BD31-4B8C-83A1-F6EECF244321}">
                <p14:modId xmlns:p14="http://schemas.microsoft.com/office/powerpoint/2010/main" val="3240789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Object 5" hidden="1">
                        <a:extLst>
                          <a:ext uri="{FF2B5EF4-FFF2-40B4-BE49-F238E27FC236}">
                            <a16:creationId xmlns:a16="http://schemas.microsoft.com/office/drawing/2014/main" id="{5C4E6827-F91E-7555-A6B7-95A40DDA12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rtl="0">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CCD8918-311B-C9E9-37AA-BB52E3D4A420}"/>
              </a:ext>
            </a:extLst>
          </p:cNvPr>
          <p:cNvGraphicFramePr>
            <a:graphicFrameLocks noChangeAspect="1"/>
          </p:cNvGraphicFramePr>
          <p:nvPr userDrawn="1">
            <p:custDataLst>
              <p:tags r:id="rId1"/>
            </p:custDataLst>
            <p:extLst>
              <p:ext uri="{D42A27DB-BD31-4B8C-83A1-F6EECF244321}">
                <p14:modId xmlns:p14="http://schemas.microsoft.com/office/powerpoint/2010/main" val="84992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BCCD8918-311B-C9E9-37AA-BB52E3D4A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BBE61B8-9FC2-FF95-EDC7-6191716D54E5}"/>
              </a:ext>
            </a:extLst>
          </p:cNvPr>
          <p:cNvGraphicFramePr>
            <a:graphicFrameLocks noChangeAspect="1"/>
          </p:cNvGraphicFramePr>
          <p:nvPr userDrawn="1">
            <p:custDataLst>
              <p:tags r:id="rId1"/>
            </p:custDataLst>
            <p:extLst>
              <p:ext uri="{D42A27DB-BD31-4B8C-83A1-F6EECF244321}">
                <p14:modId xmlns:p14="http://schemas.microsoft.com/office/powerpoint/2010/main" val="59756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BBE61B8-9FC2-FF95-EDC7-6191716D54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2120E73-5C90-5BE6-8B3A-429AE9BDD12A}"/>
              </a:ext>
            </a:extLst>
          </p:cNvPr>
          <p:cNvGraphicFramePr>
            <a:graphicFrameLocks noChangeAspect="1"/>
          </p:cNvGraphicFramePr>
          <p:nvPr userDrawn="1">
            <p:custDataLst>
              <p:tags r:id="rId1"/>
            </p:custDataLst>
            <p:extLst>
              <p:ext uri="{D42A27DB-BD31-4B8C-83A1-F6EECF244321}">
                <p14:modId xmlns:p14="http://schemas.microsoft.com/office/powerpoint/2010/main" val="391257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02120E73-5C90-5BE6-8B3A-429AE9BDD1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rtl="0">
              <a:lnSpc>
                <a:spcPct val="100000"/>
              </a:lnSpc>
            </a:pPr>
            <a:r>
              <a:rPr lang="en-US" sz="900" b="0" dirty="0">
                <a:latin typeface="+mn-lt"/>
                <a:sym typeface="Trebuchet MS" panose="020B0603020202020204" pitchFamily="34" charset="0"/>
              </a:rPr>
              <a:t> </a:t>
            </a:r>
          </a:p>
          <a:p>
            <a:pPr indent="0" rtl="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9081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US" dirty="0"/>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0C626B-967E-C14A-AA69-595F14BAFBAD}"/>
              </a:ext>
            </a:extLst>
          </p:cNvPr>
          <p:cNvGraphicFramePr>
            <a:graphicFrameLocks noChangeAspect="1"/>
          </p:cNvGraphicFramePr>
          <p:nvPr userDrawn="1">
            <p:custDataLst>
              <p:tags r:id="rId1"/>
            </p:custDataLst>
            <p:extLst>
              <p:ext uri="{D42A27DB-BD31-4B8C-83A1-F6EECF244321}">
                <p14:modId xmlns:p14="http://schemas.microsoft.com/office/powerpoint/2010/main" val="1848485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300C626B-967E-C14A-AA69-595F14BAFB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2838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cstate="screen">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cstate="screen">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rtl="0">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US"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E67F09-3DB0-B49F-7CE5-FE32D4602374}"/>
              </a:ext>
            </a:extLst>
          </p:cNvPr>
          <p:cNvGraphicFramePr>
            <a:graphicFrameLocks noChangeAspect="1"/>
          </p:cNvGraphicFramePr>
          <p:nvPr userDrawn="1">
            <p:custDataLst>
              <p:tags r:id="rId1"/>
            </p:custDataLst>
            <p:extLst>
              <p:ext uri="{D42A27DB-BD31-4B8C-83A1-F6EECF244321}">
                <p14:modId xmlns:p14="http://schemas.microsoft.com/office/powerpoint/2010/main" val="199501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A5E67F09-3DB0-B49F-7CE5-FE32D4602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4C312-3CDD-8CDB-5FA9-5B5FBD2D7164}"/>
              </a:ext>
            </a:extLst>
          </p:cNvPr>
          <p:cNvGraphicFramePr>
            <a:graphicFrameLocks noChangeAspect="1"/>
          </p:cNvGraphicFramePr>
          <p:nvPr userDrawn="1">
            <p:custDataLst>
              <p:tags r:id="rId1"/>
            </p:custDataLst>
            <p:extLst>
              <p:ext uri="{D42A27DB-BD31-4B8C-83A1-F6EECF244321}">
                <p14:modId xmlns:p14="http://schemas.microsoft.com/office/powerpoint/2010/main" val="1408758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4204C312-3CDD-8CDB-5FA9-5B5FBD2D71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8C8EBE-1AE1-4C2E-F766-39A64581C52E}"/>
              </a:ext>
            </a:extLst>
          </p:cNvPr>
          <p:cNvGraphicFramePr>
            <a:graphicFrameLocks noChangeAspect="1"/>
          </p:cNvGraphicFramePr>
          <p:nvPr userDrawn="1">
            <p:custDataLst>
              <p:tags r:id="rId1"/>
            </p:custDataLst>
            <p:extLst>
              <p:ext uri="{D42A27DB-BD31-4B8C-83A1-F6EECF244321}">
                <p14:modId xmlns:p14="http://schemas.microsoft.com/office/powerpoint/2010/main" val="2512647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888C8EBE-1AE1-4C2E-F766-39A64581C5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rtl="0">
              <a:lnSpc>
                <a:spcPct val="100000"/>
              </a:lnSpc>
              <a:spcBef>
                <a:spcPts val="0"/>
              </a:spcBef>
              <a:spcAft>
                <a:spcPts val="0"/>
              </a:spcAft>
              <a:defRPr/>
            </a:lvl1pPr>
            <a:lvl2pPr rtl="0">
              <a:lnSpc>
                <a:spcPct val="100000"/>
              </a:lnSpc>
              <a:spcBef>
                <a:spcPts val="0"/>
              </a:spcBef>
              <a:spcAft>
                <a:spcPts val="0"/>
              </a:spcAft>
              <a:defRPr/>
            </a:lvl2pPr>
            <a:lvl3pPr rtl="0">
              <a:lnSpc>
                <a:spcPct val="100000"/>
              </a:lnSpc>
              <a:spcBef>
                <a:spcPts val="0"/>
              </a:spcBef>
              <a:spcAft>
                <a:spcPts val="0"/>
              </a:spcAft>
              <a:defRPr/>
            </a:lvl3pPr>
            <a:lvl4pPr rtl="0">
              <a:lnSpc>
                <a:spcPct val="100000"/>
              </a:lnSpc>
              <a:spcBef>
                <a:spcPts val="0"/>
              </a:spcBef>
              <a:spcAft>
                <a:spcPts val="0"/>
              </a:spcAft>
              <a:defRPr/>
            </a:lvl4pPr>
            <a:lvl5pPr rtl="0">
              <a:lnSpc>
                <a:spcPct val="100000"/>
              </a:lnSpc>
              <a:spcBef>
                <a:spcPts val="0"/>
              </a:spcBef>
              <a:spcAft>
                <a:spcPts val="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75F5E3-3BB7-17C9-1F69-E3DC2B7A7B36}"/>
              </a:ext>
            </a:extLst>
          </p:cNvPr>
          <p:cNvGraphicFramePr>
            <a:graphicFrameLocks noChangeAspect="1"/>
          </p:cNvGraphicFramePr>
          <p:nvPr userDrawn="1">
            <p:custDataLst>
              <p:tags r:id="rId1"/>
            </p:custDataLst>
            <p:extLst>
              <p:ext uri="{D42A27DB-BD31-4B8C-83A1-F6EECF244321}">
                <p14:modId xmlns:p14="http://schemas.microsoft.com/office/powerpoint/2010/main" val="555246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4575F5E3-3BB7-17C9-1F69-E3DC2B7A7B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rtl="0">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rtl="0">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768E29-8A9F-6C68-95FF-FB8CEE006B1F}"/>
              </a:ext>
            </a:extLst>
          </p:cNvPr>
          <p:cNvGraphicFramePr>
            <a:graphicFrameLocks noChangeAspect="1"/>
          </p:cNvGraphicFramePr>
          <p:nvPr userDrawn="1">
            <p:custDataLst>
              <p:tags r:id="rId1"/>
            </p:custDataLst>
            <p:extLst>
              <p:ext uri="{D42A27DB-BD31-4B8C-83A1-F6EECF244321}">
                <p14:modId xmlns:p14="http://schemas.microsoft.com/office/powerpoint/2010/main" val="247027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77768E29-8A9F-6C68-95FF-FB8CEE006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18047A-1173-FCB8-4F28-C5AD66A45C7D}"/>
              </a:ext>
            </a:extLst>
          </p:cNvPr>
          <p:cNvGraphicFramePr>
            <a:graphicFrameLocks noChangeAspect="1"/>
          </p:cNvGraphicFramePr>
          <p:nvPr userDrawn="1">
            <p:custDataLst>
              <p:tags r:id="rId1"/>
            </p:custDataLst>
            <p:extLst>
              <p:ext uri="{D42A27DB-BD31-4B8C-83A1-F6EECF244321}">
                <p14:modId xmlns:p14="http://schemas.microsoft.com/office/powerpoint/2010/main" val="3166017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4518047A-1173-FCB8-4F28-C5AD66A45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640C8C-BBC8-3908-634A-99A9F5EA25A9}"/>
              </a:ext>
            </a:extLst>
          </p:cNvPr>
          <p:cNvGraphicFramePr>
            <a:graphicFrameLocks noChangeAspect="1"/>
          </p:cNvGraphicFramePr>
          <p:nvPr userDrawn="1">
            <p:custDataLst>
              <p:tags r:id="rId1"/>
            </p:custDataLst>
            <p:extLst>
              <p:ext uri="{D42A27DB-BD31-4B8C-83A1-F6EECF244321}">
                <p14:modId xmlns:p14="http://schemas.microsoft.com/office/powerpoint/2010/main" val="4117403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A7640C8C-BBC8-3908-634A-99A9F5EA25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D84C70-33CC-1F34-A8C5-AF71D0F4C750}"/>
              </a:ext>
            </a:extLst>
          </p:cNvPr>
          <p:cNvGraphicFramePr>
            <a:graphicFrameLocks noChangeAspect="1"/>
          </p:cNvGraphicFramePr>
          <p:nvPr userDrawn="1">
            <p:custDataLst>
              <p:tags r:id="rId1"/>
            </p:custDataLst>
            <p:extLst>
              <p:ext uri="{D42A27DB-BD31-4B8C-83A1-F6EECF244321}">
                <p14:modId xmlns:p14="http://schemas.microsoft.com/office/powerpoint/2010/main" val="716551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78D84C70-33CC-1F34-A8C5-AF71D0F4C7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rtl="0">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68DA56-9857-CFD4-B12A-E3C8A534800A}"/>
              </a:ext>
            </a:extLst>
          </p:cNvPr>
          <p:cNvGraphicFramePr>
            <a:graphicFrameLocks noChangeAspect="1"/>
          </p:cNvGraphicFramePr>
          <p:nvPr userDrawn="1">
            <p:custDataLst>
              <p:tags r:id="rId1"/>
            </p:custDataLst>
            <p:extLst>
              <p:ext uri="{D42A27DB-BD31-4B8C-83A1-F6EECF244321}">
                <p14:modId xmlns:p14="http://schemas.microsoft.com/office/powerpoint/2010/main" val="368356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A668DA56-9857-CFD4-B12A-E3C8A53480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rtl="0">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7F17A8-8CD1-3169-657A-ABE9E28BFD27}"/>
              </a:ext>
            </a:extLst>
          </p:cNvPr>
          <p:cNvGraphicFramePr>
            <a:graphicFrameLocks noChangeAspect="1"/>
          </p:cNvGraphicFramePr>
          <p:nvPr userDrawn="1">
            <p:custDataLst>
              <p:tags r:id="rId1"/>
            </p:custDataLst>
            <p:extLst>
              <p:ext uri="{D42A27DB-BD31-4B8C-83A1-F6EECF244321}">
                <p14:modId xmlns:p14="http://schemas.microsoft.com/office/powerpoint/2010/main" val="529961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787F17A8-8CD1-3169-657A-ABE9E28BFD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44E6BD-0BBA-BAA9-3C1A-653B75935349}"/>
              </a:ext>
            </a:extLst>
          </p:cNvPr>
          <p:cNvGraphicFramePr>
            <a:graphicFrameLocks noChangeAspect="1"/>
          </p:cNvGraphicFramePr>
          <p:nvPr userDrawn="1">
            <p:custDataLst>
              <p:tags r:id="rId1"/>
            </p:custDataLst>
            <p:extLst>
              <p:ext uri="{D42A27DB-BD31-4B8C-83A1-F6EECF244321}">
                <p14:modId xmlns:p14="http://schemas.microsoft.com/office/powerpoint/2010/main" val="4286537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744E6BD-0BBA-BAA9-3C1A-653B759353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D0D091-8A50-E1A7-64EE-BE967C322E7C}"/>
              </a:ext>
            </a:extLst>
          </p:cNvPr>
          <p:cNvGraphicFramePr>
            <a:graphicFrameLocks noChangeAspect="1"/>
          </p:cNvGraphicFramePr>
          <p:nvPr userDrawn="1">
            <p:custDataLst>
              <p:tags r:id="rId1"/>
            </p:custDataLst>
            <p:extLst>
              <p:ext uri="{D42A27DB-BD31-4B8C-83A1-F6EECF244321}">
                <p14:modId xmlns:p14="http://schemas.microsoft.com/office/powerpoint/2010/main" val="2989873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2DD0D091-8A50-E1A7-64EE-BE967C322E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rtl="0">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67A4FE-CE26-E5E2-B246-BAFC00567AE5}"/>
              </a:ext>
            </a:extLst>
          </p:cNvPr>
          <p:cNvGraphicFramePr>
            <a:graphicFrameLocks noChangeAspect="1"/>
          </p:cNvGraphicFramePr>
          <p:nvPr userDrawn="1">
            <p:custDataLst>
              <p:tags r:id="rId1"/>
            </p:custDataLst>
            <p:extLst>
              <p:ext uri="{D42A27DB-BD31-4B8C-83A1-F6EECF244321}">
                <p14:modId xmlns:p14="http://schemas.microsoft.com/office/powerpoint/2010/main" val="2180722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967A4FE-CE26-E5E2-B246-BAFC00567A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777878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06BDD2-8BE3-0880-6117-3694078E1CB7}"/>
              </a:ext>
            </a:extLst>
          </p:cNvPr>
          <p:cNvGraphicFramePr>
            <a:graphicFrameLocks noChangeAspect="1"/>
          </p:cNvGraphicFramePr>
          <p:nvPr userDrawn="1">
            <p:custDataLst>
              <p:tags r:id="rId1"/>
            </p:custDataLst>
            <p:extLst>
              <p:ext uri="{D42A27DB-BD31-4B8C-83A1-F6EECF244321}">
                <p14:modId xmlns:p14="http://schemas.microsoft.com/office/powerpoint/2010/main" val="1373911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3106BDD2-8BE3-0880-6117-3694078E1C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rtl="0">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0F9327-CDE9-51CC-A362-2261E037B13A}"/>
              </a:ext>
            </a:extLst>
          </p:cNvPr>
          <p:cNvGraphicFramePr>
            <a:graphicFrameLocks noChangeAspect="1"/>
          </p:cNvGraphicFramePr>
          <p:nvPr userDrawn="1">
            <p:custDataLst>
              <p:tags r:id="rId1"/>
            </p:custDataLst>
            <p:extLst>
              <p:ext uri="{D42A27DB-BD31-4B8C-83A1-F6EECF244321}">
                <p14:modId xmlns:p14="http://schemas.microsoft.com/office/powerpoint/2010/main" val="2282211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90F9327-CDE9-51CC-A362-2261E037B1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0D1DE5-38D9-0B9D-922C-AC908A487A8F}"/>
              </a:ext>
            </a:extLst>
          </p:cNvPr>
          <p:cNvGraphicFramePr>
            <a:graphicFrameLocks noChangeAspect="1"/>
          </p:cNvGraphicFramePr>
          <p:nvPr userDrawn="1">
            <p:custDataLst>
              <p:tags r:id="rId1"/>
            </p:custDataLst>
            <p:extLst>
              <p:ext uri="{D42A27DB-BD31-4B8C-83A1-F6EECF244321}">
                <p14:modId xmlns:p14="http://schemas.microsoft.com/office/powerpoint/2010/main" val="2248528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500D1DE5-38D9-0B9D-922C-AC908A487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984323-C9A9-6E96-8633-F1343B1904D9}"/>
              </a:ext>
            </a:extLst>
          </p:cNvPr>
          <p:cNvGraphicFramePr>
            <a:graphicFrameLocks noChangeAspect="1"/>
          </p:cNvGraphicFramePr>
          <p:nvPr userDrawn="1">
            <p:custDataLst>
              <p:tags r:id="rId1"/>
            </p:custDataLst>
            <p:extLst>
              <p:ext uri="{D42A27DB-BD31-4B8C-83A1-F6EECF244321}">
                <p14:modId xmlns:p14="http://schemas.microsoft.com/office/powerpoint/2010/main" val="1124977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DB984323-C9A9-6E96-8633-F1343B1904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3E3A04-BE6D-2879-013B-9CFBD443614B}"/>
              </a:ext>
            </a:extLst>
          </p:cNvPr>
          <p:cNvGraphicFramePr>
            <a:graphicFrameLocks noChangeAspect="1"/>
          </p:cNvGraphicFramePr>
          <p:nvPr userDrawn="1">
            <p:custDataLst>
              <p:tags r:id="rId1"/>
            </p:custDataLst>
            <p:extLst>
              <p:ext uri="{D42A27DB-BD31-4B8C-83A1-F6EECF244321}">
                <p14:modId xmlns:p14="http://schemas.microsoft.com/office/powerpoint/2010/main" val="2962336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803E3A04-BE6D-2879-013B-9CFBD44361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595AA3-696D-B922-51E6-7C855F31E630}"/>
              </a:ext>
            </a:extLst>
          </p:cNvPr>
          <p:cNvGraphicFramePr>
            <a:graphicFrameLocks noChangeAspect="1"/>
          </p:cNvGraphicFramePr>
          <p:nvPr userDrawn="1">
            <p:custDataLst>
              <p:tags r:id="rId1"/>
            </p:custDataLst>
            <p:extLst>
              <p:ext uri="{D42A27DB-BD31-4B8C-83A1-F6EECF244321}">
                <p14:modId xmlns:p14="http://schemas.microsoft.com/office/powerpoint/2010/main" val="1213955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78595AA3-696D-B922-51E6-7C855F31E6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3A9B36-D7FC-99B8-6A02-DAFAEDF52EAC}"/>
              </a:ext>
            </a:extLst>
          </p:cNvPr>
          <p:cNvGraphicFramePr>
            <a:graphicFrameLocks noChangeAspect="1"/>
          </p:cNvGraphicFramePr>
          <p:nvPr userDrawn="1">
            <p:custDataLst>
              <p:tags r:id="rId1"/>
            </p:custDataLst>
            <p:extLst>
              <p:ext uri="{D42A27DB-BD31-4B8C-83A1-F6EECF244321}">
                <p14:modId xmlns:p14="http://schemas.microsoft.com/office/powerpoint/2010/main" val="1036229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BD3A9B36-D7FC-99B8-6A02-DAFAEDF52E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3F0C2-1D33-D99B-978D-D93BC941532E}"/>
              </a:ext>
            </a:extLst>
          </p:cNvPr>
          <p:cNvGraphicFramePr>
            <a:graphicFrameLocks noChangeAspect="1"/>
          </p:cNvGraphicFramePr>
          <p:nvPr userDrawn="1">
            <p:custDataLst>
              <p:tags r:id="rId1"/>
            </p:custDataLst>
            <p:extLst>
              <p:ext uri="{D42A27DB-BD31-4B8C-83A1-F6EECF244321}">
                <p14:modId xmlns:p14="http://schemas.microsoft.com/office/powerpoint/2010/main" val="4108994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B123F0C2-1D33-D99B-978D-D93BC94153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15C46A-683F-F912-0370-C2F5C662FA6D}"/>
              </a:ext>
            </a:extLst>
          </p:cNvPr>
          <p:cNvGraphicFramePr>
            <a:graphicFrameLocks noChangeAspect="1"/>
          </p:cNvGraphicFramePr>
          <p:nvPr userDrawn="1">
            <p:custDataLst>
              <p:tags r:id="rId1"/>
            </p:custDataLst>
            <p:extLst>
              <p:ext uri="{D42A27DB-BD31-4B8C-83A1-F6EECF244321}">
                <p14:modId xmlns:p14="http://schemas.microsoft.com/office/powerpoint/2010/main" val="204250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Object 5" hidden="1">
                        <a:extLst>
                          <a:ext uri="{FF2B5EF4-FFF2-40B4-BE49-F238E27FC236}">
                            <a16:creationId xmlns:a16="http://schemas.microsoft.com/office/drawing/2014/main" id="{4115C46A-683F-F912-0370-C2F5C662F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972CE-606E-4CEF-9355-0AD0535F51C8}"/>
              </a:ext>
            </a:extLst>
          </p:cNvPr>
          <p:cNvGraphicFramePr>
            <a:graphicFrameLocks noChangeAspect="1"/>
          </p:cNvGraphicFramePr>
          <p:nvPr userDrawn="1">
            <p:custDataLst>
              <p:tags r:id="rId1"/>
            </p:custDataLst>
            <p:extLst>
              <p:ext uri="{D42A27DB-BD31-4B8C-83A1-F6EECF244321}">
                <p14:modId xmlns:p14="http://schemas.microsoft.com/office/powerpoint/2010/main" val="2477950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421972CE-606E-4CEF-9355-0AD0535F51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rtl="0">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5077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EB887F-EB91-A2F4-5DFA-2981CC956917}"/>
              </a:ext>
            </a:extLst>
          </p:cNvPr>
          <p:cNvGraphicFramePr>
            <a:graphicFrameLocks noChangeAspect="1"/>
          </p:cNvGraphicFramePr>
          <p:nvPr userDrawn="1">
            <p:custDataLst>
              <p:tags r:id="rId1"/>
            </p:custDataLst>
            <p:extLst>
              <p:ext uri="{D42A27DB-BD31-4B8C-83A1-F6EECF244321}">
                <p14:modId xmlns:p14="http://schemas.microsoft.com/office/powerpoint/2010/main" val="213103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Object 5" hidden="1">
                        <a:extLst>
                          <a:ext uri="{FF2B5EF4-FFF2-40B4-BE49-F238E27FC236}">
                            <a16:creationId xmlns:a16="http://schemas.microsoft.com/office/drawing/2014/main" id="{57EB887F-EB91-A2F4-5DFA-2981CC9569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rtl="0">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521F10-C1B1-E49E-44E0-06D048763122}"/>
              </a:ext>
            </a:extLst>
          </p:cNvPr>
          <p:cNvGraphicFramePr>
            <a:graphicFrameLocks noChangeAspect="1"/>
          </p:cNvGraphicFramePr>
          <p:nvPr userDrawn="1">
            <p:custDataLst>
              <p:tags r:id="rId1"/>
            </p:custDataLst>
            <p:extLst>
              <p:ext uri="{D42A27DB-BD31-4B8C-83A1-F6EECF244321}">
                <p14:modId xmlns:p14="http://schemas.microsoft.com/office/powerpoint/2010/main" val="294798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81521F10-C1B1-E49E-44E0-06D0487631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106519A-C98F-EDD1-CE90-7A6F0FA59882}"/>
              </a:ext>
            </a:extLst>
          </p:cNvPr>
          <p:cNvGraphicFramePr>
            <a:graphicFrameLocks noChangeAspect="1"/>
          </p:cNvGraphicFramePr>
          <p:nvPr userDrawn="1">
            <p:custDataLst>
              <p:tags r:id="rId1"/>
            </p:custDataLst>
            <p:extLst>
              <p:ext uri="{D42A27DB-BD31-4B8C-83A1-F6EECF244321}">
                <p14:modId xmlns:p14="http://schemas.microsoft.com/office/powerpoint/2010/main" val="3767518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9106519A-C98F-EDD1-CE90-7A6F0FA598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40364F-E090-51CB-DECF-4B935666A1C4}"/>
              </a:ext>
            </a:extLst>
          </p:cNvPr>
          <p:cNvGraphicFramePr>
            <a:graphicFrameLocks noChangeAspect="1"/>
          </p:cNvGraphicFramePr>
          <p:nvPr userDrawn="1">
            <p:custDataLst>
              <p:tags r:id="rId1"/>
            </p:custDataLst>
            <p:extLst>
              <p:ext uri="{D42A27DB-BD31-4B8C-83A1-F6EECF244321}">
                <p14:modId xmlns:p14="http://schemas.microsoft.com/office/powerpoint/2010/main" val="152079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1B40364F-E090-51CB-DECF-4B935666A1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B6A37F5-0443-2571-F222-7D8165BA42A9}"/>
              </a:ext>
            </a:extLst>
          </p:cNvPr>
          <p:cNvGraphicFramePr>
            <a:graphicFrameLocks noChangeAspect="1"/>
          </p:cNvGraphicFramePr>
          <p:nvPr userDrawn="1">
            <p:custDataLst>
              <p:tags r:id="rId1"/>
            </p:custDataLst>
            <p:extLst>
              <p:ext uri="{D42A27DB-BD31-4B8C-83A1-F6EECF244321}">
                <p14:modId xmlns:p14="http://schemas.microsoft.com/office/powerpoint/2010/main" val="2088031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0B6A37F5-0443-2571-F222-7D8165BA42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rtl="0">
              <a:lnSpc>
                <a:spcPct val="100000"/>
              </a:lnSpc>
            </a:pPr>
            <a:r>
              <a:rPr lang="en-US" sz="900" b="0" dirty="0">
                <a:latin typeface="+mn-lt"/>
                <a:sym typeface="Trebuchet MS" panose="020B0603020202020204" pitchFamily="34" charset="0"/>
              </a:rPr>
              <a:t> </a:t>
            </a:r>
          </a:p>
          <a:p>
            <a:pPr indent="0" rtl="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rtl="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rtl="0">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844018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US" dirty="0"/>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34501D-1B19-0BFC-6E3F-7BF1356C38CE}"/>
              </a:ext>
            </a:extLst>
          </p:cNvPr>
          <p:cNvGraphicFramePr>
            <a:graphicFrameLocks noChangeAspect="1"/>
          </p:cNvGraphicFramePr>
          <p:nvPr userDrawn="1">
            <p:custDataLst>
              <p:tags r:id="rId1"/>
            </p:custDataLst>
            <p:extLst>
              <p:ext uri="{D42A27DB-BD31-4B8C-83A1-F6EECF244321}">
                <p14:modId xmlns:p14="http://schemas.microsoft.com/office/powerpoint/2010/main" val="249449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D834501D-1B19-0BFC-6E3F-7BF1356C38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1717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rtl="0"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198CCE-D31D-0164-3283-FDDD1F022C54}"/>
              </a:ext>
            </a:extLst>
          </p:cNvPr>
          <p:cNvGraphicFramePr>
            <a:graphicFrameLocks noChangeAspect="1"/>
          </p:cNvGraphicFramePr>
          <p:nvPr userDrawn="1">
            <p:custDataLst>
              <p:tags r:id="rId1"/>
            </p:custDataLst>
            <p:extLst>
              <p:ext uri="{D42A27DB-BD31-4B8C-83A1-F6EECF244321}">
                <p14:modId xmlns:p14="http://schemas.microsoft.com/office/powerpoint/2010/main" val="2358747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7B198CCE-D31D-0164-3283-FDDD1F022C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0603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1499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29421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rtl="0">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63957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rtl="0">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23367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77188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82032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rtl="0">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78538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3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page">
  <p:cSld name="Title page">
    <p:spTree>
      <p:nvGrpSpPr>
        <p:cNvPr id="1" name="Shape 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930C820-4C24-F470-974A-4CA124213854}"/>
              </a:ext>
            </a:extLst>
          </p:cNvPr>
          <p:cNvGraphicFramePr>
            <a:graphicFrameLocks noChangeAspect="1"/>
          </p:cNvGraphicFramePr>
          <p:nvPr userDrawn="1">
            <p:custDataLst>
              <p:tags r:id="rId1"/>
            </p:custDataLst>
            <p:extLst>
              <p:ext uri="{D42A27DB-BD31-4B8C-83A1-F6EECF244321}">
                <p14:modId xmlns:p14="http://schemas.microsoft.com/office/powerpoint/2010/main" val="344854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F930C820-4C24-F470-974A-4CA124213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17;p51"/>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dirty="0">
              <a:solidFill>
                <a:schemeClr val="lt1"/>
              </a:solidFill>
              <a:latin typeface="Arial"/>
              <a:ea typeface="Arial"/>
              <a:cs typeface="Arial"/>
              <a:sym typeface="Arial"/>
            </a:endParaRPr>
          </a:p>
        </p:txBody>
      </p:sp>
      <p:sp>
        <p:nvSpPr>
          <p:cNvPr id="18" name="Google Shape;18;p51"/>
          <p:cNvSpPr/>
          <p:nvPr/>
        </p:nvSpPr>
        <p:spPr>
          <a:xfrm>
            <a:off x="0" y="0"/>
            <a:ext cx="12192000"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dirty="0">
              <a:solidFill>
                <a:schemeClr val="lt1"/>
              </a:solidFill>
              <a:latin typeface="Arial"/>
              <a:ea typeface="Arial"/>
              <a:cs typeface="Arial"/>
              <a:sym typeface="Arial"/>
            </a:endParaRPr>
          </a:p>
        </p:txBody>
      </p:sp>
      <p:sp>
        <p:nvSpPr>
          <p:cNvPr id="19" name="Google Shape;19;p51"/>
          <p:cNvSpPr/>
          <p:nvPr/>
        </p:nvSpPr>
        <p:spPr>
          <a:xfrm>
            <a:off x="360363" y="360363"/>
            <a:ext cx="11469687" cy="602138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dirty="0">
              <a:solidFill>
                <a:schemeClr val="lt1"/>
              </a:solidFill>
              <a:latin typeface="Arial"/>
              <a:ea typeface="Arial"/>
              <a:cs typeface="Arial"/>
              <a:sym typeface="Arial"/>
            </a:endParaRPr>
          </a:p>
        </p:txBody>
      </p:sp>
      <p:sp>
        <p:nvSpPr>
          <p:cNvPr id="20" name="Google Shape;20;p51"/>
          <p:cNvSpPr/>
          <p:nvPr/>
        </p:nvSpPr>
        <p:spPr>
          <a:xfrm>
            <a:off x="7310439" y="1939059"/>
            <a:ext cx="4055009" cy="3966441"/>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dirty="0">
              <a:solidFill>
                <a:schemeClr val="lt1"/>
              </a:solidFill>
              <a:latin typeface="Arial"/>
              <a:ea typeface="Arial"/>
              <a:cs typeface="Arial"/>
              <a:sym typeface="Arial"/>
            </a:endParaRPr>
          </a:p>
        </p:txBody>
      </p:sp>
      <p:cxnSp>
        <p:nvCxnSpPr>
          <p:cNvPr id="21" name="Google Shape;21;p51"/>
          <p:cNvCxnSpPr/>
          <p:nvPr userDrawn="1"/>
        </p:nvCxnSpPr>
        <p:spPr>
          <a:xfrm>
            <a:off x="7505700" y="5040605"/>
            <a:ext cx="3719286" cy="0"/>
          </a:xfrm>
          <a:prstGeom prst="straightConnector1">
            <a:avLst/>
          </a:prstGeom>
          <a:noFill/>
          <a:ln w="12700" cap="flat" cmpd="sng">
            <a:solidFill>
              <a:schemeClr val="accent6"/>
            </a:solidFill>
            <a:prstDash val="solid"/>
            <a:miter lim="800000"/>
            <a:headEnd type="none" w="sm" len="sm"/>
            <a:tailEnd type="none" w="sm" len="sm"/>
          </a:ln>
        </p:spPr>
      </p:cxnSp>
      <p:sp>
        <p:nvSpPr>
          <p:cNvPr id="22" name="Google Shape;22;p51"/>
          <p:cNvSpPr txBox="1">
            <a:spLocks noGrp="1"/>
          </p:cNvSpPr>
          <p:nvPr>
            <p:ph type="title"/>
          </p:nvPr>
        </p:nvSpPr>
        <p:spPr>
          <a:xfrm>
            <a:off x="7505700" y="2062163"/>
            <a:ext cx="3751962" cy="2338797"/>
          </a:xfrm>
          <a:prstGeom prst="rect">
            <a:avLst/>
          </a:prstGeom>
          <a:noFill/>
          <a:ln>
            <a:noFill/>
          </a:ln>
        </p:spPr>
        <p:txBody>
          <a:bodyPr spcFirstLastPara="1" wrap="square" lIns="0" tIns="540000" rIns="72000" bIns="72000" anchor="ctr" anchorCtr="0">
            <a:noAutofit/>
          </a:bodyPr>
          <a:lstStyle>
            <a:lvl1pPr lvl="0" algn="l" rtl="0">
              <a:lnSpc>
                <a:spcPct val="90000"/>
              </a:lnSpc>
              <a:spcBef>
                <a:spcPts val="0"/>
              </a:spcBef>
              <a:spcAft>
                <a:spcPts val="0"/>
              </a:spcAft>
              <a:buClr>
                <a:schemeClr val="dk1"/>
              </a:buClr>
              <a:buSzPts val="2000"/>
              <a:buFont typeface="Arial"/>
              <a:buNone/>
              <a:defRPr>
                <a:solidFill>
                  <a:schemeClr val="bg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23" name="Google Shape;23;p51"/>
          <p:cNvSpPr txBox="1">
            <a:spLocks noGrp="1"/>
          </p:cNvSpPr>
          <p:nvPr>
            <p:ph type="body" idx="1"/>
          </p:nvPr>
        </p:nvSpPr>
        <p:spPr>
          <a:xfrm>
            <a:off x="7505700" y="4609480"/>
            <a:ext cx="1715782" cy="495246"/>
          </a:xfrm>
          <a:prstGeom prst="rect">
            <a:avLst/>
          </a:prstGeom>
          <a:noFill/>
          <a:ln>
            <a:noFill/>
          </a:ln>
        </p:spPr>
        <p:txBody>
          <a:bodyPr spcFirstLastPara="1" wrap="square" lIns="0" tIns="72000" rIns="72000" bIns="72000" anchor="ctr" anchorCtr="0">
            <a:spAutoFit/>
          </a:bodyPr>
          <a:lstStyle>
            <a:lvl1pPr marL="457200" lvl="0" indent="-228600" algn="l" rtl="0">
              <a:lnSpc>
                <a:spcPct val="90000"/>
              </a:lnSpc>
              <a:spcBef>
                <a:spcPts val="1000"/>
              </a:spcBef>
              <a:spcAft>
                <a:spcPts val="0"/>
              </a:spcAft>
              <a:buSzPts val="1600"/>
              <a:buNone/>
              <a:defRPr b="1">
                <a:solidFill>
                  <a:schemeClr val="accent5"/>
                </a:solidFill>
              </a:defRPr>
            </a:lvl1pPr>
            <a:lvl2pPr marL="914400" lvl="1" indent="-342900" algn="l">
              <a:lnSpc>
                <a:spcPct val="90000"/>
              </a:lnSpc>
              <a:spcBef>
                <a:spcPts val="500"/>
              </a:spcBef>
              <a:spcAft>
                <a:spcPts val="0"/>
              </a:spcAft>
              <a:buSzPts val="1800"/>
              <a:buChar char="•"/>
              <a:defRPr sz="1800">
                <a:solidFill>
                  <a:schemeClr val="dk1"/>
                </a:solidFill>
              </a:defRPr>
            </a:lvl2pPr>
            <a:lvl3pPr marL="1371600" lvl="2" indent="-342900" algn="l">
              <a:lnSpc>
                <a:spcPct val="90000"/>
              </a:lnSpc>
              <a:spcBef>
                <a:spcPts val="500"/>
              </a:spcBef>
              <a:spcAft>
                <a:spcPts val="0"/>
              </a:spcAft>
              <a:buSzPts val="1800"/>
              <a:buChar char="•"/>
              <a:defRPr sz="1800">
                <a:solidFill>
                  <a:schemeClr val="dk1"/>
                </a:solidFill>
              </a:defRPr>
            </a:lvl3pPr>
            <a:lvl4pPr marL="1828800" lvl="3" indent="-342900" algn="l">
              <a:lnSpc>
                <a:spcPct val="90000"/>
              </a:lnSpc>
              <a:spcBef>
                <a:spcPts val="500"/>
              </a:spcBef>
              <a:spcAft>
                <a:spcPts val="0"/>
              </a:spcAft>
              <a:buSzPts val="1800"/>
              <a:buChar char="•"/>
              <a:defRPr sz="1800">
                <a:solidFill>
                  <a:schemeClr val="dk1"/>
                </a:solidFill>
              </a:defRPr>
            </a:lvl4pPr>
            <a:lvl5pPr marL="2286000" lvl="4" indent="-342900" algn="l">
              <a:lnSpc>
                <a:spcPct val="90000"/>
              </a:lnSpc>
              <a:spcBef>
                <a:spcPts val="500"/>
              </a:spcBef>
              <a:spcAft>
                <a:spcPts val="0"/>
              </a:spcAft>
              <a:buSzPts val="1800"/>
              <a:buChar char="•"/>
              <a:defRPr sz="1800">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pic>
        <p:nvPicPr>
          <p:cNvPr id="24" name="Google Shape;24;p51" descr="A picture containing object, clock&#10;&#10;Description automatically generated"/>
          <p:cNvPicPr preferRelativeResize="0"/>
          <p:nvPr/>
        </p:nvPicPr>
        <p:blipFill rotWithShape="1">
          <a:blip r:embed="rId5">
            <a:alphaModFix/>
          </a:blip>
          <a:srcRect/>
          <a:stretch/>
        </p:blipFill>
        <p:spPr>
          <a:xfrm>
            <a:off x="7287441" y="1028700"/>
            <a:ext cx="4137215" cy="600001"/>
          </a:xfrm>
          <a:prstGeom prst="rect">
            <a:avLst/>
          </a:prstGeom>
          <a:noFill/>
          <a:ln>
            <a:noFill/>
          </a:ln>
        </p:spPr>
      </p:pic>
      <p:pic>
        <p:nvPicPr>
          <p:cNvPr id="25" name="Google Shape;25;p51"/>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361951" y="360364"/>
            <a:ext cx="6586538" cy="6021387"/>
          </a:xfrm>
          <a:custGeom>
            <a:avLst/>
            <a:gdLst/>
            <a:ahLst/>
            <a:cxnLst/>
            <a:rect l="l" t="t" r="r" b="b"/>
            <a:pathLst>
              <a:path w="6586538" h="6021387" extrusionOk="0">
                <a:moveTo>
                  <a:pt x="0" y="0"/>
                </a:moveTo>
                <a:lnTo>
                  <a:pt x="6586538" y="0"/>
                </a:lnTo>
                <a:lnTo>
                  <a:pt x="6586538" y="6021387"/>
                </a:lnTo>
                <a:lnTo>
                  <a:pt x="0" y="6021387"/>
                </a:lnTo>
                <a:close/>
              </a:path>
            </a:pathLst>
          </a:custGeom>
          <a:noFill/>
          <a:ln>
            <a:noFill/>
          </a:ln>
        </p:spPr>
      </p:pic>
      <p:sp>
        <p:nvSpPr>
          <p:cNvPr id="26" name="Google Shape;26;p51"/>
          <p:cNvSpPr/>
          <p:nvPr/>
        </p:nvSpPr>
        <p:spPr>
          <a:xfrm>
            <a:off x="360363" y="360363"/>
            <a:ext cx="6588126" cy="6021387"/>
          </a:xfrm>
          <a:prstGeom prst="rect">
            <a:avLst/>
          </a:prstGeom>
          <a:gradFill>
            <a:gsLst>
              <a:gs pos="0">
                <a:srgbClr val="3684B9">
                  <a:alpha val="29803"/>
                </a:srgbClr>
              </a:gs>
              <a:gs pos="100000">
                <a:srgbClr val="3684B9">
                  <a:alpha val="0"/>
                </a:srgbClr>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b="0" i="0" u="none" strike="noStrike" cap="none" dirty="0">
              <a:solidFill>
                <a:schemeClr val="lt1"/>
              </a:solidFill>
              <a:latin typeface="Arial"/>
              <a:ea typeface="Arial"/>
              <a:cs typeface="Arial"/>
              <a:sym typeface="Arial"/>
            </a:endParaRPr>
          </a:p>
        </p:txBody>
      </p:sp>
      <p:sp>
        <p:nvSpPr>
          <p:cNvPr id="27" name="Google Shape;27;p51"/>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sz="900" b="0" i="0" u="none" strike="noStrike" cap="none">
                <a:solidFill>
                  <a:schemeClr val="dk1"/>
                </a:solidFill>
                <a:latin typeface="Arial"/>
                <a:ea typeface="Arial"/>
                <a:cs typeface="Arial"/>
                <a:sym typeface="Arial"/>
              </a:defRPr>
            </a:lvl1pPr>
            <a:lvl2pPr marL="0" lvl="1" indent="0" algn="l">
              <a:spcBef>
                <a:spcPts val="0"/>
              </a:spcBef>
              <a:buNone/>
              <a:defRPr sz="900" b="0" i="0" u="none" strike="noStrike" cap="none">
                <a:solidFill>
                  <a:schemeClr val="dk1"/>
                </a:solidFill>
                <a:latin typeface="Arial"/>
                <a:ea typeface="Arial"/>
                <a:cs typeface="Arial"/>
                <a:sym typeface="Arial"/>
              </a:defRPr>
            </a:lvl2pPr>
            <a:lvl3pPr marL="0" lvl="2" indent="0" algn="l">
              <a:spcBef>
                <a:spcPts val="0"/>
              </a:spcBef>
              <a:buNone/>
              <a:defRPr sz="900" b="0" i="0" u="none" strike="noStrike" cap="none">
                <a:solidFill>
                  <a:schemeClr val="dk1"/>
                </a:solidFill>
                <a:latin typeface="Arial"/>
                <a:ea typeface="Arial"/>
                <a:cs typeface="Arial"/>
                <a:sym typeface="Arial"/>
              </a:defRPr>
            </a:lvl3pPr>
            <a:lvl4pPr marL="0" lvl="3" indent="0" algn="l">
              <a:spcBef>
                <a:spcPts val="0"/>
              </a:spcBef>
              <a:buNone/>
              <a:defRPr sz="900" b="0" i="0" u="none" strike="noStrike" cap="none">
                <a:solidFill>
                  <a:schemeClr val="dk1"/>
                </a:solidFill>
                <a:latin typeface="Arial"/>
                <a:ea typeface="Arial"/>
                <a:cs typeface="Arial"/>
                <a:sym typeface="Arial"/>
              </a:defRPr>
            </a:lvl4pPr>
            <a:lvl5pPr marL="0" lvl="4" indent="0" algn="l">
              <a:spcBef>
                <a:spcPts val="0"/>
              </a:spcBef>
              <a:buNone/>
              <a:defRPr sz="900" b="0" i="0" u="none" strike="noStrike" cap="none">
                <a:solidFill>
                  <a:schemeClr val="dk1"/>
                </a:solidFill>
                <a:latin typeface="Arial"/>
                <a:ea typeface="Arial"/>
                <a:cs typeface="Arial"/>
                <a:sym typeface="Arial"/>
              </a:defRPr>
            </a:lvl5pPr>
            <a:lvl6pPr marL="0" lvl="5" indent="0" algn="l">
              <a:spcBef>
                <a:spcPts val="0"/>
              </a:spcBef>
              <a:buNone/>
              <a:defRPr sz="900" b="0" i="0" u="none" strike="noStrike" cap="none">
                <a:solidFill>
                  <a:schemeClr val="dk1"/>
                </a:solidFill>
                <a:latin typeface="Arial"/>
                <a:ea typeface="Arial"/>
                <a:cs typeface="Arial"/>
                <a:sym typeface="Arial"/>
              </a:defRPr>
            </a:lvl6pPr>
            <a:lvl7pPr marL="0" lvl="6" indent="0" algn="l">
              <a:spcBef>
                <a:spcPts val="0"/>
              </a:spcBef>
              <a:buNone/>
              <a:defRPr sz="900" b="0" i="0" u="none" strike="noStrike" cap="none">
                <a:solidFill>
                  <a:schemeClr val="dk1"/>
                </a:solidFill>
                <a:latin typeface="Arial"/>
                <a:ea typeface="Arial"/>
                <a:cs typeface="Arial"/>
                <a:sym typeface="Arial"/>
              </a:defRPr>
            </a:lvl7pPr>
            <a:lvl8pPr marL="0" lvl="7" indent="0" algn="l">
              <a:spcBef>
                <a:spcPts val="0"/>
              </a:spcBef>
              <a:buNone/>
              <a:defRPr sz="900" b="0" i="0" u="none" strike="noStrike" cap="none">
                <a:solidFill>
                  <a:schemeClr val="dk1"/>
                </a:solidFill>
                <a:latin typeface="Arial"/>
                <a:ea typeface="Arial"/>
                <a:cs typeface="Arial"/>
                <a:sym typeface="Arial"/>
              </a:defRPr>
            </a:lvl8pPr>
            <a:lvl9pPr marL="0" lvl="8" indent="0" algn="l">
              <a:spcBef>
                <a:spcPts val="0"/>
              </a:spcBef>
              <a:buNone/>
              <a:defRPr sz="900" b="0" i="0" u="none" strike="noStrike" cap="none">
                <a:solidFill>
                  <a:schemeClr val="dk1"/>
                </a:solidFill>
                <a:latin typeface="Arial"/>
                <a:ea typeface="Arial"/>
                <a:cs typeface="Arial"/>
                <a:sym typeface="Arial"/>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2567916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Closing Slide">
  <p:cSld name="Closing Slide">
    <p:spTree>
      <p:nvGrpSpPr>
        <p:cNvPr id="1" name="Shape 4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577693-E403-CC14-6338-3C9F59A9814F}"/>
              </a:ext>
            </a:extLst>
          </p:cNvPr>
          <p:cNvGraphicFramePr>
            <a:graphicFrameLocks noChangeAspect="1"/>
          </p:cNvGraphicFramePr>
          <p:nvPr userDrawn="1">
            <p:custDataLst>
              <p:tags r:id="rId1"/>
            </p:custDataLst>
            <p:extLst>
              <p:ext uri="{D42A27DB-BD31-4B8C-83A1-F6EECF244321}">
                <p14:modId xmlns:p14="http://schemas.microsoft.com/office/powerpoint/2010/main" val="2139752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F1577693-E403-CC14-6338-3C9F59A981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Google Shape;44;p55"/>
          <p:cNvSpPr/>
          <p:nvPr/>
        </p:nvSpPr>
        <p:spPr>
          <a:xfrm>
            <a:off x="0" y="-1"/>
            <a:ext cx="12192000" cy="685800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sp>
        <p:nvSpPr>
          <p:cNvPr id="45" name="Google Shape;45;p55"/>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46" name="Google Shape;46;p55"/>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47" name="Google Shape;47;p55"/>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pic>
        <p:nvPicPr>
          <p:cNvPr id="48" name="Google Shape;48;p55" descr="A picture containing picture frame&#10;&#10;Description automatically generated"/>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0" y="1"/>
            <a:ext cx="12192000" cy="6858000"/>
          </a:xfrm>
          <a:prstGeom prst="rect">
            <a:avLst/>
          </a:prstGeom>
          <a:noFill/>
          <a:ln>
            <a:noFill/>
          </a:ln>
        </p:spPr>
      </p:pic>
      <p:sp>
        <p:nvSpPr>
          <p:cNvPr id="49" name="Google Shape;49;p55"/>
          <p:cNvSpPr/>
          <p:nvPr/>
        </p:nvSpPr>
        <p:spPr>
          <a:xfrm>
            <a:off x="7196138" y="0"/>
            <a:ext cx="4995862" cy="6858000"/>
          </a:xfrm>
          <a:prstGeom prst="rect">
            <a:avLst/>
          </a:prstGeom>
          <a:solidFill>
            <a:schemeClr val="dk2">
              <a:alpha val="8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sp>
        <p:nvSpPr>
          <p:cNvPr id="50" name="Google Shape;50;p55"/>
          <p:cNvSpPr/>
          <p:nvPr/>
        </p:nvSpPr>
        <p:spPr>
          <a:xfrm>
            <a:off x="7196139" y="580572"/>
            <a:ext cx="4633912" cy="5693228"/>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pic>
        <p:nvPicPr>
          <p:cNvPr id="51" name="Google Shape;51;p55"/>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7523195" y="1389062"/>
            <a:ext cx="3507015" cy="508606"/>
          </a:xfrm>
          <a:prstGeom prst="rect">
            <a:avLst/>
          </a:prstGeom>
          <a:noFill/>
          <a:ln>
            <a:noFill/>
          </a:ln>
        </p:spPr>
      </p:pic>
      <p:cxnSp>
        <p:nvCxnSpPr>
          <p:cNvPr id="52" name="Google Shape;52;p55"/>
          <p:cNvCxnSpPr/>
          <p:nvPr/>
        </p:nvCxnSpPr>
        <p:spPr>
          <a:xfrm>
            <a:off x="7640638" y="3330069"/>
            <a:ext cx="3719286" cy="0"/>
          </a:xfrm>
          <a:prstGeom prst="straightConnector1">
            <a:avLst/>
          </a:prstGeom>
          <a:noFill/>
          <a:ln w="12700" cap="flat" cmpd="sng">
            <a:solidFill>
              <a:schemeClr val="accent6"/>
            </a:solidFill>
            <a:prstDash val="solid"/>
            <a:miter lim="800000"/>
            <a:headEnd type="none" w="sm" len="sm"/>
            <a:tailEnd type="none" w="sm" len="sm"/>
          </a:ln>
        </p:spPr>
      </p:cxnSp>
      <p:sp>
        <p:nvSpPr>
          <p:cNvPr id="53" name="Google Shape;53;p55"/>
          <p:cNvSpPr txBox="1">
            <a:spLocks noGrp="1"/>
          </p:cNvSpPr>
          <p:nvPr>
            <p:ph type="title"/>
          </p:nvPr>
        </p:nvSpPr>
        <p:spPr>
          <a:xfrm>
            <a:off x="7640638" y="2453088"/>
            <a:ext cx="3719286" cy="756449"/>
          </a:xfrm>
          <a:prstGeom prst="rect">
            <a:avLst/>
          </a:prstGeom>
          <a:noFill/>
          <a:ln>
            <a:noFill/>
          </a:ln>
        </p:spPr>
        <p:txBody>
          <a:bodyPr spcFirstLastPara="1" wrap="square" lIns="0" tIns="540000" rIns="72000" bIns="72000" anchor="ctr" anchorCtr="0">
            <a:normAutofit/>
          </a:bodyPr>
          <a:lstStyle>
            <a:lvl1pPr lvl="0" algn="l" rtl="0">
              <a:lnSpc>
                <a:spcPct val="90000"/>
              </a:lnSpc>
              <a:spcBef>
                <a:spcPts val="0"/>
              </a:spcBef>
              <a:spcAft>
                <a:spcPts val="0"/>
              </a:spcAft>
              <a:buClr>
                <a:schemeClr val="dk1"/>
              </a:buClr>
              <a:buSzPts val="2000"/>
              <a:buFont typeface="Arial"/>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54" name="Google Shape;54;p55"/>
          <p:cNvSpPr txBox="1">
            <a:spLocks noGrp="1"/>
          </p:cNvSpPr>
          <p:nvPr>
            <p:ph type="body" idx="1"/>
          </p:nvPr>
        </p:nvSpPr>
        <p:spPr>
          <a:xfrm>
            <a:off x="7640638" y="3450601"/>
            <a:ext cx="3719512" cy="362691"/>
          </a:xfrm>
          <a:prstGeom prst="rect">
            <a:avLst/>
          </a:prstGeom>
          <a:noFill/>
          <a:ln>
            <a:noFill/>
          </a:ln>
        </p:spPr>
        <p:txBody>
          <a:bodyPr spcFirstLastPara="1" wrap="square" lIns="0" tIns="72000" rIns="72000" bIns="72000" anchor="ctr" anchorCtr="0">
            <a:normAutofit/>
          </a:bodyPr>
          <a:lstStyle>
            <a:lvl1pPr marL="457200" lvl="0" indent="-228600" algn="l" rtl="0">
              <a:lnSpc>
                <a:spcPct val="90000"/>
              </a:lnSpc>
              <a:spcBef>
                <a:spcPts val="1000"/>
              </a:spcBef>
              <a:spcAft>
                <a:spcPts val="0"/>
              </a:spcAft>
              <a:buSzPts val="1600"/>
              <a:buNone/>
              <a:defRPr sz="1600" b="1">
                <a:solidFill>
                  <a:schemeClr val="accent1"/>
                </a:solidFill>
                <a:latin typeface="Arial"/>
                <a:ea typeface="Arial"/>
                <a:cs typeface="Arial"/>
                <a:sym typeface="Arial"/>
              </a:defRPr>
            </a:lvl1pPr>
            <a:lvl2pPr marL="914400" lvl="1" indent="-228600" algn="l">
              <a:lnSpc>
                <a:spcPct val="90000"/>
              </a:lnSpc>
              <a:spcBef>
                <a:spcPts val="500"/>
              </a:spcBef>
              <a:spcAft>
                <a:spcPts val="0"/>
              </a:spcAft>
              <a:buSzPts val="1400"/>
              <a:buNone/>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55" name="Google Shape;55;p55"/>
          <p:cNvSpPr txBox="1">
            <a:spLocks noGrp="1"/>
          </p:cNvSpPr>
          <p:nvPr>
            <p:ph type="body" idx="2"/>
          </p:nvPr>
        </p:nvSpPr>
        <p:spPr>
          <a:xfrm>
            <a:off x="7640638" y="3933825"/>
            <a:ext cx="3719512" cy="361950"/>
          </a:xfrm>
          <a:prstGeom prst="rect">
            <a:avLst/>
          </a:prstGeom>
          <a:noFill/>
          <a:ln>
            <a:noFill/>
          </a:ln>
        </p:spPr>
        <p:txBody>
          <a:bodyPr spcFirstLastPara="1" wrap="square" lIns="0" tIns="72000" rIns="72000" bIns="72000" anchor="ctr" anchorCtr="0">
            <a:normAutofit/>
          </a:bodyPr>
          <a:lstStyle>
            <a:lvl1pPr marL="457200" lvl="0" indent="-228600" algn="l" rtl="0">
              <a:lnSpc>
                <a:spcPct val="90000"/>
              </a:lnSpc>
              <a:spcBef>
                <a:spcPts val="1000"/>
              </a:spcBef>
              <a:spcAft>
                <a:spcPts val="0"/>
              </a:spcAft>
              <a:buSzPts val="1600"/>
              <a:buNone/>
              <a:defRPr>
                <a:solidFill>
                  <a:schemeClr val="accent5"/>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Tree>
    <p:extLst>
      <p:ext uri="{BB962C8B-B14F-4D97-AF65-F5344CB8AC3E}">
        <p14:creationId xmlns:p14="http://schemas.microsoft.com/office/powerpoint/2010/main" val="507256031"/>
      </p:ext>
    </p:extLst>
  </p:cSld>
  <p:clrMapOvr>
    <a:masterClrMapping/>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060BDA-0EB2-97C3-C8D1-EA0949D5DA85}"/>
              </a:ext>
            </a:extLst>
          </p:cNvPr>
          <p:cNvGraphicFramePr>
            <a:graphicFrameLocks noChangeAspect="1"/>
          </p:cNvGraphicFramePr>
          <p:nvPr userDrawn="1">
            <p:custDataLst>
              <p:tags r:id="rId1"/>
            </p:custDataLst>
            <p:extLst>
              <p:ext uri="{D42A27DB-BD31-4B8C-83A1-F6EECF244321}">
                <p14:modId xmlns:p14="http://schemas.microsoft.com/office/powerpoint/2010/main" val="363950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A0060BDA-0EB2-97C3-C8D1-EA0949D5DA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matchingName="Blank no logo">
  <p:cSld name="Blank no logo">
    <p:spTree>
      <p:nvGrpSpPr>
        <p:cNvPr id="1" name="Shape 6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3C2019-985F-541C-CFF9-8D16CE3478FC}"/>
              </a:ext>
            </a:extLst>
          </p:cNvPr>
          <p:cNvGraphicFramePr>
            <a:graphicFrameLocks noChangeAspect="1"/>
          </p:cNvGraphicFramePr>
          <p:nvPr userDrawn="1">
            <p:custDataLst>
              <p:tags r:id="rId1"/>
            </p:custDataLst>
            <p:extLst>
              <p:ext uri="{D42A27DB-BD31-4B8C-83A1-F6EECF244321}">
                <p14:modId xmlns:p14="http://schemas.microsoft.com/office/powerpoint/2010/main" val="177402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CB3C2019-985F-541C-CFF9-8D16CE3478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3" name="Google Shape;63;p57"/>
          <p:cNvSpPr txBox="1"/>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fld id="{00000000-1234-1234-1234-123412341234}" type="slidenum">
              <a:rPr lang="en-US" sz="900" smtClean="0">
                <a:solidFill>
                  <a:schemeClr val="accent5"/>
                </a:solidFill>
                <a:latin typeface="Arial"/>
                <a:ea typeface="Arial"/>
                <a:cs typeface="Arial"/>
                <a:sym typeface="Arial"/>
              </a:rPr>
              <a:pPr marL="0" marR="0" lvl="0" indent="0" algn="l" rtl="0">
                <a:spcBef>
                  <a:spcPts val="0"/>
                </a:spcBef>
                <a:spcAft>
                  <a:spcPts val="0"/>
                </a:spcAft>
                <a:buNone/>
              </a:pPr>
              <a:t>‹#›</a:t>
            </a:fld>
            <a:endParaRPr lang="en-US" sz="900" dirty="0">
              <a:solidFill>
                <a:schemeClr val="accent5"/>
              </a:solidFill>
              <a:latin typeface="Arial"/>
              <a:ea typeface="Arial"/>
              <a:cs typeface="Arial"/>
              <a:sym typeface="Arial"/>
            </a:endParaRPr>
          </a:p>
        </p:txBody>
      </p:sp>
    </p:spTree>
    <p:extLst>
      <p:ext uri="{BB962C8B-B14F-4D97-AF65-F5344CB8AC3E}">
        <p14:creationId xmlns:p14="http://schemas.microsoft.com/office/powerpoint/2010/main" val="4182720693"/>
      </p:ext>
    </p:extLst>
  </p:cSld>
  <p:clrMapOvr>
    <a:masterClrMapping/>
  </p:clrMapOvr>
  <p:transition spd="slow">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Large image">
  <p:cSld name="Large image">
    <p:spTree>
      <p:nvGrpSpPr>
        <p:cNvPr id="1" name="Shape 6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F826E9-9424-503F-F749-E3A90ADE861B}"/>
              </a:ext>
            </a:extLst>
          </p:cNvPr>
          <p:cNvGraphicFramePr>
            <a:graphicFrameLocks noChangeAspect="1"/>
          </p:cNvGraphicFramePr>
          <p:nvPr userDrawn="1">
            <p:custDataLst>
              <p:tags r:id="rId1"/>
            </p:custDataLst>
            <p:extLst>
              <p:ext uri="{D42A27DB-BD31-4B8C-83A1-F6EECF244321}">
                <p14:modId xmlns:p14="http://schemas.microsoft.com/office/powerpoint/2010/main" val="369674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BAF826E9-9424-503F-F749-E3A90ADE86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5" name="Google Shape;65;p58"/>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66" name="Google Shape;66;p58"/>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67" name="Google Shape;67;p58"/>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68" name="Google Shape;68;p58"/>
          <p:cNvSpPr>
            <a:spLocks noGrp="1"/>
          </p:cNvSpPr>
          <p:nvPr>
            <p:ph type="pic" idx="2"/>
          </p:nvPr>
        </p:nvSpPr>
        <p:spPr>
          <a:xfrm>
            <a:off x="0" y="0"/>
            <a:ext cx="12192000" cy="6273800"/>
          </a:xfrm>
          <a:prstGeom prst="rect">
            <a:avLst/>
          </a:prstGeom>
          <a:noFill/>
          <a:ln>
            <a:noFill/>
          </a:ln>
        </p:spPr>
      </p:sp>
    </p:spTree>
    <p:extLst>
      <p:ext uri="{BB962C8B-B14F-4D97-AF65-F5344CB8AC3E}">
        <p14:creationId xmlns:p14="http://schemas.microsoft.com/office/powerpoint/2010/main" val="75366164"/>
      </p:ext>
    </p:extLst>
  </p:cSld>
  <p:clrMapOvr>
    <a:masterClrMapping/>
  </p:clrMapOvr>
  <p:transition spd="slow">
    <p:push/>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Blank 1">
  <p:cSld name="Blank 1">
    <p:spTree>
      <p:nvGrpSpPr>
        <p:cNvPr id="1" name="Shape 6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89C6E4-4F82-665B-1D7E-622BA5D87245}"/>
              </a:ext>
            </a:extLst>
          </p:cNvPr>
          <p:cNvGraphicFramePr>
            <a:graphicFrameLocks noChangeAspect="1"/>
          </p:cNvGraphicFramePr>
          <p:nvPr userDrawn="1">
            <p:custDataLst>
              <p:tags r:id="rId1"/>
            </p:custDataLst>
            <p:extLst>
              <p:ext uri="{D42A27DB-BD31-4B8C-83A1-F6EECF244321}">
                <p14:modId xmlns:p14="http://schemas.microsoft.com/office/powerpoint/2010/main" val="1902114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F289C6E4-4F82-665B-1D7E-622BA5D872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0" name="Google Shape;70;p59"/>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71" name="Google Shape;71;p59"/>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72" name="Google Shape;72;p59"/>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73" name="Google Shape;73;p59"/>
          <p:cNvSpPr/>
          <p:nvPr/>
        </p:nvSpPr>
        <p:spPr>
          <a:xfrm>
            <a:off x="0" y="1196975"/>
            <a:ext cx="12192000" cy="5076825"/>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sp>
        <p:nvSpPr>
          <p:cNvPr id="74" name="Google Shape;74;p59"/>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1615739411"/>
      </p:ext>
    </p:extLst>
  </p:cSld>
  <p:clrMapOvr>
    <a:masterClrMapping/>
  </p:clrMapOvr>
  <p:transition spd="slow">
    <p:push/>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Blank 3">
  <p:cSld name="Blank 3">
    <p:spTree>
      <p:nvGrpSpPr>
        <p:cNvPr id="1" name="Shape 7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8B15288-22B2-7C01-E11C-2D63C2943542}"/>
              </a:ext>
            </a:extLst>
          </p:cNvPr>
          <p:cNvGraphicFramePr>
            <a:graphicFrameLocks noChangeAspect="1"/>
          </p:cNvGraphicFramePr>
          <p:nvPr userDrawn="1">
            <p:custDataLst>
              <p:tags r:id="rId1"/>
            </p:custDataLst>
            <p:extLst>
              <p:ext uri="{D42A27DB-BD31-4B8C-83A1-F6EECF244321}">
                <p14:modId xmlns:p14="http://schemas.microsoft.com/office/powerpoint/2010/main" val="1419235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08B15288-22B2-7C01-E11C-2D63C29435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6" name="Google Shape;76;p60"/>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77" name="Google Shape;77;p60"/>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78" name="Google Shape;78;p60"/>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79" name="Google Shape;79;p60"/>
          <p:cNvSpPr/>
          <p:nvPr/>
        </p:nvSpPr>
        <p:spPr>
          <a:xfrm>
            <a:off x="0" y="1196975"/>
            <a:ext cx="12192000" cy="507682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sp>
        <p:nvSpPr>
          <p:cNvPr id="80" name="Google Shape;80;p60"/>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1250516707"/>
      </p:ext>
    </p:extLst>
  </p:cSld>
  <p:clrMapOvr>
    <a:masterClrMapping/>
  </p:clrMapOvr>
  <p:transition spd="slow">
    <p:push/>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wo column text">
  <p:cSld name="Two column text">
    <p:spTree>
      <p:nvGrpSpPr>
        <p:cNvPr id="1" name="Shape 8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B705BD2-86C2-0A43-23BE-6F246EF7033E}"/>
              </a:ext>
            </a:extLst>
          </p:cNvPr>
          <p:cNvGraphicFramePr>
            <a:graphicFrameLocks noChangeAspect="1"/>
          </p:cNvGraphicFramePr>
          <p:nvPr userDrawn="1">
            <p:custDataLst>
              <p:tags r:id="rId1"/>
            </p:custDataLst>
            <p:extLst>
              <p:ext uri="{D42A27DB-BD31-4B8C-83A1-F6EECF244321}">
                <p14:modId xmlns:p14="http://schemas.microsoft.com/office/powerpoint/2010/main" val="2295367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9B705BD2-86C2-0A43-23BE-6F246EF703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2" name="Google Shape;82;p61"/>
          <p:cNvSpPr txBox="1">
            <a:spLocks noGrp="1"/>
          </p:cNvSpPr>
          <p:nvPr>
            <p:ph type="body" idx="1"/>
          </p:nvPr>
        </p:nvSpPr>
        <p:spPr>
          <a:xfrm>
            <a:off x="6456363" y="4546600"/>
            <a:ext cx="5373687" cy="1727200"/>
          </a:xfrm>
          <a:prstGeom prst="rect">
            <a:avLst/>
          </a:prstGeom>
          <a:noFill/>
          <a:ln>
            <a:noFill/>
          </a:ln>
        </p:spPr>
        <p:txBody>
          <a:bodyPr spcFirstLastPara="1" wrap="square" lIns="72000" tIns="72000" rIns="72000" bIns="72000" anchor="t" anchorCtr="0">
            <a:normAutofit/>
          </a:bodyPr>
          <a:lstStyle>
            <a:lvl1pPr marL="457200" lvl="0" indent="-330200" algn="l" rtl="0">
              <a:lnSpc>
                <a:spcPct val="90000"/>
              </a:lnSpc>
              <a:spcBef>
                <a:spcPts val="1000"/>
              </a:spcBef>
              <a:spcAft>
                <a:spcPts val="0"/>
              </a:spcAft>
              <a:buSzPts val="1600"/>
              <a:buChar char="•"/>
              <a:defRPr/>
            </a:lvl1pPr>
            <a:lvl2pPr marL="914400" lvl="1" indent="-317500" algn="l">
              <a:lnSpc>
                <a:spcPct val="90000"/>
              </a:lnSpc>
              <a:spcBef>
                <a:spcPts val="500"/>
              </a:spcBef>
              <a:spcAft>
                <a:spcPts val="0"/>
              </a:spcAft>
              <a:buSzPts val="1400"/>
              <a:buChar char="•"/>
              <a:defRPr/>
            </a:lvl2pPr>
            <a:lvl3pPr marL="1371600" lvl="2" indent="-304800" algn="l">
              <a:lnSpc>
                <a:spcPct val="90000"/>
              </a:lnSpc>
              <a:spcBef>
                <a:spcPts val="500"/>
              </a:spcBef>
              <a:spcAft>
                <a:spcPts val="0"/>
              </a:spcAft>
              <a:buSzPts val="1200"/>
              <a:buChar char="•"/>
              <a:defRPr/>
            </a:lvl3pPr>
            <a:lvl4pPr marL="1828800" lvl="3" indent="-298450" algn="l">
              <a:lnSpc>
                <a:spcPct val="90000"/>
              </a:lnSpc>
              <a:spcBef>
                <a:spcPts val="500"/>
              </a:spcBef>
              <a:spcAft>
                <a:spcPts val="0"/>
              </a:spcAft>
              <a:buSzPts val="1100"/>
              <a:buChar char="•"/>
              <a:defRPr/>
            </a:lvl4pPr>
            <a:lvl5pPr marL="2286000" lvl="4" indent="-298450" algn="l">
              <a:lnSpc>
                <a:spcPct val="90000"/>
              </a:lnSpc>
              <a:spcBef>
                <a:spcPts val="500"/>
              </a:spcBef>
              <a:spcAft>
                <a:spcPts val="0"/>
              </a:spcAft>
              <a:buSzPts val="11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83" name="Google Shape;83;p61"/>
          <p:cNvSpPr txBox="1">
            <a:spLocks noGrp="1"/>
          </p:cNvSpPr>
          <p:nvPr>
            <p:ph type="body" idx="2"/>
          </p:nvPr>
        </p:nvSpPr>
        <p:spPr>
          <a:xfrm>
            <a:off x="347663" y="4546600"/>
            <a:ext cx="5397500" cy="1727200"/>
          </a:xfrm>
          <a:prstGeom prst="rect">
            <a:avLst/>
          </a:prstGeom>
          <a:noFill/>
          <a:ln>
            <a:noFill/>
          </a:ln>
        </p:spPr>
        <p:txBody>
          <a:bodyPr spcFirstLastPara="1" wrap="square" lIns="72000" tIns="72000" rIns="72000" bIns="72000" anchor="t" anchorCtr="0">
            <a:normAutofit/>
          </a:bodyPr>
          <a:lstStyle>
            <a:lvl1pPr marL="457200" lvl="0" indent="-330200" algn="l" rtl="0">
              <a:lnSpc>
                <a:spcPct val="90000"/>
              </a:lnSpc>
              <a:spcBef>
                <a:spcPts val="1000"/>
              </a:spcBef>
              <a:spcAft>
                <a:spcPts val="0"/>
              </a:spcAft>
              <a:buSzPts val="1600"/>
              <a:buChar char="•"/>
              <a:defRPr/>
            </a:lvl1pPr>
            <a:lvl2pPr marL="914400" lvl="1" indent="-317500" algn="l">
              <a:lnSpc>
                <a:spcPct val="90000"/>
              </a:lnSpc>
              <a:spcBef>
                <a:spcPts val="500"/>
              </a:spcBef>
              <a:spcAft>
                <a:spcPts val="0"/>
              </a:spcAft>
              <a:buSzPts val="1400"/>
              <a:buChar char="•"/>
              <a:defRPr/>
            </a:lvl2pPr>
            <a:lvl3pPr marL="1371600" lvl="2" indent="-304800" algn="l">
              <a:lnSpc>
                <a:spcPct val="90000"/>
              </a:lnSpc>
              <a:spcBef>
                <a:spcPts val="500"/>
              </a:spcBef>
              <a:spcAft>
                <a:spcPts val="0"/>
              </a:spcAft>
              <a:buSzPts val="1200"/>
              <a:buChar char="•"/>
              <a:defRPr/>
            </a:lvl3pPr>
            <a:lvl4pPr marL="1828800" lvl="3" indent="-298450" algn="l">
              <a:lnSpc>
                <a:spcPct val="90000"/>
              </a:lnSpc>
              <a:spcBef>
                <a:spcPts val="500"/>
              </a:spcBef>
              <a:spcAft>
                <a:spcPts val="0"/>
              </a:spcAft>
              <a:buSzPts val="1100"/>
              <a:buChar char="•"/>
              <a:defRPr/>
            </a:lvl4pPr>
            <a:lvl5pPr marL="2286000" lvl="4" indent="-298450" algn="l">
              <a:lnSpc>
                <a:spcPct val="90000"/>
              </a:lnSpc>
              <a:spcBef>
                <a:spcPts val="500"/>
              </a:spcBef>
              <a:spcAft>
                <a:spcPts val="0"/>
              </a:spcAft>
              <a:buSzPts val="11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84" name="Google Shape;84;p61"/>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85" name="Google Shape;85;p61"/>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86" name="Google Shape;86;p61"/>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87" name="Google Shape;87;p61"/>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1024547152"/>
      </p:ext>
    </p:extLst>
  </p:cSld>
  <p:clrMapOvr>
    <a:masterClrMapping/>
  </p:clrMapOvr>
  <p:transition spd="slow">
    <p:push/>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hree column text ">
  <p:cSld name="Three column text ">
    <p:spTree>
      <p:nvGrpSpPr>
        <p:cNvPr id="1" name="Shape 8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253208-7687-8F23-01C8-714D524E12FC}"/>
              </a:ext>
            </a:extLst>
          </p:cNvPr>
          <p:cNvGraphicFramePr>
            <a:graphicFrameLocks noChangeAspect="1"/>
          </p:cNvGraphicFramePr>
          <p:nvPr userDrawn="1">
            <p:custDataLst>
              <p:tags r:id="rId1"/>
            </p:custDataLst>
            <p:extLst>
              <p:ext uri="{D42A27DB-BD31-4B8C-83A1-F6EECF244321}">
                <p14:modId xmlns:p14="http://schemas.microsoft.com/office/powerpoint/2010/main" val="1164260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AE253208-7687-8F23-01C8-714D524E12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9" name="Google Shape;89;p62"/>
          <p:cNvSpPr txBox="1">
            <a:spLocks noGrp="1"/>
          </p:cNvSpPr>
          <p:nvPr>
            <p:ph type="body" idx="1"/>
          </p:nvPr>
        </p:nvSpPr>
        <p:spPr>
          <a:xfrm>
            <a:off x="347663" y="4191000"/>
            <a:ext cx="3649662" cy="2082800"/>
          </a:xfrm>
          <a:prstGeom prst="rect">
            <a:avLst/>
          </a:prstGeom>
          <a:no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600"/>
              <a:buNone/>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200"/>
              <a:buNone/>
              <a:defRPr/>
            </a:lvl3pPr>
            <a:lvl4pPr marL="1828800" lvl="3" indent="-228600" algn="l">
              <a:lnSpc>
                <a:spcPct val="90000"/>
              </a:lnSpc>
              <a:spcBef>
                <a:spcPts val="500"/>
              </a:spcBef>
              <a:spcAft>
                <a:spcPts val="0"/>
              </a:spcAft>
              <a:buSzPts val="1100"/>
              <a:buNone/>
              <a:defRPr/>
            </a:lvl4pPr>
            <a:lvl5pPr marL="2286000" lvl="4" indent="-228600" algn="l">
              <a:lnSpc>
                <a:spcPct val="90000"/>
              </a:lnSpc>
              <a:spcBef>
                <a:spcPts val="500"/>
              </a:spcBef>
              <a:spcAft>
                <a:spcPts val="0"/>
              </a:spcAft>
              <a:buSzPts val="11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90" name="Google Shape;90;p62"/>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91" name="Google Shape;91;p62"/>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92" name="Google Shape;92;p62"/>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93" name="Google Shape;93;p62"/>
          <p:cNvSpPr txBox="1">
            <a:spLocks noGrp="1"/>
          </p:cNvSpPr>
          <p:nvPr>
            <p:ph type="body" idx="2"/>
          </p:nvPr>
        </p:nvSpPr>
        <p:spPr>
          <a:xfrm>
            <a:off x="4271963" y="4191000"/>
            <a:ext cx="3646487" cy="2079625"/>
          </a:xfrm>
          <a:prstGeom prst="rect">
            <a:avLst/>
          </a:prstGeom>
          <a:no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600"/>
              <a:buNone/>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200"/>
              <a:buNone/>
              <a:defRPr/>
            </a:lvl3pPr>
            <a:lvl4pPr marL="1828800" lvl="3" indent="-228600" algn="l">
              <a:lnSpc>
                <a:spcPct val="90000"/>
              </a:lnSpc>
              <a:spcBef>
                <a:spcPts val="500"/>
              </a:spcBef>
              <a:spcAft>
                <a:spcPts val="0"/>
              </a:spcAft>
              <a:buSzPts val="1100"/>
              <a:buNone/>
              <a:defRPr/>
            </a:lvl4pPr>
            <a:lvl5pPr marL="2286000" lvl="4" indent="-228600" algn="l">
              <a:lnSpc>
                <a:spcPct val="90000"/>
              </a:lnSpc>
              <a:spcBef>
                <a:spcPts val="500"/>
              </a:spcBef>
              <a:spcAft>
                <a:spcPts val="0"/>
              </a:spcAft>
              <a:buSzPts val="11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94" name="Google Shape;94;p62"/>
          <p:cNvSpPr txBox="1">
            <a:spLocks noGrp="1"/>
          </p:cNvSpPr>
          <p:nvPr>
            <p:ph type="body" idx="3"/>
          </p:nvPr>
        </p:nvSpPr>
        <p:spPr>
          <a:xfrm>
            <a:off x="8180388" y="4194175"/>
            <a:ext cx="3646487" cy="2076450"/>
          </a:xfrm>
          <a:prstGeom prst="rect">
            <a:avLst/>
          </a:prstGeom>
          <a:no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600"/>
              <a:buNone/>
              <a:defRPr/>
            </a:lvl1pPr>
            <a:lvl2pPr marL="914400" lvl="1" indent="-228600" algn="l">
              <a:lnSpc>
                <a:spcPct val="90000"/>
              </a:lnSpc>
              <a:spcBef>
                <a:spcPts val="500"/>
              </a:spcBef>
              <a:spcAft>
                <a:spcPts val="0"/>
              </a:spcAft>
              <a:buSzPts val="1400"/>
              <a:buNone/>
              <a:defRPr/>
            </a:lvl2pPr>
            <a:lvl3pPr marL="1371600" lvl="2" indent="-228600" algn="l">
              <a:lnSpc>
                <a:spcPct val="90000"/>
              </a:lnSpc>
              <a:spcBef>
                <a:spcPts val="500"/>
              </a:spcBef>
              <a:spcAft>
                <a:spcPts val="0"/>
              </a:spcAft>
              <a:buSzPts val="1200"/>
              <a:buNone/>
              <a:defRPr/>
            </a:lvl3pPr>
            <a:lvl4pPr marL="1828800" lvl="3" indent="-228600" algn="l">
              <a:lnSpc>
                <a:spcPct val="90000"/>
              </a:lnSpc>
              <a:spcBef>
                <a:spcPts val="500"/>
              </a:spcBef>
              <a:spcAft>
                <a:spcPts val="0"/>
              </a:spcAft>
              <a:buSzPts val="1100"/>
              <a:buNone/>
              <a:defRPr/>
            </a:lvl4pPr>
            <a:lvl5pPr marL="2286000" lvl="4" indent="-228600" algn="l">
              <a:lnSpc>
                <a:spcPct val="90000"/>
              </a:lnSpc>
              <a:spcBef>
                <a:spcPts val="500"/>
              </a:spcBef>
              <a:spcAft>
                <a:spcPts val="0"/>
              </a:spcAft>
              <a:buSzPts val="11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95" name="Google Shape;95;p62"/>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1649060445"/>
      </p:ext>
    </p:extLst>
  </p:cSld>
  <p:clrMapOvr>
    <a:masterClrMapping/>
  </p:clrMapOvr>
  <p:transition spd="slow">
    <p:push/>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five coloumn text">
  <p:cSld name="five coloumn text">
    <p:spTree>
      <p:nvGrpSpPr>
        <p:cNvPr id="1" name="Shape 9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ED42BC-A98D-FF66-7F9C-23D31CABF796}"/>
              </a:ext>
            </a:extLst>
          </p:cNvPr>
          <p:cNvGraphicFramePr>
            <a:graphicFrameLocks noChangeAspect="1"/>
          </p:cNvGraphicFramePr>
          <p:nvPr userDrawn="1">
            <p:custDataLst>
              <p:tags r:id="rId1"/>
            </p:custDataLst>
            <p:extLst>
              <p:ext uri="{D42A27DB-BD31-4B8C-83A1-F6EECF244321}">
                <p14:modId xmlns:p14="http://schemas.microsoft.com/office/powerpoint/2010/main" val="125752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D3ED42BC-A98D-FF66-7F9C-23D31CABF7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7" name="Google Shape;97;p63"/>
          <p:cNvSpPr txBox="1">
            <a:spLocks noGrp="1"/>
          </p:cNvSpPr>
          <p:nvPr>
            <p:ph type="body" idx="1"/>
          </p:nvPr>
        </p:nvSpPr>
        <p:spPr>
          <a:xfrm>
            <a:off x="334963" y="2824163"/>
            <a:ext cx="2227262" cy="3449637"/>
          </a:xfrm>
          <a:prstGeom prst="rect">
            <a:avLst/>
          </a:prstGeom>
          <a:solidFill>
            <a:schemeClr val="dk2"/>
          </a:solid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400"/>
              <a:buNone/>
              <a:defRPr sz="1400">
                <a:solidFill>
                  <a:schemeClr val="lt1"/>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98" name="Google Shape;98;p63"/>
          <p:cNvSpPr txBox="1">
            <a:spLocks noGrp="1"/>
          </p:cNvSpPr>
          <p:nvPr>
            <p:ph type="body" idx="2"/>
          </p:nvPr>
        </p:nvSpPr>
        <p:spPr>
          <a:xfrm>
            <a:off x="2679669" y="2824163"/>
            <a:ext cx="2200306" cy="3449637"/>
          </a:xfrm>
          <a:prstGeom prst="rect">
            <a:avLst/>
          </a:prstGeom>
          <a:solidFill>
            <a:schemeClr val="dk2"/>
          </a:solid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400"/>
              <a:buNone/>
              <a:defRPr sz="1400">
                <a:solidFill>
                  <a:schemeClr val="lt1"/>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99" name="Google Shape;99;p63"/>
          <p:cNvSpPr txBox="1">
            <a:spLocks noGrp="1"/>
          </p:cNvSpPr>
          <p:nvPr>
            <p:ph type="body" idx="3"/>
          </p:nvPr>
        </p:nvSpPr>
        <p:spPr>
          <a:xfrm>
            <a:off x="4998975" y="2824163"/>
            <a:ext cx="2201862" cy="3449637"/>
          </a:xfrm>
          <a:prstGeom prst="rect">
            <a:avLst/>
          </a:prstGeom>
          <a:solidFill>
            <a:schemeClr val="dk2"/>
          </a:solid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400"/>
              <a:buNone/>
              <a:defRPr sz="1400">
                <a:solidFill>
                  <a:schemeClr val="lt1"/>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00" name="Google Shape;100;p63"/>
          <p:cNvSpPr txBox="1">
            <a:spLocks noGrp="1"/>
          </p:cNvSpPr>
          <p:nvPr>
            <p:ph type="body" idx="4"/>
          </p:nvPr>
        </p:nvSpPr>
        <p:spPr>
          <a:xfrm>
            <a:off x="7318281" y="2824163"/>
            <a:ext cx="2201862" cy="3449637"/>
          </a:xfrm>
          <a:prstGeom prst="rect">
            <a:avLst/>
          </a:prstGeom>
          <a:solidFill>
            <a:schemeClr val="dk2"/>
          </a:solid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400"/>
              <a:buNone/>
              <a:defRPr sz="1400">
                <a:solidFill>
                  <a:schemeClr val="lt1"/>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01" name="Google Shape;101;p63"/>
          <p:cNvSpPr txBox="1">
            <a:spLocks noGrp="1"/>
          </p:cNvSpPr>
          <p:nvPr>
            <p:ph type="body" idx="5"/>
          </p:nvPr>
        </p:nvSpPr>
        <p:spPr>
          <a:xfrm>
            <a:off x="9637587" y="2824163"/>
            <a:ext cx="2201862" cy="3449637"/>
          </a:xfrm>
          <a:prstGeom prst="rect">
            <a:avLst/>
          </a:prstGeom>
          <a:solidFill>
            <a:schemeClr val="dk2"/>
          </a:solid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400"/>
              <a:buNone/>
              <a:defRPr sz="1400">
                <a:solidFill>
                  <a:schemeClr val="lt1"/>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02" name="Google Shape;102;p63"/>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03" name="Google Shape;103;p63"/>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04" name="Google Shape;104;p63"/>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105" name="Google Shape;105;p63"/>
          <p:cNvSpPr txBox="1">
            <a:spLocks noGrp="1"/>
          </p:cNvSpPr>
          <p:nvPr>
            <p:ph type="title"/>
          </p:nvPr>
        </p:nvSpPr>
        <p:spPr>
          <a:xfrm>
            <a:off x="334963" y="0"/>
            <a:ext cx="4545012" cy="1018096"/>
          </a:xfrm>
          <a:prstGeom prst="rect">
            <a:avLst/>
          </a:prstGeom>
          <a:solidFill>
            <a:schemeClr val="dk1"/>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2717055529"/>
      </p:ext>
    </p:extLst>
  </p:cSld>
  <p:clrMapOvr>
    <a:masterClrMapping/>
  </p:clrMapOvr>
  <p:transition spd="slow">
    <p:push/>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Layout option 1">
  <p:cSld name="Layout option 1">
    <p:spTree>
      <p:nvGrpSpPr>
        <p:cNvPr id="1" name="Shape 1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4E2E1E-886D-85FF-86D5-9CF05E43EF39}"/>
              </a:ext>
            </a:extLst>
          </p:cNvPr>
          <p:cNvGraphicFramePr>
            <a:graphicFrameLocks noChangeAspect="1"/>
          </p:cNvGraphicFramePr>
          <p:nvPr userDrawn="1">
            <p:custDataLst>
              <p:tags r:id="rId1"/>
            </p:custDataLst>
            <p:extLst>
              <p:ext uri="{D42A27DB-BD31-4B8C-83A1-F6EECF244321}">
                <p14:modId xmlns:p14="http://schemas.microsoft.com/office/powerpoint/2010/main" val="4186999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784E2E1E-886D-85FF-86D5-9CF05E43EF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7" name="Google Shape;107;p64"/>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08" name="Google Shape;108;p64"/>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09" name="Google Shape;109;p64"/>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110" name="Google Shape;110;p64"/>
          <p:cNvSpPr/>
          <p:nvPr/>
        </p:nvSpPr>
        <p:spPr>
          <a:xfrm>
            <a:off x="4879977" y="1018097"/>
            <a:ext cx="7312024" cy="5255704"/>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sp>
        <p:nvSpPr>
          <p:cNvPr id="111" name="Google Shape;111;p64"/>
          <p:cNvSpPr txBox="1">
            <a:spLocks noGrp="1"/>
          </p:cNvSpPr>
          <p:nvPr>
            <p:ph type="body" idx="1"/>
          </p:nvPr>
        </p:nvSpPr>
        <p:spPr>
          <a:xfrm>
            <a:off x="334963" y="1196975"/>
            <a:ext cx="4398962" cy="5076825"/>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12" name="Google Shape;112;p64"/>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1738830522"/>
      </p:ext>
    </p:extLst>
  </p:cSld>
  <p:clrMapOvr>
    <a:masterClrMapping/>
  </p:clrMapOvr>
  <p:transition spd="slow">
    <p:push/>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Live Chart 1">
  <p:cSld name="Live Chart 1">
    <p:spTree>
      <p:nvGrpSpPr>
        <p:cNvPr id="1" name="Shape 1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A08E8B-53F9-FB31-8C3A-2C198C0864CC}"/>
              </a:ext>
            </a:extLst>
          </p:cNvPr>
          <p:cNvGraphicFramePr>
            <a:graphicFrameLocks noChangeAspect="1"/>
          </p:cNvGraphicFramePr>
          <p:nvPr userDrawn="1">
            <p:custDataLst>
              <p:tags r:id="rId1"/>
            </p:custDataLst>
            <p:extLst>
              <p:ext uri="{D42A27DB-BD31-4B8C-83A1-F6EECF244321}">
                <p14:modId xmlns:p14="http://schemas.microsoft.com/office/powerpoint/2010/main" val="2831749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A0A08E8B-53F9-FB31-8C3A-2C198C0864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4" name="Google Shape;114;p65"/>
          <p:cNvSpPr txBox="1">
            <a:spLocks noGrp="1"/>
          </p:cNvSpPr>
          <p:nvPr>
            <p:ph type="body" idx="1"/>
          </p:nvPr>
        </p:nvSpPr>
        <p:spPr>
          <a:xfrm>
            <a:off x="334963" y="1196976"/>
            <a:ext cx="4545012" cy="5076824"/>
          </a:xfrm>
          <a:prstGeom prst="rect">
            <a:avLst/>
          </a:prstGeom>
          <a:solidFill>
            <a:schemeClr val="lt2"/>
          </a:solidFill>
          <a:ln>
            <a:noFill/>
          </a:ln>
        </p:spPr>
        <p:txBody>
          <a:bodyPr spcFirstLastPara="1" wrap="square" lIns="180000" tIns="180000" rIns="180000" bIns="180000" anchor="t" anchorCtr="0">
            <a:normAutofit/>
          </a:bodyPr>
          <a:lstStyle>
            <a:lvl1pPr marL="457200" lvl="0" indent="-228600" algn="l" rtl="0">
              <a:lnSpc>
                <a:spcPct val="90000"/>
              </a:lnSpc>
              <a:spcBef>
                <a:spcPts val="1000"/>
              </a:spcBef>
              <a:spcAft>
                <a:spcPts val="0"/>
              </a:spcAft>
              <a:buSzPts val="1600"/>
              <a:buNone/>
              <a:defRPr>
                <a:solidFill>
                  <a:schemeClr val="dk1"/>
                </a:solidFill>
              </a:defRPr>
            </a:lvl1pPr>
            <a:lvl2pPr marL="914400" lvl="1" indent="-228600" algn="l">
              <a:lnSpc>
                <a:spcPct val="90000"/>
              </a:lnSpc>
              <a:spcBef>
                <a:spcPts val="500"/>
              </a:spcBef>
              <a:spcAft>
                <a:spcPts val="0"/>
              </a:spcAft>
              <a:buSzPts val="1400"/>
              <a:buNone/>
              <a:defRPr>
                <a:solidFill>
                  <a:schemeClr val="dk1"/>
                </a:solidFill>
              </a:defRPr>
            </a:lvl2pPr>
            <a:lvl3pPr marL="1371600" lvl="2" indent="-228600" algn="l">
              <a:lnSpc>
                <a:spcPct val="90000"/>
              </a:lnSpc>
              <a:spcBef>
                <a:spcPts val="500"/>
              </a:spcBef>
              <a:spcAft>
                <a:spcPts val="0"/>
              </a:spcAft>
              <a:buSzPts val="1200"/>
              <a:buNone/>
              <a:defRPr>
                <a:solidFill>
                  <a:schemeClr val="dk1"/>
                </a:solidFill>
              </a:defRPr>
            </a:lvl3pPr>
            <a:lvl4pPr marL="1828800" lvl="3" indent="-228600" algn="l">
              <a:lnSpc>
                <a:spcPct val="90000"/>
              </a:lnSpc>
              <a:spcBef>
                <a:spcPts val="500"/>
              </a:spcBef>
              <a:spcAft>
                <a:spcPts val="0"/>
              </a:spcAft>
              <a:buSzPts val="1100"/>
              <a:buNone/>
              <a:defRPr>
                <a:solidFill>
                  <a:schemeClr val="dk1"/>
                </a:solidFill>
              </a:defRPr>
            </a:lvl4pPr>
            <a:lvl5pPr marL="2286000" lvl="4" indent="-228600" algn="l">
              <a:lnSpc>
                <a:spcPct val="90000"/>
              </a:lnSpc>
              <a:spcBef>
                <a:spcPts val="500"/>
              </a:spcBef>
              <a:spcAft>
                <a:spcPts val="0"/>
              </a:spcAft>
              <a:buSzPts val="1100"/>
              <a:buNone/>
              <a:defRPr>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15" name="Google Shape;115;p65"/>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16" name="Google Shape;116;p65"/>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17" name="Google Shape;117;p65"/>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118" name="Google Shape;118;p65"/>
          <p:cNvSpPr>
            <a:spLocks noGrp="1"/>
          </p:cNvSpPr>
          <p:nvPr>
            <p:ph type="chart" idx="2"/>
          </p:nvPr>
        </p:nvSpPr>
        <p:spPr>
          <a:xfrm>
            <a:off x="4994275" y="1196976"/>
            <a:ext cx="6835775" cy="4318454"/>
          </a:xfrm>
          <a:prstGeom prst="rect">
            <a:avLst/>
          </a:prstGeom>
          <a:noFill/>
          <a:ln>
            <a:noFill/>
          </a:ln>
        </p:spPr>
        <p:txBody>
          <a:bodyPr spcFirstLastPara="1" wrap="square" lIns="91425" tIns="45700" rIns="91425" bIns="792000" anchor="ctr" anchorCtr="0">
            <a:normAutofit/>
          </a:bodyPr>
          <a:lstStyle>
            <a:lvl1pPr marR="0" lvl="0" algn="ctr" rtl="0">
              <a:lnSpc>
                <a:spcPct val="90000"/>
              </a:lnSpc>
              <a:spcBef>
                <a:spcPts val="1000"/>
              </a:spcBef>
              <a:spcAft>
                <a:spcPts val="0"/>
              </a:spcAft>
              <a:buClr>
                <a:schemeClr val="accent1"/>
              </a:buClr>
              <a:buSzPts val="1600"/>
              <a:buFont typeface="Arial"/>
              <a:buNone/>
              <a:defRPr sz="16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accent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accent1"/>
              </a:buClr>
              <a:buSzPts val="1200"/>
              <a:buFont typeface="Arial"/>
              <a:buChar char="•"/>
              <a:defRPr sz="12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accent1"/>
              </a:buClr>
              <a:buSzPts val="1100"/>
              <a:buFont typeface="Arial"/>
              <a:buChar char="•"/>
              <a:defRPr sz="11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accent1"/>
              </a:buClr>
              <a:buSzPts val="1100"/>
              <a:buFont typeface="Arial"/>
              <a:buChar char="•"/>
              <a:defRPr sz="11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dirty="0"/>
          </a:p>
        </p:txBody>
      </p:sp>
      <p:sp>
        <p:nvSpPr>
          <p:cNvPr id="119" name="Google Shape;119;p65"/>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2971159171"/>
      </p:ext>
    </p:extLst>
  </p:cSld>
  <p:clrMapOvr>
    <a:masterClrMapping/>
  </p:clrMapOvr>
  <p:transition spd="slow">
    <p:push/>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Quote slide">
  <p:cSld name="Quote slide">
    <p:spTree>
      <p:nvGrpSpPr>
        <p:cNvPr id="1" name="Shape 12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736C93-382D-9C39-DE1F-4A2448976B3B}"/>
              </a:ext>
            </a:extLst>
          </p:cNvPr>
          <p:cNvGraphicFramePr>
            <a:graphicFrameLocks noChangeAspect="1"/>
          </p:cNvGraphicFramePr>
          <p:nvPr userDrawn="1">
            <p:custDataLst>
              <p:tags r:id="rId1"/>
            </p:custDataLst>
            <p:extLst>
              <p:ext uri="{D42A27DB-BD31-4B8C-83A1-F6EECF244321}">
                <p14:modId xmlns:p14="http://schemas.microsoft.com/office/powerpoint/2010/main" val="3049777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DE736C93-382D-9C39-DE1F-4A2448976B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1" name="Google Shape;121;p66"/>
          <p:cNvSpPr/>
          <p:nvPr/>
        </p:nvSpPr>
        <p:spPr>
          <a:xfrm>
            <a:off x="0" y="0"/>
            <a:ext cx="12192000" cy="62738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grpSp>
        <p:nvGrpSpPr>
          <p:cNvPr id="122" name="Google Shape;122;p66"/>
          <p:cNvGrpSpPr/>
          <p:nvPr/>
        </p:nvGrpSpPr>
        <p:grpSpPr>
          <a:xfrm>
            <a:off x="2583686" y="847597"/>
            <a:ext cx="7024627" cy="5067026"/>
            <a:chOff x="108665" y="1515793"/>
            <a:chExt cx="5023009" cy="3623213"/>
          </a:xfrm>
        </p:grpSpPr>
        <p:sp>
          <p:nvSpPr>
            <p:cNvPr id="123" name="Google Shape;123;p66"/>
            <p:cNvSpPr/>
            <p:nvPr/>
          </p:nvSpPr>
          <p:spPr>
            <a:xfrm rot="-900000">
              <a:off x="360364" y="2057400"/>
              <a:ext cx="4519611" cy="2540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sp>
          <p:nvSpPr>
            <p:cNvPr id="124" name="Google Shape;124;p66"/>
            <p:cNvSpPr/>
            <p:nvPr/>
          </p:nvSpPr>
          <p:spPr>
            <a:xfrm>
              <a:off x="360364" y="2057400"/>
              <a:ext cx="4519611" cy="2540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grpSp>
      <p:pic>
        <p:nvPicPr>
          <p:cNvPr id="125" name="Google Shape;125;p66" descr="Open quotation mark"/>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2935685" y="1607141"/>
            <a:ext cx="531415" cy="531415"/>
          </a:xfrm>
          <a:prstGeom prst="rect">
            <a:avLst/>
          </a:prstGeom>
          <a:noFill/>
          <a:ln>
            <a:noFill/>
          </a:ln>
        </p:spPr>
      </p:pic>
      <p:pic>
        <p:nvPicPr>
          <p:cNvPr id="126" name="Google Shape;126;p66" descr="Open quotation mark"/>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rot="10800000">
            <a:off x="8724900" y="4625777"/>
            <a:ext cx="531415" cy="531415"/>
          </a:xfrm>
          <a:prstGeom prst="rect">
            <a:avLst/>
          </a:prstGeom>
          <a:noFill/>
          <a:ln>
            <a:noFill/>
          </a:ln>
        </p:spPr>
      </p:pic>
      <p:sp>
        <p:nvSpPr>
          <p:cNvPr id="127" name="Google Shape;127;p66"/>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28" name="Google Shape;128;p66"/>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29" name="Google Shape;129;p66"/>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130" name="Google Shape;130;p66"/>
          <p:cNvSpPr txBox="1">
            <a:spLocks noGrp="1"/>
          </p:cNvSpPr>
          <p:nvPr>
            <p:ph type="body" idx="1"/>
          </p:nvPr>
        </p:nvSpPr>
        <p:spPr>
          <a:xfrm>
            <a:off x="3077029" y="2242873"/>
            <a:ext cx="6008914" cy="2276475"/>
          </a:xfrm>
          <a:prstGeom prst="rect">
            <a:avLst/>
          </a:prstGeom>
          <a:noFill/>
          <a:ln>
            <a:noFill/>
          </a:ln>
        </p:spPr>
        <p:txBody>
          <a:bodyPr spcFirstLastPara="1" wrap="square" lIns="72000" tIns="72000" rIns="72000" bIns="72000" anchor="ctr" anchorCtr="0">
            <a:normAutofit/>
          </a:bodyPr>
          <a:lstStyle>
            <a:lvl1pPr marL="457200" lvl="0" indent="-228600" algn="ctr" rtl="0">
              <a:lnSpc>
                <a:spcPct val="90000"/>
              </a:lnSpc>
              <a:spcBef>
                <a:spcPts val="1000"/>
              </a:spcBef>
              <a:spcAft>
                <a:spcPts val="0"/>
              </a:spcAft>
              <a:buSzPts val="1800"/>
              <a:buNone/>
              <a:defRPr sz="1800" b="0">
                <a:solidFill>
                  <a:schemeClr val="dk1"/>
                </a:solidFill>
              </a:defRPr>
            </a:lvl1pPr>
            <a:lvl2pPr marL="914400" lvl="1" indent="-228600" algn="l">
              <a:lnSpc>
                <a:spcPct val="90000"/>
              </a:lnSpc>
              <a:spcBef>
                <a:spcPts val="500"/>
              </a:spcBef>
              <a:spcAft>
                <a:spcPts val="0"/>
              </a:spcAft>
              <a:buSzPts val="1400"/>
              <a:buNone/>
              <a:defRPr b="1"/>
            </a:lvl2pPr>
            <a:lvl3pPr marL="1371600" lvl="2" indent="-228600" algn="l">
              <a:lnSpc>
                <a:spcPct val="90000"/>
              </a:lnSpc>
              <a:spcBef>
                <a:spcPts val="500"/>
              </a:spcBef>
              <a:spcAft>
                <a:spcPts val="0"/>
              </a:spcAft>
              <a:buSzPts val="1200"/>
              <a:buNone/>
              <a:defRPr b="1"/>
            </a:lvl3pPr>
            <a:lvl4pPr marL="1828800" lvl="3" indent="-228600" algn="l">
              <a:lnSpc>
                <a:spcPct val="90000"/>
              </a:lnSpc>
              <a:spcBef>
                <a:spcPts val="500"/>
              </a:spcBef>
              <a:spcAft>
                <a:spcPts val="0"/>
              </a:spcAft>
              <a:buSzPts val="1100"/>
              <a:buNone/>
              <a:defRPr b="1"/>
            </a:lvl4pPr>
            <a:lvl5pPr marL="2286000" lvl="4" indent="-228600" algn="l">
              <a:lnSpc>
                <a:spcPct val="90000"/>
              </a:lnSpc>
              <a:spcBef>
                <a:spcPts val="500"/>
              </a:spcBef>
              <a:spcAft>
                <a:spcPts val="0"/>
              </a:spcAft>
              <a:buSzPts val="1100"/>
              <a:buNone/>
              <a:defRPr b="1"/>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Tree>
    <p:extLst>
      <p:ext uri="{BB962C8B-B14F-4D97-AF65-F5344CB8AC3E}">
        <p14:creationId xmlns:p14="http://schemas.microsoft.com/office/powerpoint/2010/main" val="2828749894"/>
      </p:ext>
    </p:extLst>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F96E9A-BC2B-275E-AE69-5001B819C948}"/>
              </a:ext>
            </a:extLst>
          </p:cNvPr>
          <p:cNvGraphicFramePr>
            <a:graphicFrameLocks noChangeAspect="1"/>
          </p:cNvGraphicFramePr>
          <p:nvPr userDrawn="1">
            <p:custDataLst>
              <p:tags r:id="rId1"/>
            </p:custDataLst>
            <p:extLst>
              <p:ext uri="{D42A27DB-BD31-4B8C-83A1-F6EECF244321}">
                <p14:modId xmlns:p14="http://schemas.microsoft.com/office/powerpoint/2010/main" val="2276378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40F96E9A-BC2B-275E-AE69-5001B819C9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solidFill>
                <a:latin typeface="+mn-lt"/>
                <a:sym typeface="Trebuchet MS" panose="020B0603020202020204" pitchFamily="34" charset="0"/>
              </a:rPr>
              <a:t>Copyright © 2023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Core 2" type="secHead">
  <p:cSld name="Core 2">
    <p:spTree>
      <p:nvGrpSpPr>
        <p:cNvPr id="1" name="Shape 1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112EF7-362F-AD9A-EEBB-16A5CFDBF7F6}"/>
              </a:ext>
            </a:extLst>
          </p:cNvPr>
          <p:cNvGraphicFramePr>
            <a:graphicFrameLocks noChangeAspect="1"/>
          </p:cNvGraphicFramePr>
          <p:nvPr userDrawn="1">
            <p:custDataLst>
              <p:tags r:id="rId1"/>
            </p:custDataLst>
            <p:extLst>
              <p:ext uri="{D42A27DB-BD31-4B8C-83A1-F6EECF244321}">
                <p14:modId xmlns:p14="http://schemas.microsoft.com/office/powerpoint/2010/main" val="1246820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63112EF7-362F-AD9A-EEBB-16A5CFDBF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9" name="Google Shape;149;p69"/>
          <p:cNvSpPr txBox="1">
            <a:spLocks noGrp="1"/>
          </p:cNvSpPr>
          <p:nvPr>
            <p:ph type="title"/>
          </p:nvPr>
        </p:nvSpPr>
        <p:spPr>
          <a:xfrm>
            <a:off x="334963" y="1196975"/>
            <a:ext cx="11495087" cy="2852737"/>
          </a:xfrm>
          <a:prstGeom prst="rect">
            <a:avLst/>
          </a:prstGeom>
          <a:no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dk2"/>
              </a:buClr>
              <a:buSzPts val="6000"/>
              <a:buFont typeface="Arial"/>
              <a:buNone/>
              <a:defRPr sz="6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50" name="Google Shape;150;p69"/>
          <p:cNvSpPr txBox="1">
            <a:spLocks noGrp="1"/>
          </p:cNvSpPr>
          <p:nvPr>
            <p:ph type="body" idx="1"/>
          </p:nvPr>
        </p:nvSpPr>
        <p:spPr>
          <a:xfrm>
            <a:off x="334963" y="4160838"/>
            <a:ext cx="11495087" cy="1500187"/>
          </a:xfrm>
          <a:prstGeom prst="rect">
            <a:avLst/>
          </a:prstGeom>
          <a:noFill/>
          <a:ln>
            <a:noFill/>
          </a:ln>
        </p:spPr>
        <p:txBody>
          <a:bodyPr spcFirstLastPara="1" wrap="square" lIns="91425" tIns="45700" rIns="91425" bIns="45700" anchor="t" anchorCtr="0">
            <a:normAutofit/>
          </a:bodyPr>
          <a:lstStyle>
            <a:lvl1pPr marL="457200" lvl="0" indent="-228600" algn="l" rtl="0">
              <a:lnSpc>
                <a:spcPct val="90000"/>
              </a:lnSpc>
              <a:spcBef>
                <a:spcPts val="1000"/>
              </a:spcBef>
              <a:spcAft>
                <a:spcPts val="0"/>
              </a:spcAft>
              <a:buSzPts val="2400"/>
              <a:buNone/>
              <a:defRPr sz="2400">
                <a:solidFill>
                  <a:srgbClr val="888888"/>
                </a:solidFill>
              </a:defRPr>
            </a:lvl1pPr>
            <a:lvl2pPr marL="914400" lvl="1" indent="-228600" algn="l">
              <a:lnSpc>
                <a:spcPct val="90000"/>
              </a:lnSpc>
              <a:spcBef>
                <a:spcPts val="500"/>
              </a:spcBef>
              <a:spcAft>
                <a:spcPts val="0"/>
              </a:spcAft>
              <a:buSzPts val="2000"/>
              <a:buNone/>
              <a:defRPr sz="2000">
                <a:solidFill>
                  <a:srgbClr val="888888"/>
                </a:solidFill>
              </a:defRPr>
            </a:lvl2pPr>
            <a:lvl3pPr marL="1371600" lvl="2" indent="-228600" algn="l">
              <a:lnSpc>
                <a:spcPct val="90000"/>
              </a:lnSpc>
              <a:spcBef>
                <a:spcPts val="500"/>
              </a:spcBef>
              <a:spcAft>
                <a:spcPts val="0"/>
              </a:spcAft>
              <a:buSzPts val="1800"/>
              <a:buNone/>
              <a:defRPr sz="1800">
                <a:solidFill>
                  <a:srgbClr val="888888"/>
                </a:solidFill>
              </a:defRPr>
            </a:lvl3pPr>
            <a:lvl4pPr marL="1828800" lvl="3" indent="-228600" algn="l">
              <a:lnSpc>
                <a:spcPct val="90000"/>
              </a:lnSpc>
              <a:spcBef>
                <a:spcPts val="500"/>
              </a:spcBef>
              <a:spcAft>
                <a:spcPts val="0"/>
              </a:spcAft>
              <a:buSzPts val="1600"/>
              <a:buNone/>
              <a:defRPr sz="1600">
                <a:solidFill>
                  <a:srgbClr val="888888"/>
                </a:solidFill>
              </a:defRPr>
            </a:lvl4pPr>
            <a:lvl5pPr marL="2286000" lvl="4" indent="-228600" algn="l">
              <a:lnSpc>
                <a:spcPct val="90000"/>
              </a:lnSpc>
              <a:spcBef>
                <a:spcPts val="500"/>
              </a:spcBef>
              <a:spcAft>
                <a:spcPts val="0"/>
              </a:spcAft>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lang="en-US" dirty="0"/>
          </a:p>
        </p:txBody>
      </p:sp>
      <p:sp>
        <p:nvSpPr>
          <p:cNvPr id="151" name="Google Shape;151;p69"/>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52" name="Google Shape;152;p69"/>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53" name="Google Shape;153;p69"/>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549215974"/>
      </p:ext>
    </p:extLst>
  </p:cSld>
  <p:clrMapOvr>
    <a:masterClrMapping/>
  </p:clrMapOvr>
  <p:transition spd="slow">
    <p:push/>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Core 3" type="twoObj">
  <p:cSld name="Core 3">
    <p:spTree>
      <p:nvGrpSpPr>
        <p:cNvPr id="1" name="Shape 15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F71D9C-E3EE-083B-7A35-C19FA984D997}"/>
              </a:ext>
            </a:extLst>
          </p:cNvPr>
          <p:cNvGraphicFramePr>
            <a:graphicFrameLocks noChangeAspect="1"/>
          </p:cNvGraphicFramePr>
          <p:nvPr userDrawn="1">
            <p:custDataLst>
              <p:tags r:id="rId1"/>
            </p:custDataLst>
            <p:extLst>
              <p:ext uri="{D42A27DB-BD31-4B8C-83A1-F6EECF244321}">
                <p14:modId xmlns:p14="http://schemas.microsoft.com/office/powerpoint/2010/main" val="2978047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96F71D9C-E3EE-083B-7A35-C19FA984D9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5" name="Google Shape;155;p70"/>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56" name="Google Shape;156;p70"/>
          <p:cNvSpPr txBox="1">
            <a:spLocks noGrp="1"/>
          </p:cNvSpPr>
          <p:nvPr>
            <p:ph type="body" idx="1"/>
          </p:nvPr>
        </p:nvSpPr>
        <p:spPr>
          <a:xfrm>
            <a:off x="334963" y="1196974"/>
            <a:ext cx="5621336" cy="5076825"/>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57" name="Google Shape;157;p70"/>
          <p:cNvSpPr txBox="1">
            <a:spLocks noGrp="1"/>
          </p:cNvSpPr>
          <p:nvPr>
            <p:ph type="body" idx="2"/>
          </p:nvPr>
        </p:nvSpPr>
        <p:spPr>
          <a:xfrm>
            <a:off x="6234113" y="1196975"/>
            <a:ext cx="5595937" cy="5076824"/>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58" name="Google Shape;158;p70"/>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59" name="Google Shape;159;p70"/>
          <p:cNvSpPr txBox="1">
            <a:spLocks noGrp="1"/>
          </p:cNvSpPr>
          <p:nvPr>
            <p:ph type="ftr" idx="11"/>
          </p:nvPr>
        </p:nvSpPr>
        <p:spPr>
          <a:xfrm>
            <a:off x="371475" y="6391177"/>
            <a:ext cx="4508500"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60" name="Google Shape;160;p70"/>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2586904162"/>
      </p:ext>
    </p:extLst>
  </p:cSld>
  <p:clrMapOvr>
    <a:masterClrMapping/>
  </p:clrMapOvr>
  <p:transition spd="slow">
    <p:push/>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Core 4">
  <p:cSld name="Core 4">
    <p:spTree>
      <p:nvGrpSpPr>
        <p:cNvPr id="1" name="Shape 16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656FC9-B421-3685-8E5C-A18880CA7BE1}"/>
              </a:ext>
            </a:extLst>
          </p:cNvPr>
          <p:cNvGraphicFramePr>
            <a:graphicFrameLocks noChangeAspect="1"/>
          </p:cNvGraphicFramePr>
          <p:nvPr userDrawn="1">
            <p:custDataLst>
              <p:tags r:id="rId1"/>
            </p:custDataLst>
            <p:extLst>
              <p:ext uri="{D42A27DB-BD31-4B8C-83A1-F6EECF244321}">
                <p14:modId xmlns:p14="http://schemas.microsoft.com/office/powerpoint/2010/main" val="4280871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39656FC9-B421-3685-8E5C-A18880CA7B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2" name="Google Shape;162;p71"/>
          <p:cNvSpPr txBox="1">
            <a:spLocks noGrp="1"/>
          </p:cNvSpPr>
          <p:nvPr>
            <p:ph type="body" idx="1"/>
          </p:nvPr>
        </p:nvSpPr>
        <p:spPr>
          <a:xfrm>
            <a:off x="334963" y="1196974"/>
            <a:ext cx="5621337" cy="806499"/>
          </a:xfrm>
          <a:prstGeom prst="rect">
            <a:avLst/>
          </a:prstGeom>
          <a:solidFill>
            <a:schemeClr val="accent2"/>
          </a:solidFill>
          <a:ln>
            <a:noFill/>
          </a:ln>
        </p:spPr>
        <p:txBody>
          <a:bodyPr spcFirstLastPara="1" wrap="square" lIns="72000" tIns="72000" rIns="72000" bIns="72000" anchor="ctr" anchorCtr="0">
            <a:normAutofit/>
          </a:bodyPr>
          <a:lstStyle>
            <a:lvl1pPr marL="457200" lvl="0" indent="-228600" algn="ctr" rtl="0">
              <a:lnSpc>
                <a:spcPct val="90000"/>
              </a:lnSpc>
              <a:spcBef>
                <a:spcPts val="1000"/>
              </a:spcBef>
              <a:spcAft>
                <a:spcPts val="0"/>
              </a:spcAft>
              <a:buSzPts val="2400"/>
              <a:buNone/>
              <a:defRPr sz="2400" b="1">
                <a:solidFill>
                  <a:schemeClr val="dk2"/>
                </a:solidFill>
              </a:defRPr>
            </a:lvl1pPr>
            <a:lvl2pPr marL="914400" lvl="1" indent="-228600" algn="l">
              <a:lnSpc>
                <a:spcPct val="90000"/>
              </a:lnSpc>
              <a:spcBef>
                <a:spcPts val="500"/>
              </a:spcBef>
              <a:spcAft>
                <a:spcPts val="0"/>
              </a:spcAft>
              <a:buSzPts val="2000"/>
              <a:buNone/>
              <a:defRPr sz="2000" b="1"/>
            </a:lvl2pPr>
            <a:lvl3pPr marL="1371600" lvl="2" indent="-228600" algn="l">
              <a:lnSpc>
                <a:spcPct val="90000"/>
              </a:lnSpc>
              <a:spcBef>
                <a:spcPts val="500"/>
              </a:spcBef>
              <a:spcAft>
                <a:spcPts val="0"/>
              </a:spcAft>
              <a:buSzPts val="1800"/>
              <a:buNone/>
              <a:defRPr sz="1800" b="1"/>
            </a:lvl3pPr>
            <a:lvl4pPr marL="1828800" lvl="3" indent="-228600" algn="l">
              <a:lnSpc>
                <a:spcPct val="90000"/>
              </a:lnSpc>
              <a:spcBef>
                <a:spcPts val="500"/>
              </a:spcBef>
              <a:spcAft>
                <a:spcPts val="0"/>
              </a:spcAft>
              <a:buSzPts val="1600"/>
              <a:buNone/>
              <a:defRPr sz="1600" b="1"/>
            </a:lvl4pPr>
            <a:lvl5pPr marL="2286000" lvl="4" indent="-228600" algn="l">
              <a:lnSpc>
                <a:spcPct val="90000"/>
              </a:lnSpc>
              <a:spcBef>
                <a:spcPts val="500"/>
              </a:spcBef>
              <a:spcAft>
                <a:spcPts val="0"/>
              </a:spcAft>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lang="en-US" dirty="0"/>
          </a:p>
        </p:txBody>
      </p:sp>
      <p:sp>
        <p:nvSpPr>
          <p:cNvPr id="163" name="Google Shape;163;p71"/>
          <p:cNvSpPr txBox="1">
            <a:spLocks noGrp="1"/>
          </p:cNvSpPr>
          <p:nvPr>
            <p:ph type="body" idx="2"/>
          </p:nvPr>
        </p:nvSpPr>
        <p:spPr>
          <a:xfrm>
            <a:off x="334963" y="2176052"/>
            <a:ext cx="5621337" cy="4113623"/>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64" name="Google Shape;164;p71"/>
          <p:cNvSpPr txBox="1">
            <a:spLocks noGrp="1"/>
          </p:cNvSpPr>
          <p:nvPr>
            <p:ph type="body" idx="3"/>
          </p:nvPr>
        </p:nvSpPr>
        <p:spPr>
          <a:xfrm>
            <a:off x="6235702" y="1196974"/>
            <a:ext cx="5594348" cy="806499"/>
          </a:xfrm>
          <a:prstGeom prst="rect">
            <a:avLst/>
          </a:prstGeom>
          <a:solidFill>
            <a:schemeClr val="accent2"/>
          </a:solidFill>
          <a:ln>
            <a:noFill/>
          </a:ln>
        </p:spPr>
        <p:txBody>
          <a:bodyPr spcFirstLastPara="1" wrap="square" lIns="72000" tIns="72000" rIns="72000" bIns="72000" anchor="ctr" anchorCtr="0">
            <a:normAutofit/>
          </a:bodyPr>
          <a:lstStyle>
            <a:lvl1pPr marL="457200" lvl="0" indent="-228600" algn="ctr" rtl="0">
              <a:lnSpc>
                <a:spcPct val="90000"/>
              </a:lnSpc>
              <a:spcBef>
                <a:spcPts val="1000"/>
              </a:spcBef>
              <a:spcAft>
                <a:spcPts val="0"/>
              </a:spcAft>
              <a:buSzPts val="2400"/>
              <a:buNone/>
              <a:defRPr sz="2400" b="1">
                <a:solidFill>
                  <a:schemeClr val="dk2"/>
                </a:solidFill>
              </a:defRPr>
            </a:lvl1pPr>
            <a:lvl2pPr marL="914400" lvl="1" indent="-228600" algn="l">
              <a:lnSpc>
                <a:spcPct val="90000"/>
              </a:lnSpc>
              <a:spcBef>
                <a:spcPts val="500"/>
              </a:spcBef>
              <a:spcAft>
                <a:spcPts val="0"/>
              </a:spcAft>
              <a:buSzPts val="2000"/>
              <a:buNone/>
              <a:defRPr sz="2000" b="1"/>
            </a:lvl2pPr>
            <a:lvl3pPr marL="1371600" lvl="2" indent="-228600" algn="l">
              <a:lnSpc>
                <a:spcPct val="90000"/>
              </a:lnSpc>
              <a:spcBef>
                <a:spcPts val="500"/>
              </a:spcBef>
              <a:spcAft>
                <a:spcPts val="0"/>
              </a:spcAft>
              <a:buSzPts val="1800"/>
              <a:buNone/>
              <a:defRPr sz="1800" b="1"/>
            </a:lvl3pPr>
            <a:lvl4pPr marL="1828800" lvl="3" indent="-228600" algn="l">
              <a:lnSpc>
                <a:spcPct val="90000"/>
              </a:lnSpc>
              <a:spcBef>
                <a:spcPts val="500"/>
              </a:spcBef>
              <a:spcAft>
                <a:spcPts val="0"/>
              </a:spcAft>
              <a:buSzPts val="1600"/>
              <a:buNone/>
              <a:defRPr sz="1600" b="1"/>
            </a:lvl4pPr>
            <a:lvl5pPr marL="2286000" lvl="4" indent="-228600" algn="l">
              <a:lnSpc>
                <a:spcPct val="90000"/>
              </a:lnSpc>
              <a:spcBef>
                <a:spcPts val="500"/>
              </a:spcBef>
              <a:spcAft>
                <a:spcPts val="0"/>
              </a:spcAft>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lang="en-US" dirty="0"/>
          </a:p>
        </p:txBody>
      </p:sp>
      <p:sp>
        <p:nvSpPr>
          <p:cNvPr id="165" name="Google Shape;165;p71"/>
          <p:cNvSpPr txBox="1">
            <a:spLocks noGrp="1"/>
          </p:cNvSpPr>
          <p:nvPr>
            <p:ph type="body" idx="4"/>
          </p:nvPr>
        </p:nvSpPr>
        <p:spPr>
          <a:xfrm>
            <a:off x="6261102" y="2164940"/>
            <a:ext cx="5568948" cy="4113623"/>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66" name="Google Shape;166;p71"/>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67" name="Google Shape;167;p71"/>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68" name="Google Shape;168;p71"/>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169" name="Google Shape;169;p71"/>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1335516530"/>
      </p:ext>
    </p:extLst>
  </p:cSld>
  <p:clrMapOvr>
    <a:masterClrMapping/>
  </p:clrMapOvr>
  <p:transition spd="slow">
    <p:push/>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Core 5" type="objTx">
  <p:cSld name="Core 5">
    <p:spTree>
      <p:nvGrpSpPr>
        <p:cNvPr id="1" name="Shape 17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AC3752-D9A6-1D03-A664-992DE2048A3A}"/>
              </a:ext>
            </a:extLst>
          </p:cNvPr>
          <p:cNvGraphicFramePr>
            <a:graphicFrameLocks noChangeAspect="1"/>
          </p:cNvGraphicFramePr>
          <p:nvPr userDrawn="1">
            <p:custDataLst>
              <p:tags r:id="rId1"/>
            </p:custDataLst>
            <p:extLst>
              <p:ext uri="{D42A27DB-BD31-4B8C-83A1-F6EECF244321}">
                <p14:modId xmlns:p14="http://schemas.microsoft.com/office/powerpoint/2010/main" val="417708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3EAC3752-D9A6-1D03-A664-992DE2048A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1" name="Google Shape;171;p72"/>
          <p:cNvSpPr txBox="1">
            <a:spLocks noGrp="1"/>
          </p:cNvSpPr>
          <p:nvPr>
            <p:ph type="title"/>
          </p:nvPr>
        </p:nvSpPr>
        <p:spPr>
          <a:xfrm>
            <a:off x="334963" y="1196975"/>
            <a:ext cx="4545012" cy="1001811"/>
          </a:xfrm>
          <a:prstGeom prst="rect">
            <a:avLst/>
          </a:prstGeom>
          <a:no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dk2"/>
              </a:buClr>
              <a:buSzPts val="3200"/>
              <a:buFont typeface="Arial"/>
              <a:buNone/>
              <a:defRPr sz="32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72" name="Google Shape;172;p72"/>
          <p:cNvSpPr txBox="1">
            <a:spLocks noGrp="1"/>
          </p:cNvSpPr>
          <p:nvPr>
            <p:ph type="body" idx="1"/>
          </p:nvPr>
        </p:nvSpPr>
        <p:spPr>
          <a:xfrm>
            <a:off x="4994275" y="1196975"/>
            <a:ext cx="6837361" cy="5003800"/>
          </a:xfrm>
          <a:prstGeom prst="rect">
            <a:avLst/>
          </a:prstGeom>
          <a:noFill/>
          <a:ln>
            <a:noFill/>
          </a:ln>
        </p:spPr>
        <p:txBody>
          <a:bodyPr spcFirstLastPara="1" wrap="square" lIns="91425" tIns="45700" rIns="91425" bIns="45700" anchor="t" anchorCtr="0">
            <a:normAutofit/>
          </a:bodyPr>
          <a:lstStyle>
            <a:lvl1pPr marL="457200" lvl="0" indent="-431800" algn="l" rtl="0">
              <a:lnSpc>
                <a:spcPct val="90000"/>
              </a:lnSpc>
              <a:spcBef>
                <a:spcPts val="1000"/>
              </a:spcBef>
              <a:spcAft>
                <a:spcPts val="0"/>
              </a:spcAft>
              <a:buSzPts val="3200"/>
              <a:buChar char="•"/>
              <a:defRPr sz="3200"/>
            </a:lvl1pPr>
            <a:lvl2pPr marL="914400" lvl="1" indent="-406400" algn="l">
              <a:lnSpc>
                <a:spcPct val="90000"/>
              </a:lnSpc>
              <a:spcBef>
                <a:spcPts val="500"/>
              </a:spcBef>
              <a:spcAft>
                <a:spcPts val="0"/>
              </a:spcAft>
              <a:buSzPts val="2800"/>
              <a:buChar char="•"/>
              <a:defRPr sz="2800"/>
            </a:lvl2pPr>
            <a:lvl3pPr marL="1371600" lvl="2" indent="-381000" algn="l">
              <a:lnSpc>
                <a:spcPct val="90000"/>
              </a:lnSpc>
              <a:spcBef>
                <a:spcPts val="500"/>
              </a:spcBef>
              <a:spcAft>
                <a:spcPts val="0"/>
              </a:spcAft>
              <a:buSzPts val="2400"/>
              <a:buChar char="•"/>
              <a:defRPr sz="2400"/>
            </a:lvl3pPr>
            <a:lvl4pPr marL="1828800" lvl="3" indent="-355600" algn="l">
              <a:lnSpc>
                <a:spcPct val="90000"/>
              </a:lnSpc>
              <a:spcBef>
                <a:spcPts val="500"/>
              </a:spcBef>
              <a:spcAft>
                <a:spcPts val="0"/>
              </a:spcAft>
              <a:buSzPts val="2000"/>
              <a:buChar char="•"/>
              <a:defRPr sz="2000"/>
            </a:lvl4pPr>
            <a:lvl5pPr marL="2286000" lvl="4" indent="-355600" algn="l">
              <a:lnSpc>
                <a:spcPct val="90000"/>
              </a:lnSpc>
              <a:spcBef>
                <a:spcPts val="500"/>
              </a:spcBef>
              <a:spcAft>
                <a:spcPts val="0"/>
              </a:spcAft>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lang="en-US" dirty="0"/>
          </a:p>
        </p:txBody>
      </p:sp>
      <p:sp>
        <p:nvSpPr>
          <p:cNvPr id="173" name="Google Shape;173;p72"/>
          <p:cNvSpPr txBox="1">
            <a:spLocks noGrp="1"/>
          </p:cNvSpPr>
          <p:nvPr>
            <p:ph type="body" idx="2"/>
          </p:nvPr>
        </p:nvSpPr>
        <p:spPr>
          <a:xfrm>
            <a:off x="334963" y="2324100"/>
            <a:ext cx="4545012" cy="3876675"/>
          </a:xfrm>
          <a:prstGeom prst="rect">
            <a:avLst/>
          </a:prstGeom>
          <a:noFill/>
          <a:ln>
            <a:noFill/>
          </a:ln>
        </p:spPr>
        <p:txBody>
          <a:bodyPr spcFirstLastPara="1" wrap="square" lIns="91425" tIns="45700" rIns="91425" bIns="45700" anchor="t" anchorCtr="0">
            <a:normAutofit/>
          </a:bodyPr>
          <a:lstStyle>
            <a:lvl1pPr marL="457200" lvl="0" indent="-228600" algn="l" rtl="0">
              <a:lnSpc>
                <a:spcPct val="90000"/>
              </a:lnSpc>
              <a:spcBef>
                <a:spcPts val="1000"/>
              </a:spcBef>
              <a:spcAft>
                <a:spcPts val="0"/>
              </a:spcAft>
              <a:buSzPts val="1600"/>
              <a:buNone/>
              <a:defRPr sz="1600"/>
            </a:lvl1pPr>
            <a:lvl2pPr marL="914400" lvl="1" indent="-228600" algn="l">
              <a:lnSpc>
                <a:spcPct val="90000"/>
              </a:lnSpc>
              <a:spcBef>
                <a:spcPts val="500"/>
              </a:spcBef>
              <a:spcAft>
                <a:spcPts val="0"/>
              </a:spcAft>
              <a:buSzPts val="1400"/>
              <a:buNone/>
              <a:defRPr sz="1400"/>
            </a:lvl2pPr>
            <a:lvl3pPr marL="1371600" lvl="2" indent="-228600" algn="l">
              <a:lnSpc>
                <a:spcPct val="90000"/>
              </a:lnSpc>
              <a:spcBef>
                <a:spcPts val="500"/>
              </a:spcBef>
              <a:spcAft>
                <a:spcPts val="0"/>
              </a:spcAft>
              <a:buSzPts val="1200"/>
              <a:buNone/>
              <a:defRPr sz="1200"/>
            </a:lvl3pPr>
            <a:lvl4pPr marL="1828800" lvl="3" indent="-228600" algn="l">
              <a:lnSpc>
                <a:spcPct val="90000"/>
              </a:lnSpc>
              <a:spcBef>
                <a:spcPts val="500"/>
              </a:spcBef>
              <a:spcAft>
                <a:spcPts val="0"/>
              </a:spcAft>
              <a:buSzPts val="1000"/>
              <a:buNone/>
              <a:defRPr sz="1000"/>
            </a:lvl4pPr>
            <a:lvl5pPr marL="2286000" lvl="4" indent="-228600" algn="l">
              <a:lnSpc>
                <a:spcPct val="90000"/>
              </a:lnSpc>
              <a:spcBef>
                <a:spcPts val="500"/>
              </a:spcBef>
              <a:spcAft>
                <a:spcPts val="0"/>
              </a:spcAft>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lang="en-US" dirty="0"/>
          </a:p>
        </p:txBody>
      </p:sp>
      <p:sp>
        <p:nvSpPr>
          <p:cNvPr id="174" name="Google Shape;174;p72"/>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75" name="Google Shape;175;p72"/>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76" name="Google Shape;176;p72"/>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2989025520"/>
      </p:ext>
    </p:extLst>
  </p:cSld>
  <p:clrMapOvr>
    <a:masterClrMapping/>
  </p:clrMapOvr>
  <p:transition spd="slow">
    <p:push/>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Core 6" type="picTx">
  <p:cSld name="Core 6">
    <p:spTree>
      <p:nvGrpSpPr>
        <p:cNvPr id="1" name="Shape 17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DB1E65-3341-70FB-AB18-5BA8A8D917BB}"/>
              </a:ext>
            </a:extLst>
          </p:cNvPr>
          <p:cNvGraphicFramePr>
            <a:graphicFrameLocks noChangeAspect="1"/>
          </p:cNvGraphicFramePr>
          <p:nvPr userDrawn="1">
            <p:custDataLst>
              <p:tags r:id="rId1"/>
            </p:custDataLst>
            <p:extLst>
              <p:ext uri="{D42A27DB-BD31-4B8C-83A1-F6EECF244321}">
                <p14:modId xmlns:p14="http://schemas.microsoft.com/office/powerpoint/2010/main" val="4136462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9EDB1E65-3341-70FB-AB18-5BA8A8D917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8" name="Google Shape;178;p73"/>
          <p:cNvSpPr txBox="1">
            <a:spLocks noGrp="1"/>
          </p:cNvSpPr>
          <p:nvPr>
            <p:ph type="title"/>
          </p:nvPr>
        </p:nvSpPr>
        <p:spPr>
          <a:xfrm>
            <a:off x="334963" y="1196976"/>
            <a:ext cx="4545012" cy="1001810"/>
          </a:xfrm>
          <a:prstGeom prst="rect">
            <a:avLst/>
          </a:prstGeom>
          <a:no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dk2"/>
              </a:buClr>
              <a:buSzPts val="3200"/>
              <a:buFont typeface="Arial"/>
              <a:buNone/>
              <a:defRPr sz="32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79" name="Google Shape;179;p73"/>
          <p:cNvSpPr>
            <a:spLocks noGrp="1"/>
          </p:cNvSpPr>
          <p:nvPr>
            <p:ph type="pic" idx="2"/>
          </p:nvPr>
        </p:nvSpPr>
        <p:spPr>
          <a:xfrm>
            <a:off x="4994275" y="1196976"/>
            <a:ext cx="6837361" cy="5003800"/>
          </a:xfrm>
          <a:prstGeom prst="rect">
            <a:avLst/>
          </a:prstGeom>
          <a:noFill/>
          <a:ln>
            <a:noFill/>
          </a:ln>
        </p:spPr>
      </p:sp>
      <p:sp>
        <p:nvSpPr>
          <p:cNvPr id="180" name="Google Shape;180;p73"/>
          <p:cNvSpPr txBox="1">
            <a:spLocks noGrp="1"/>
          </p:cNvSpPr>
          <p:nvPr>
            <p:ph type="body" idx="1"/>
          </p:nvPr>
        </p:nvSpPr>
        <p:spPr>
          <a:xfrm>
            <a:off x="334963" y="2324100"/>
            <a:ext cx="4545012" cy="3876675"/>
          </a:xfrm>
          <a:prstGeom prst="rect">
            <a:avLst/>
          </a:prstGeom>
          <a:noFill/>
          <a:ln>
            <a:noFill/>
          </a:ln>
        </p:spPr>
        <p:txBody>
          <a:bodyPr spcFirstLastPara="1" wrap="square" lIns="91425" tIns="45700" rIns="91425" bIns="45700" anchor="t" anchorCtr="0">
            <a:normAutofit/>
          </a:bodyPr>
          <a:lstStyle>
            <a:lvl1pPr marL="457200" lvl="0" indent="-228600" algn="l" rtl="0">
              <a:lnSpc>
                <a:spcPct val="90000"/>
              </a:lnSpc>
              <a:spcBef>
                <a:spcPts val="1000"/>
              </a:spcBef>
              <a:spcAft>
                <a:spcPts val="0"/>
              </a:spcAft>
              <a:buSzPts val="1600"/>
              <a:buNone/>
              <a:defRPr sz="1600"/>
            </a:lvl1pPr>
            <a:lvl2pPr marL="914400" lvl="1" indent="-228600" algn="l">
              <a:lnSpc>
                <a:spcPct val="90000"/>
              </a:lnSpc>
              <a:spcBef>
                <a:spcPts val="500"/>
              </a:spcBef>
              <a:spcAft>
                <a:spcPts val="0"/>
              </a:spcAft>
              <a:buSzPts val="1400"/>
              <a:buNone/>
              <a:defRPr sz="1400"/>
            </a:lvl2pPr>
            <a:lvl3pPr marL="1371600" lvl="2" indent="-228600" algn="l">
              <a:lnSpc>
                <a:spcPct val="90000"/>
              </a:lnSpc>
              <a:spcBef>
                <a:spcPts val="500"/>
              </a:spcBef>
              <a:spcAft>
                <a:spcPts val="0"/>
              </a:spcAft>
              <a:buSzPts val="1200"/>
              <a:buNone/>
              <a:defRPr sz="1200"/>
            </a:lvl3pPr>
            <a:lvl4pPr marL="1828800" lvl="3" indent="-228600" algn="l">
              <a:lnSpc>
                <a:spcPct val="90000"/>
              </a:lnSpc>
              <a:spcBef>
                <a:spcPts val="500"/>
              </a:spcBef>
              <a:spcAft>
                <a:spcPts val="0"/>
              </a:spcAft>
              <a:buSzPts val="1000"/>
              <a:buNone/>
              <a:defRPr sz="1000"/>
            </a:lvl4pPr>
            <a:lvl5pPr marL="2286000" lvl="4" indent="-228600" algn="l">
              <a:lnSpc>
                <a:spcPct val="90000"/>
              </a:lnSpc>
              <a:spcBef>
                <a:spcPts val="500"/>
              </a:spcBef>
              <a:spcAft>
                <a:spcPts val="0"/>
              </a:spcAft>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lang="en-US" dirty="0"/>
          </a:p>
        </p:txBody>
      </p:sp>
      <p:sp>
        <p:nvSpPr>
          <p:cNvPr id="181" name="Google Shape;181;p73"/>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82" name="Google Shape;182;p73"/>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83" name="Google Shape;183;p73"/>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2719249426"/>
      </p:ext>
    </p:extLst>
  </p:cSld>
  <p:clrMapOvr>
    <a:masterClrMapping/>
  </p:clrMapOvr>
  <p:transition spd="slow">
    <p:push/>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Core 7" type="vertTx">
  <p:cSld name="Core 7">
    <p:spTree>
      <p:nvGrpSpPr>
        <p:cNvPr id="1" name="Shape 18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3AFA6D-3E3C-0F23-AB66-9D68DAD98197}"/>
              </a:ext>
            </a:extLst>
          </p:cNvPr>
          <p:cNvGraphicFramePr>
            <a:graphicFrameLocks noChangeAspect="1"/>
          </p:cNvGraphicFramePr>
          <p:nvPr userDrawn="1">
            <p:custDataLst>
              <p:tags r:id="rId1"/>
            </p:custDataLst>
            <p:extLst>
              <p:ext uri="{D42A27DB-BD31-4B8C-83A1-F6EECF244321}">
                <p14:modId xmlns:p14="http://schemas.microsoft.com/office/powerpoint/2010/main" val="1627512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F03AFA6D-3E3C-0F23-AB66-9D68DAD981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5" name="Google Shape;185;p74"/>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86" name="Google Shape;186;p74"/>
          <p:cNvSpPr txBox="1">
            <a:spLocks noGrp="1"/>
          </p:cNvSpPr>
          <p:nvPr>
            <p:ph type="body" idx="1"/>
          </p:nvPr>
        </p:nvSpPr>
        <p:spPr>
          <a:xfrm rot="5400000">
            <a:off x="3548192" y="-2009644"/>
            <a:ext cx="5070215" cy="11496672"/>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87" name="Google Shape;187;p74"/>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88" name="Google Shape;188;p74"/>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89" name="Google Shape;189;p74"/>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4210367331"/>
      </p:ext>
    </p:extLst>
  </p:cSld>
  <p:clrMapOvr>
    <a:masterClrMapping/>
  </p:clrMapOvr>
  <p:transition spd="slow">
    <p:push/>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Core 8" type="vertTitleAndTx">
  <p:cSld name="Core 8">
    <p:spTree>
      <p:nvGrpSpPr>
        <p:cNvPr id="1" name="Shape 19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6D8C243-EEB2-F0A8-96B1-229DCE1E3641}"/>
              </a:ext>
            </a:extLst>
          </p:cNvPr>
          <p:cNvGraphicFramePr>
            <a:graphicFrameLocks noChangeAspect="1"/>
          </p:cNvGraphicFramePr>
          <p:nvPr userDrawn="1">
            <p:custDataLst>
              <p:tags r:id="rId1"/>
            </p:custDataLst>
            <p:extLst>
              <p:ext uri="{D42A27DB-BD31-4B8C-83A1-F6EECF244321}">
                <p14:modId xmlns:p14="http://schemas.microsoft.com/office/powerpoint/2010/main" val="30315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F6D8C243-EEB2-F0A8-96B1-229DCE1E36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1" name="Google Shape;191;p75"/>
          <p:cNvSpPr txBox="1">
            <a:spLocks noGrp="1"/>
          </p:cNvSpPr>
          <p:nvPr>
            <p:ph type="title"/>
          </p:nvPr>
        </p:nvSpPr>
        <p:spPr>
          <a:xfrm rot="5400000">
            <a:off x="7739062" y="2182812"/>
            <a:ext cx="5076825" cy="3105150"/>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92" name="Google Shape;192;p75"/>
          <p:cNvSpPr txBox="1">
            <a:spLocks noGrp="1"/>
          </p:cNvSpPr>
          <p:nvPr>
            <p:ph type="body" idx="1"/>
          </p:nvPr>
        </p:nvSpPr>
        <p:spPr>
          <a:xfrm rot="5400000">
            <a:off x="1929607" y="-397669"/>
            <a:ext cx="5076825" cy="8266112"/>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93" name="Google Shape;193;p75"/>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94" name="Google Shape;194;p75"/>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95" name="Google Shape;195;p75"/>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451137927"/>
      </p:ext>
    </p:extLst>
  </p:cSld>
  <p:clrMapOvr>
    <a:masterClrMapping/>
  </p:clrMapOvr>
  <p:transition spd="slow">
    <p:push/>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93D807-8FC9-F18B-2BF1-DAC8C628CC11}"/>
              </a:ext>
            </a:extLst>
          </p:cNvPr>
          <p:cNvGraphicFramePr>
            <a:graphicFrameLocks noChangeAspect="1"/>
          </p:cNvGraphicFramePr>
          <p:nvPr userDrawn="1">
            <p:custDataLst>
              <p:tags r:id="rId1"/>
            </p:custDataLst>
            <p:extLst>
              <p:ext uri="{D42A27DB-BD31-4B8C-83A1-F6EECF244321}">
                <p14:modId xmlns:p14="http://schemas.microsoft.com/office/powerpoint/2010/main" val="341298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BD93D807-8FC9-F18B-2BF1-DAC8C628CC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DDD0CA42-2D9F-4DAF-91D0-38A44A6B126D}"/>
              </a:ext>
            </a:extLst>
          </p:cNvPr>
          <p:cNvSpPr/>
          <p:nvPr userDrawn="1"/>
        </p:nvSpPr>
        <p:spPr>
          <a:xfrm>
            <a:off x="0" y="0"/>
            <a:ext cx="12192000" cy="62674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272314858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cSld name="Blank with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27BE19-8559-8242-6559-EAFC3C5EC2EC}"/>
              </a:ext>
            </a:extLst>
          </p:cNvPr>
          <p:cNvGraphicFramePr>
            <a:graphicFrameLocks noChangeAspect="1"/>
          </p:cNvGraphicFramePr>
          <p:nvPr userDrawn="1">
            <p:custDataLst>
              <p:tags r:id="rId1"/>
            </p:custDataLst>
            <p:extLst>
              <p:ext uri="{D42A27DB-BD31-4B8C-83A1-F6EECF244321}">
                <p14:modId xmlns:p14="http://schemas.microsoft.com/office/powerpoint/2010/main" val="1104121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9527BE19-8559-8242-6559-EAFC3C5EC2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A244810-FE4A-4F21-B2F4-13AC35A16F64}"/>
              </a:ext>
            </a:extLst>
          </p:cNvPr>
          <p:cNvSpPr>
            <a:spLocks noGrp="1"/>
          </p:cNvSpPr>
          <p:nvPr>
            <p:ph type="dt" sz="half" idx="10"/>
          </p:nvPr>
        </p:nvSpPr>
        <p:spPr/>
        <p:txBody>
          <a:bodyPr/>
          <a:lstStyle>
            <a:lvl1pPr rtl="0">
              <a:defRPr/>
            </a:lvl1pPr>
          </a:lstStyle>
          <a:p>
            <a:fld id="{A9A6EF92-A23C-4EC1-9D34-7DEBB70EFFF3}" type="datetimeFigureOut">
              <a:rPr lang="en-US" smtClean="0"/>
              <a:pPr/>
              <a:t>7/20/23</a:t>
            </a:fld>
            <a:endParaRPr lang="en-US" dirty="0"/>
          </a:p>
        </p:txBody>
      </p:sp>
      <p:sp>
        <p:nvSpPr>
          <p:cNvPr id="3" name="Footer Placeholder 2">
            <a:extLst>
              <a:ext uri="{FF2B5EF4-FFF2-40B4-BE49-F238E27FC236}">
                <a16:creationId xmlns:a16="http://schemas.microsoft.com/office/drawing/2014/main" id="{866E83A7-277C-4212-B539-2F7F9C8E2338}"/>
              </a:ext>
            </a:extLst>
          </p:cNvPr>
          <p:cNvSpPr>
            <a:spLocks noGrp="1"/>
          </p:cNvSpPr>
          <p:nvPr>
            <p:ph type="ftr" sz="quarter" idx="11"/>
          </p:nvPr>
        </p:nvSpPr>
        <p:spPr/>
        <p:txBody>
          <a:bodyPr/>
          <a:lstStyle>
            <a:lvl1pPr rtl="0">
              <a:defRPr/>
            </a:lvl1pPr>
          </a:lstStyle>
          <a:p>
            <a:endParaRPr lang="en-US" dirty="0"/>
          </a:p>
        </p:txBody>
      </p:sp>
      <p:sp>
        <p:nvSpPr>
          <p:cNvPr id="4" name="Slide Number Placeholder 3">
            <a:extLst>
              <a:ext uri="{FF2B5EF4-FFF2-40B4-BE49-F238E27FC236}">
                <a16:creationId xmlns:a16="http://schemas.microsoft.com/office/drawing/2014/main" id="{13728F43-D00A-4C45-8EAA-9A34DFFF7FCB}"/>
              </a:ext>
            </a:extLst>
          </p:cNvPr>
          <p:cNvSpPr>
            <a:spLocks noGrp="1"/>
          </p:cNvSpPr>
          <p:nvPr>
            <p:ph type="sldNum" sz="quarter" idx="12"/>
          </p:nvPr>
        </p:nvSpPr>
        <p:spPr/>
        <p:txBody>
          <a:bodyPr/>
          <a:lstStyle>
            <a:lvl1pPr rtl="0">
              <a:defRPr/>
            </a:lvl1pPr>
          </a:lstStyle>
          <a:p>
            <a:fld id="{0253CDF2-F7F9-43E0-87CB-D85F6EEB53D6}" type="slidenum">
              <a:rPr lang="en-US" smtClean="0"/>
              <a:pPr/>
              <a:t>‹#›</a:t>
            </a:fld>
            <a:endParaRPr lang="en-US" dirty="0"/>
          </a:p>
        </p:txBody>
      </p:sp>
    </p:spTree>
    <p:extLst>
      <p:ext uri="{BB962C8B-B14F-4D97-AF65-F5344CB8AC3E}">
        <p14:creationId xmlns:p14="http://schemas.microsoft.com/office/powerpoint/2010/main" val="3355562957"/>
      </p:ext>
    </p:extLst>
  </p:cSld>
  <p:clrMapOvr>
    <a:masterClrMapping/>
  </p:clrMapOvr>
  <p:transition spd="slow">
    <p:push dir="u"/>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1E3AB2-8A2E-BCB7-0E91-880D7B86ADA3}"/>
              </a:ext>
            </a:extLst>
          </p:cNvPr>
          <p:cNvGraphicFramePr>
            <a:graphicFrameLocks noChangeAspect="1"/>
          </p:cNvGraphicFramePr>
          <p:nvPr userDrawn="1">
            <p:custDataLst>
              <p:tags r:id="rId1"/>
            </p:custDataLst>
            <p:extLst>
              <p:ext uri="{D42A27DB-BD31-4B8C-83A1-F6EECF244321}">
                <p14:modId xmlns:p14="http://schemas.microsoft.com/office/powerpoint/2010/main" val="234242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381E3AB2-8A2E-BCB7-0E91-880D7B86AD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Google Shape;29;p52"/>
          <p:cNvSpPr txBox="1">
            <a:spLocks noGrp="1"/>
          </p:cNvSpPr>
          <p:nvPr>
            <p:ph type="body" idx="1"/>
          </p:nvPr>
        </p:nvSpPr>
        <p:spPr>
          <a:xfrm>
            <a:off x="334963" y="1203584"/>
            <a:ext cx="11496672" cy="5070215"/>
          </a:xfrm>
          <a:prstGeom prst="rect">
            <a:avLst/>
          </a:prstGeom>
          <a:noFill/>
          <a:ln>
            <a:noFill/>
          </a:ln>
        </p:spPr>
        <p:txBody>
          <a:bodyPr spcFirstLastPara="1" wrap="square" lIns="91425" tIns="45700" rIns="91425" bIns="45700" anchor="t" anchorCtr="0">
            <a:normAutofit/>
          </a:bodyPr>
          <a:lstStyle>
            <a:lvl1pPr marL="457200" lvl="0" indent="-330200" algn="l" rtl="0">
              <a:lnSpc>
                <a:spcPct val="90000"/>
              </a:lnSpc>
              <a:spcBef>
                <a:spcPts val="1000"/>
              </a:spcBef>
              <a:spcAft>
                <a:spcPts val="0"/>
              </a:spcAft>
              <a:buSzPts val="1600"/>
              <a:buChar char="•"/>
              <a:defRPr sz="1600"/>
            </a:lvl1pPr>
            <a:lvl2pPr marL="914400" lvl="1" indent="-317500" algn="l">
              <a:lnSpc>
                <a:spcPct val="90000"/>
              </a:lnSpc>
              <a:spcBef>
                <a:spcPts val="500"/>
              </a:spcBef>
              <a:spcAft>
                <a:spcPts val="0"/>
              </a:spcAft>
              <a:buSzPts val="1400"/>
              <a:buChar char="•"/>
              <a:defRPr sz="1400"/>
            </a:lvl2pPr>
            <a:lvl3pPr marL="1371600" lvl="2" indent="-304800" algn="l">
              <a:lnSpc>
                <a:spcPct val="90000"/>
              </a:lnSpc>
              <a:spcBef>
                <a:spcPts val="500"/>
              </a:spcBef>
              <a:spcAft>
                <a:spcPts val="0"/>
              </a:spcAft>
              <a:buSzPts val="1200"/>
              <a:buChar char="•"/>
              <a:defRPr sz="1200"/>
            </a:lvl3pPr>
            <a:lvl4pPr marL="1828800" lvl="3" indent="-298450" algn="l">
              <a:lnSpc>
                <a:spcPct val="90000"/>
              </a:lnSpc>
              <a:spcBef>
                <a:spcPts val="500"/>
              </a:spcBef>
              <a:spcAft>
                <a:spcPts val="0"/>
              </a:spcAft>
              <a:buSzPts val="1100"/>
              <a:buChar char="•"/>
              <a:defRPr sz="1100"/>
            </a:lvl4pPr>
            <a:lvl5pPr marL="2286000" lvl="4" indent="-298450" algn="l">
              <a:lnSpc>
                <a:spcPct val="90000"/>
              </a:lnSpc>
              <a:spcBef>
                <a:spcPts val="500"/>
              </a:spcBef>
              <a:spcAft>
                <a:spcPts val="0"/>
              </a:spcAft>
              <a:buSzPts val="1100"/>
              <a:buChar char="•"/>
              <a:defRPr sz="11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30" name="Google Shape;30;p52"/>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31" name="Google Shape;31;p52"/>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32" name="Google Shape;32;p52"/>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33" name="Google Shape;33;p52"/>
          <p:cNvSpPr txBox="1">
            <a:spLocks noGrp="1"/>
          </p:cNvSpPr>
          <p:nvPr>
            <p:ph type="title"/>
          </p:nvPr>
        </p:nvSpPr>
        <p:spPr>
          <a:xfrm>
            <a:off x="334963" y="0"/>
            <a:ext cx="4545012" cy="1018096"/>
          </a:xfrm>
          <a:prstGeom prst="rect">
            <a:avLst/>
          </a:prstGeom>
          <a:solidFill>
            <a:schemeClr val="accent1"/>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2140933516"/>
      </p:ext>
    </p:extLst>
  </p:cSld>
  <p:clrMapOvr>
    <a:masterClrMapping/>
  </p:clrMapOvr>
  <p:transition spd="slow">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A478AF-9049-75EF-8BA9-3ADD85BBB7EB}"/>
              </a:ext>
            </a:extLst>
          </p:cNvPr>
          <p:cNvGraphicFramePr>
            <a:graphicFrameLocks noChangeAspect="1"/>
          </p:cNvGraphicFramePr>
          <p:nvPr userDrawn="1">
            <p:custDataLst>
              <p:tags r:id="rId1"/>
            </p:custDataLst>
            <p:extLst>
              <p:ext uri="{D42A27DB-BD31-4B8C-83A1-F6EECF244321}">
                <p14:modId xmlns:p14="http://schemas.microsoft.com/office/powerpoint/2010/main" val="4138618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4FA478AF-9049-75EF-8BA9-3ADD85BBB7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1E3AB2-8A2E-BCB7-0E91-880D7B86ADA3}"/>
              </a:ext>
            </a:extLst>
          </p:cNvPr>
          <p:cNvGraphicFramePr>
            <a:graphicFrameLocks noChangeAspect="1"/>
          </p:cNvGraphicFramePr>
          <p:nvPr userDrawn="1">
            <p:custDataLst>
              <p:tags r:id="rId1"/>
            </p:custDataLst>
            <p:extLst>
              <p:ext uri="{D42A27DB-BD31-4B8C-83A1-F6EECF244321}">
                <p14:modId xmlns:p14="http://schemas.microsoft.com/office/powerpoint/2010/main" val="234242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381E3AB2-8A2E-BCB7-0E91-880D7B86AD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Google Shape;29;p52"/>
          <p:cNvSpPr txBox="1">
            <a:spLocks noGrp="1"/>
          </p:cNvSpPr>
          <p:nvPr>
            <p:ph type="body" idx="1"/>
          </p:nvPr>
        </p:nvSpPr>
        <p:spPr>
          <a:xfrm>
            <a:off x="334963" y="1203584"/>
            <a:ext cx="11496672" cy="5070215"/>
          </a:xfrm>
          <a:prstGeom prst="rect">
            <a:avLst/>
          </a:prstGeom>
          <a:noFill/>
          <a:ln>
            <a:noFill/>
          </a:ln>
        </p:spPr>
        <p:txBody>
          <a:bodyPr spcFirstLastPara="1" wrap="square" lIns="91425" tIns="45700" rIns="91425" bIns="45700" anchor="t" anchorCtr="0">
            <a:normAutofit/>
          </a:bodyPr>
          <a:lstStyle>
            <a:lvl1pPr marL="457200" lvl="0" indent="-330200" algn="l" rtl="0">
              <a:lnSpc>
                <a:spcPct val="90000"/>
              </a:lnSpc>
              <a:spcBef>
                <a:spcPts val="1000"/>
              </a:spcBef>
              <a:spcAft>
                <a:spcPts val="0"/>
              </a:spcAft>
              <a:buSzPts val="1600"/>
              <a:buChar char="•"/>
              <a:defRPr sz="1600"/>
            </a:lvl1pPr>
            <a:lvl2pPr marL="914400" lvl="1" indent="-317500" algn="l">
              <a:lnSpc>
                <a:spcPct val="90000"/>
              </a:lnSpc>
              <a:spcBef>
                <a:spcPts val="500"/>
              </a:spcBef>
              <a:spcAft>
                <a:spcPts val="0"/>
              </a:spcAft>
              <a:buSzPts val="1400"/>
              <a:buChar char="•"/>
              <a:defRPr sz="1400"/>
            </a:lvl2pPr>
            <a:lvl3pPr marL="1371600" lvl="2" indent="-304800" algn="l">
              <a:lnSpc>
                <a:spcPct val="90000"/>
              </a:lnSpc>
              <a:spcBef>
                <a:spcPts val="500"/>
              </a:spcBef>
              <a:spcAft>
                <a:spcPts val="0"/>
              </a:spcAft>
              <a:buSzPts val="1200"/>
              <a:buChar char="•"/>
              <a:defRPr sz="1200"/>
            </a:lvl3pPr>
            <a:lvl4pPr marL="1828800" lvl="3" indent="-298450" algn="l">
              <a:lnSpc>
                <a:spcPct val="90000"/>
              </a:lnSpc>
              <a:spcBef>
                <a:spcPts val="500"/>
              </a:spcBef>
              <a:spcAft>
                <a:spcPts val="0"/>
              </a:spcAft>
              <a:buSzPts val="1100"/>
              <a:buChar char="•"/>
              <a:defRPr sz="1100"/>
            </a:lvl4pPr>
            <a:lvl5pPr marL="2286000" lvl="4" indent="-298450" algn="l">
              <a:lnSpc>
                <a:spcPct val="90000"/>
              </a:lnSpc>
              <a:spcBef>
                <a:spcPts val="500"/>
              </a:spcBef>
              <a:spcAft>
                <a:spcPts val="0"/>
              </a:spcAft>
              <a:buSzPts val="1100"/>
              <a:buChar char="•"/>
              <a:defRPr sz="11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30" name="Google Shape;30;p52"/>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31" name="Google Shape;31;p52"/>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32" name="Google Shape;32;p52"/>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33" name="Google Shape;33;p52"/>
          <p:cNvSpPr txBox="1">
            <a:spLocks noGrp="1"/>
          </p:cNvSpPr>
          <p:nvPr>
            <p:ph type="title"/>
          </p:nvPr>
        </p:nvSpPr>
        <p:spPr>
          <a:xfrm>
            <a:off x="334963" y="0"/>
            <a:ext cx="4545012" cy="1018096"/>
          </a:xfrm>
          <a:prstGeom prst="rect">
            <a:avLst/>
          </a:prstGeom>
          <a:solidFill>
            <a:schemeClr val="accent1"/>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2296469348"/>
      </p:ext>
    </p:extLst>
  </p:cSld>
  <p:clrMapOvr>
    <a:masterClrMapping/>
  </p:clrMapOvr>
  <p:transition spd="slow">
    <p:push/>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Closing Slide">
  <p:cSld name="Closing Slide">
    <p:spTree>
      <p:nvGrpSpPr>
        <p:cNvPr id="1" name="Shape 4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58670D-2CE5-D13A-3313-32D81D50E4B5}"/>
              </a:ext>
            </a:extLst>
          </p:cNvPr>
          <p:cNvGraphicFramePr>
            <a:graphicFrameLocks noChangeAspect="1"/>
          </p:cNvGraphicFramePr>
          <p:nvPr userDrawn="1">
            <p:custDataLst>
              <p:tags r:id="rId1"/>
            </p:custDataLst>
            <p:extLst>
              <p:ext uri="{D42A27DB-BD31-4B8C-83A1-F6EECF244321}">
                <p14:modId xmlns:p14="http://schemas.microsoft.com/office/powerpoint/2010/main" val="3561792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1458670D-2CE5-D13A-3313-32D81D50E4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Google Shape;44;p55"/>
          <p:cNvSpPr/>
          <p:nvPr/>
        </p:nvSpPr>
        <p:spPr>
          <a:xfrm>
            <a:off x="0" y="-1"/>
            <a:ext cx="12192000" cy="685800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sp>
        <p:nvSpPr>
          <p:cNvPr id="45" name="Google Shape;45;p55"/>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46" name="Google Shape;46;p55"/>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47" name="Google Shape;47;p55"/>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pic>
        <p:nvPicPr>
          <p:cNvPr id="48" name="Google Shape;48;p55" descr="A picture containing picture frame&#10;&#10;Description automatically generated"/>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0" y="1"/>
            <a:ext cx="12192000" cy="6858000"/>
          </a:xfrm>
          <a:prstGeom prst="rect">
            <a:avLst/>
          </a:prstGeom>
          <a:noFill/>
          <a:ln>
            <a:noFill/>
          </a:ln>
        </p:spPr>
      </p:pic>
      <p:sp>
        <p:nvSpPr>
          <p:cNvPr id="49" name="Google Shape;49;p55"/>
          <p:cNvSpPr/>
          <p:nvPr/>
        </p:nvSpPr>
        <p:spPr>
          <a:xfrm>
            <a:off x="7196138" y="0"/>
            <a:ext cx="4995862" cy="6858000"/>
          </a:xfrm>
          <a:prstGeom prst="rect">
            <a:avLst/>
          </a:prstGeom>
          <a:solidFill>
            <a:schemeClr val="dk2">
              <a:alpha val="8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sp>
        <p:nvSpPr>
          <p:cNvPr id="50" name="Google Shape;50;p55"/>
          <p:cNvSpPr/>
          <p:nvPr/>
        </p:nvSpPr>
        <p:spPr>
          <a:xfrm>
            <a:off x="7196139" y="580572"/>
            <a:ext cx="4633912" cy="5693228"/>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pic>
        <p:nvPicPr>
          <p:cNvPr id="51" name="Google Shape;51;p55"/>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7523195" y="1389062"/>
            <a:ext cx="3507015" cy="508606"/>
          </a:xfrm>
          <a:prstGeom prst="rect">
            <a:avLst/>
          </a:prstGeom>
          <a:noFill/>
          <a:ln>
            <a:noFill/>
          </a:ln>
        </p:spPr>
      </p:pic>
      <p:cxnSp>
        <p:nvCxnSpPr>
          <p:cNvPr id="52" name="Google Shape;52;p55"/>
          <p:cNvCxnSpPr/>
          <p:nvPr/>
        </p:nvCxnSpPr>
        <p:spPr>
          <a:xfrm>
            <a:off x="7640638" y="3330069"/>
            <a:ext cx="3719286" cy="0"/>
          </a:xfrm>
          <a:prstGeom prst="straightConnector1">
            <a:avLst/>
          </a:prstGeom>
          <a:noFill/>
          <a:ln w="12700" cap="flat" cmpd="sng">
            <a:solidFill>
              <a:schemeClr val="accent6"/>
            </a:solidFill>
            <a:prstDash val="solid"/>
            <a:miter lim="800000"/>
            <a:headEnd type="none" w="sm" len="sm"/>
            <a:tailEnd type="none" w="sm" len="sm"/>
          </a:ln>
        </p:spPr>
      </p:cxnSp>
      <p:sp>
        <p:nvSpPr>
          <p:cNvPr id="53" name="Google Shape;53;p55"/>
          <p:cNvSpPr txBox="1">
            <a:spLocks noGrp="1"/>
          </p:cNvSpPr>
          <p:nvPr>
            <p:ph type="title"/>
          </p:nvPr>
        </p:nvSpPr>
        <p:spPr>
          <a:xfrm>
            <a:off x="7640638" y="2453088"/>
            <a:ext cx="3719286" cy="756449"/>
          </a:xfrm>
          <a:prstGeom prst="rect">
            <a:avLst/>
          </a:prstGeom>
          <a:noFill/>
          <a:ln>
            <a:noFill/>
          </a:ln>
        </p:spPr>
        <p:txBody>
          <a:bodyPr spcFirstLastPara="1" wrap="square" lIns="0" tIns="540000" rIns="72000" bIns="72000" anchor="ctr" anchorCtr="0">
            <a:normAutofit/>
          </a:bodyPr>
          <a:lstStyle>
            <a:lvl1pPr lvl="0" algn="l" rtl="0">
              <a:lnSpc>
                <a:spcPct val="90000"/>
              </a:lnSpc>
              <a:spcBef>
                <a:spcPts val="0"/>
              </a:spcBef>
              <a:spcAft>
                <a:spcPts val="0"/>
              </a:spcAft>
              <a:buClr>
                <a:schemeClr val="dk1"/>
              </a:buClr>
              <a:buSzPts val="2000"/>
              <a:buFont typeface="Arial"/>
              <a:buNone/>
              <a:defRPr>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54" name="Google Shape;54;p55"/>
          <p:cNvSpPr txBox="1">
            <a:spLocks noGrp="1"/>
          </p:cNvSpPr>
          <p:nvPr>
            <p:ph type="body" idx="1"/>
          </p:nvPr>
        </p:nvSpPr>
        <p:spPr>
          <a:xfrm>
            <a:off x="7640638" y="3450601"/>
            <a:ext cx="3719512" cy="362691"/>
          </a:xfrm>
          <a:prstGeom prst="rect">
            <a:avLst/>
          </a:prstGeom>
          <a:noFill/>
          <a:ln>
            <a:noFill/>
          </a:ln>
        </p:spPr>
        <p:txBody>
          <a:bodyPr spcFirstLastPara="1" wrap="square" lIns="0" tIns="72000" rIns="72000" bIns="72000" anchor="ctr" anchorCtr="0">
            <a:normAutofit/>
          </a:bodyPr>
          <a:lstStyle>
            <a:lvl1pPr marL="457200" lvl="0" indent="-228600" algn="l" rtl="0">
              <a:lnSpc>
                <a:spcPct val="90000"/>
              </a:lnSpc>
              <a:spcBef>
                <a:spcPts val="1000"/>
              </a:spcBef>
              <a:spcAft>
                <a:spcPts val="0"/>
              </a:spcAft>
              <a:buSzPts val="1600"/>
              <a:buNone/>
              <a:defRPr sz="1600" b="1">
                <a:solidFill>
                  <a:schemeClr val="accent1"/>
                </a:solidFill>
                <a:latin typeface="Arial"/>
                <a:ea typeface="Arial"/>
                <a:cs typeface="Arial"/>
                <a:sym typeface="Arial"/>
              </a:defRPr>
            </a:lvl1pPr>
            <a:lvl2pPr marL="914400" lvl="1" indent="-228600" algn="l">
              <a:lnSpc>
                <a:spcPct val="90000"/>
              </a:lnSpc>
              <a:spcBef>
                <a:spcPts val="500"/>
              </a:spcBef>
              <a:spcAft>
                <a:spcPts val="0"/>
              </a:spcAft>
              <a:buSzPts val="1400"/>
              <a:buNone/>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55" name="Google Shape;55;p55"/>
          <p:cNvSpPr txBox="1">
            <a:spLocks noGrp="1"/>
          </p:cNvSpPr>
          <p:nvPr>
            <p:ph type="body" idx="2"/>
          </p:nvPr>
        </p:nvSpPr>
        <p:spPr>
          <a:xfrm>
            <a:off x="7640638" y="3933825"/>
            <a:ext cx="3719512" cy="361950"/>
          </a:xfrm>
          <a:prstGeom prst="rect">
            <a:avLst/>
          </a:prstGeom>
          <a:noFill/>
          <a:ln>
            <a:noFill/>
          </a:ln>
        </p:spPr>
        <p:txBody>
          <a:bodyPr spcFirstLastPara="1" wrap="square" lIns="0" tIns="72000" rIns="72000" bIns="72000" anchor="ctr" anchorCtr="0">
            <a:normAutofit/>
          </a:bodyPr>
          <a:lstStyle>
            <a:lvl1pPr marL="457200" lvl="0" indent="-228600" algn="l" rtl="0">
              <a:lnSpc>
                <a:spcPct val="90000"/>
              </a:lnSpc>
              <a:spcBef>
                <a:spcPts val="1000"/>
              </a:spcBef>
              <a:spcAft>
                <a:spcPts val="0"/>
              </a:spcAft>
              <a:buSzPts val="1600"/>
              <a:buNone/>
              <a:defRPr>
                <a:solidFill>
                  <a:schemeClr val="accent5"/>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Tree>
    <p:extLst>
      <p:ext uri="{BB962C8B-B14F-4D97-AF65-F5344CB8AC3E}">
        <p14:creationId xmlns:p14="http://schemas.microsoft.com/office/powerpoint/2010/main" val="97362676"/>
      </p:ext>
    </p:extLst>
  </p:cSld>
  <p:clrMapOvr>
    <a:masterClrMapping/>
  </p:clrMapOvr>
  <p:transition spd="slow">
    <p:push/>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Large image">
  <p:cSld name="Large image">
    <p:spTree>
      <p:nvGrpSpPr>
        <p:cNvPr id="1" name="Shape 6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1D9B8E-BE65-EF45-D227-1A52457CBE81}"/>
              </a:ext>
            </a:extLst>
          </p:cNvPr>
          <p:cNvGraphicFramePr>
            <a:graphicFrameLocks noChangeAspect="1"/>
          </p:cNvGraphicFramePr>
          <p:nvPr userDrawn="1">
            <p:custDataLst>
              <p:tags r:id="rId1"/>
            </p:custDataLst>
            <p:extLst>
              <p:ext uri="{D42A27DB-BD31-4B8C-83A1-F6EECF244321}">
                <p14:modId xmlns:p14="http://schemas.microsoft.com/office/powerpoint/2010/main" val="210196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E01D9B8E-BE65-EF45-D227-1A52457CBE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5" name="Google Shape;65;p58"/>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66" name="Google Shape;66;p58"/>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67" name="Google Shape;67;p58"/>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68" name="Google Shape;68;p58"/>
          <p:cNvSpPr>
            <a:spLocks noGrp="1"/>
          </p:cNvSpPr>
          <p:nvPr>
            <p:ph type="pic" idx="2"/>
          </p:nvPr>
        </p:nvSpPr>
        <p:spPr>
          <a:xfrm>
            <a:off x="0" y="0"/>
            <a:ext cx="12192000" cy="6273800"/>
          </a:xfrm>
          <a:prstGeom prst="rect">
            <a:avLst/>
          </a:prstGeom>
          <a:noFill/>
          <a:ln>
            <a:noFill/>
          </a:ln>
        </p:spPr>
      </p:sp>
    </p:spTree>
    <p:extLst>
      <p:ext uri="{BB962C8B-B14F-4D97-AF65-F5344CB8AC3E}">
        <p14:creationId xmlns:p14="http://schemas.microsoft.com/office/powerpoint/2010/main" val="2129850015"/>
      </p:ext>
    </p:extLst>
  </p:cSld>
  <p:clrMapOvr>
    <a:masterClrMapping/>
  </p:clrMapOvr>
  <p:transition spd="slow">
    <p:push/>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Blank 3">
  <p:cSld name="Blank 3">
    <p:spTree>
      <p:nvGrpSpPr>
        <p:cNvPr id="1" name="Shape 7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280D1B-D6CB-40E0-0B07-BCA3D929D686}"/>
              </a:ext>
            </a:extLst>
          </p:cNvPr>
          <p:cNvGraphicFramePr>
            <a:graphicFrameLocks noChangeAspect="1"/>
          </p:cNvGraphicFramePr>
          <p:nvPr userDrawn="1">
            <p:custDataLst>
              <p:tags r:id="rId1"/>
            </p:custDataLst>
            <p:extLst>
              <p:ext uri="{D42A27DB-BD31-4B8C-83A1-F6EECF244321}">
                <p14:modId xmlns:p14="http://schemas.microsoft.com/office/powerpoint/2010/main" val="194738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3B280D1B-D6CB-40E0-0B07-BCA3D929D6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6" name="Google Shape;76;p60"/>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77" name="Google Shape;77;p60"/>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78" name="Google Shape;78;p60"/>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79" name="Google Shape;79;p60"/>
          <p:cNvSpPr/>
          <p:nvPr/>
        </p:nvSpPr>
        <p:spPr>
          <a:xfrm>
            <a:off x="0" y="1196975"/>
            <a:ext cx="12192000" cy="507682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sp>
        <p:nvSpPr>
          <p:cNvPr id="80" name="Google Shape;80;p60"/>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4242107559"/>
      </p:ext>
    </p:extLst>
  </p:cSld>
  <p:clrMapOvr>
    <a:masterClrMapping/>
  </p:clrMapOvr>
  <p:transition spd="slow">
    <p:push/>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wo column text">
  <p:cSld name="Two column text">
    <p:spTree>
      <p:nvGrpSpPr>
        <p:cNvPr id="1" name="Shape 8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CFE067-F36A-664F-3D44-BAB9F6EB0620}"/>
              </a:ext>
            </a:extLst>
          </p:cNvPr>
          <p:cNvGraphicFramePr>
            <a:graphicFrameLocks noChangeAspect="1"/>
          </p:cNvGraphicFramePr>
          <p:nvPr userDrawn="1">
            <p:custDataLst>
              <p:tags r:id="rId1"/>
            </p:custDataLst>
            <p:extLst>
              <p:ext uri="{D42A27DB-BD31-4B8C-83A1-F6EECF244321}">
                <p14:modId xmlns:p14="http://schemas.microsoft.com/office/powerpoint/2010/main" val="1801902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44CFE067-F36A-664F-3D44-BAB9F6EB06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2" name="Google Shape;82;p61"/>
          <p:cNvSpPr txBox="1">
            <a:spLocks noGrp="1"/>
          </p:cNvSpPr>
          <p:nvPr>
            <p:ph type="body" idx="1"/>
          </p:nvPr>
        </p:nvSpPr>
        <p:spPr>
          <a:xfrm>
            <a:off x="6456363" y="4546600"/>
            <a:ext cx="5373687" cy="1727200"/>
          </a:xfrm>
          <a:prstGeom prst="rect">
            <a:avLst/>
          </a:prstGeom>
          <a:noFill/>
          <a:ln>
            <a:noFill/>
          </a:ln>
        </p:spPr>
        <p:txBody>
          <a:bodyPr spcFirstLastPara="1" wrap="square" lIns="72000" tIns="72000" rIns="72000" bIns="72000" anchor="t" anchorCtr="0">
            <a:normAutofit/>
          </a:bodyPr>
          <a:lstStyle>
            <a:lvl1pPr marL="457200" lvl="0" indent="-330200" algn="l" rtl="0">
              <a:lnSpc>
                <a:spcPct val="90000"/>
              </a:lnSpc>
              <a:spcBef>
                <a:spcPts val="1000"/>
              </a:spcBef>
              <a:spcAft>
                <a:spcPts val="0"/>
              </a:spcAft>
              <a:buSzPts val="1600"/>
              <a:buChar char="•"/>
              <a:defRPr/>
            </a:lvl1pPr>
            <a:lvl2pPr marL="914400" lvl="1" indent="-317500" algn="l">
              <a:lnSpc>
                <a:spcPct val="90000"/>
              </a:lnSpc>
              <a:spcBef>
                <a:spcPts val="500"/>
              </a:spcBef>
              <a:spcAft>
                <a:spcPts val="0"/>
              </a:spcAft>
              <a:buSzPts val="1400"/>
              <a:buChar char="•"/>
              <a:defRPr/>
            </a:lvl2pPr>
            <a:lvl3pPr marL="1371600" lvl="2" indent="-304800" algn="l">
              <a:lnSpc>
                <a:spcPct val="90000"/>
              </a:lnSpc>
              <a:spcBef>
                <a:spcPts val="500"/>
              </a:spcBef>
              <a:spcAft>
                <a:spcPts val="0"/>
              </a:spcAft>
              <a:buSzPts val="1200"/>
              <a:buChar char="•"/>
              <a:defRPr/>
            </a:lvl3pPr>
            <a:lvl4pPr marL="1828800" lvl="3" indent="-298450" algn="l">
              <a:lnSpc>
                <a:spcPct val="90000"/>
              </a:lnSpc>
              <a:spcBef>
                <a:spcPts val="500"/>
              </a:spcBef>
              <a:spcAft>
                <a:spcPts val="0"/>
              </a:spcAft>
              <a:buSzPts val="1100"/>
              <a:buChar char="•"/>
              <a:defRPr/>
            </a:lvl4pPr>
            <a:lvl5pPr marL="2286000" lvl="4" indent="-298450" algn="l">
              <a:lnSpc>
                <a:spcPct val="90000"/>
              </a:lnSpc>
              <a:spcBef>
                <a:spcPts val="500"/>
              </a:spcBef>
              <a:spcAft>
                <a:spcPts val="0"/>
              </a:spcAft>
              <a:buSzPts val="11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83" name="Google Shape;83;p61"/>
          <p:cNvSpPr txBox="1">
            <a:spLocks noGrp="1"/>
          </p:cNvSpPr>
          <p:nvPr>
            <p:ph type="body" idx="2"/>
          </p:nvPr>
        </p:nvSpPr>
        <p:spPr>
          <a:xfrm>
            <a:off x="347663" y="4546600"/>
            <a:ext cx="5397500" cy="1727200"/>
          </a:xfrm>
          <a:prstGeom prst="rect">
            <a:avLst/>
          </a:prstGeom>
          <a:noFill/>
          <a:ln>
            <a:noFill/>
          </a:ln>
        </p:spPr>
        <p:txBody>
          <a:bodyPr spcFirstLastPara="1" wrap="square" lIns="72000" tIns="72000" rIns="72000" bIns="72000" anchor="t" anchorCtr="0">
            <a:normAutofit/>
          </a:bodyPr>
          <a:lstStyle>
            <a:lvl1pPr marL="457200" lvl="0" indent="-330200" algn="l" rtl="0">
              <a:lnSpc>
                <a:spcPct val="90000"/>
              </a:lnSpc>
              <a:spcBef>
                <a:spcPts val="1000"/>
              </a:spcBef>
              <a:spcAft>
                <a:spcPts val="0"/>
              </a:spcAft>
              <a:buSzPts val="1600"/>
              <a:buChar char="•"/>
              <a:defRPr/>
            </a:lvl1pPr>
            <a:lvl2pPr marL="914400" lvl="1" indent="-317500" algn="l">
              <a:lnSpc>
                <a:spcPct val="90000"/>
              </a:lnSpc>
              <a:spcBef>
                <a:spcPts val="500"/>
              </a:spcBef>
              <a:spcAft>
                <a:spcPts val="0"/>
              </a:spcAft>
              <a:buSzPts val="1400"/>
              <a:buChar char="•"/>
              <a:defRPr/>
            </a:lvl2pPr>
            <a:lvl3pPr marL="1371600" lvl="2" indent="-304800" algn="l">
              <a:lnSpc>
                <a:spcPct val="90000"/>
              </a:lnSpc>
              <a:spcBef>
                <a:spcPts val="500"/>
              </a:spcBef>
              <a:spcAft>
                <a:spcPts val="0"/>
              </a:spcAft>
              <a:buSzPts val="1200"/>
              <a:buChar char="•"/>
              <a:defRPr/>
            </a:lvl3pPr>
            <a:lvl4pPr marL="1828800" lvl="3" indent="-298450" algn="l">
              <a:lnSpc>
                <a:spcPct val="90000"/>
              </a:lnSpc>
              <a:spcBef>
                <a:spcPts val="500"/>
              </a:spcBef>
              <a:spcAft>
                <a:spcPts val="0"/>
              </a:spcAft>
              <a:buSzPts val="1100"/>
              <a:buChar char="•"/>
              <a:defRPr/>
            </a:lvl4pPr>
            <a:lvl5pPr marL="2286000" lvl="4" indent="-298450" algn="l">
              <a:lnSpc>
                <a:spcPct val="90000"/>
              </a:lnSpc>
              <a:spcBef>
                <a:spcPts val="500"/>
              </a:spcBef>
              <a:spcAft>
                <a:spcPts val="0"/>
              </a:spcAft>
              <a:buSzPts val="11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84" name="Google Shape;84;p61"/>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85" name="Google Shape;85;p61"/>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86" name="Google Shape;86;p61"/>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87" name="Google Shape;87;p61"/>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3470384740"/>
      </p:ext>
    </p:extLst>
  </p:cSld>
  <p:clrMapOvr>
    <a:masterClrMapping/>
  </p:clrMapOvr>
  <p:transition spd="slow">
    <p:push/>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five coloumn text">
  <p:cSld name="five coloumn text">
    <p:spTree>
      <p:nvGrpSpPr>
        <p:cNvPr id="1" name="Shape 9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517793-348E-DD2E-2F8A-AE7C1BC29A5A}"/>
              </a:ext>
            </a:extLst>
          </p:cNvPr>
          <p:cNvGraphicFramePr>
            <a:graphicFrameLocks noChangeAspect="1"/>
          </p:cNvGraphicFramePr>
          <p:nvPr userDrawn="1">
            <p:custDataLst>
              <p:tags r:id="rId1"/>
            </p:custDataLst>
            <p:extLst>
              <p:ext uri="{D42A27DB-BD31-4B8C-83A1-F6EECF244321}">
                <p14:modId xmlns:p14="http://schemas.microsoft.com/office/powerpoint/2010/main" val="203012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89517793-348E-DD2E-2F8A-AE7C1BC29A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7" name="Google Shape;97;p63"/>
          <p:cNvSpPr txBox="1">
            <a:spLocks noGrp="1"/>
          </p:cNvSpPr>
          <p:nvPr>
            <p:ph type="body" idx="1"/>
          </p:nvPr>
        </p:nvSpPr>
        <p:spPr>
          <a:xfrm>
            <a:off x="334963" y="2824163"/>
            <a:ext cx="2227262" cy="3449637"/>
          </a:xfrm>
          <a:prstGeom prst="rect">
            <a:avLst/>
          </a:prstGeom>
          <a:solidFill>
            <a:schemeClr val="dk2"/>
          </a:solid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400"/>
              <a:buNone/>
              <a:defRPr sz="1400">
                <a:solidFill>
                  <a:schemeClr val="lt1"/>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98" name="Google Shape;98;p63"/>
          <p:cNvSpPr txBox="1">
            <a:spLocks noGrp="1"/>
          </p:cNvSpPr>
          <p:nvPr>
            <p:ph type="body" idx="2"/>
          </p:nvPr>
        </p:nvSpPr>
        <p:spPr>
          <a:xfrm>
            <a:off x="2679669" y="2824163"/>
            <a:ext cx="2200306" cy="3449637"/>
          </a:xfrm>
          <a:prstGeom prst="rect">
            <a:avLst/>
          </a:prstGeom>
          <a:solidFill>
            <a:schemeClr val="dk2"/>
          </a:solid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400"/>
              <a:buNone/>
              <a:defRPr sz="1400">
                <a:solidFill>
                  <a:schemeClr val="lt1"/>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99" name="Google Shape;99;p63"/>
          <p:cNvSpPr txBox="1">
            <a:spLocks noGrp="1"/>
          </p:cNvSpPr>
          <p:nvPr>
            <p:ph type="body" idx="3"/>
          </p:nvPr>
        </p:nvSpPr>
        <p:spPr>
          <a:xfrm>
            <a:off x="4998975" y="2824163"/>
            <a:ext cx="2201862" cy="3449637"/>
          </a:xfrm>
          <a:prstGeom prst="rect">
            <a:avLst/>
          </a:prstGeom>
          <a:solidFill>
            <a:schemeClr val="dk2"/>
          </a:solid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400"/>
              <a:buNone/>
              <a:defRPr sz="1400">
                <a:solidFill>
                  <a:schemeClr val="lt1"/>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00" name="Google Shape;100;p63"/>
          <p:cNvSpPr txBox="1">
            <a:spLocks noGrp="1"/>
          </p:cNvSpPr>
          <p:nvPr>
            <p:ph type="body" idx="4"/>
          </p:nvPr>
        </p:nvSpPr>
        <p:spPr>
          <a:xfrm>
            <a:off x="7318281" y="2824163"/>
            <a:ext cx="2201862" cy="3449637"/>
          </a:xfrm>
          <a:prstGeom prst="rect">
            <a:avLst/>
          </a:prstGeom>
          <a:solidFill>
            <a:schemeClr val="dk2"/>
          </a:solid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400"/>
              <a:buNone/>
              <a:defRPr sz="1400">
                <a:solidFill>
                  <a:schemeClr val="lt1"/>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01" name="Google Shape;101;p63"/>
          <p:cNvSpPr txBox="1">
            <a:spLocks noGrp="1"/>
          </p:cNvSpPr>
          <p:nvPr>
            <p:ph type="body" idx="5"/>
          </p:nvPr>
        </p:nvSpPr>
        <p:spPr>
          <a:xfrm>
            <a:off x="9637587" y="2824163"/>
            <a:ext cx="2201862" cy="3449637"/>
          </a:xfrm>
          <a:prstGeom prst="rect">
            <a:avLst/>
          </a:prstGeom>
          <a:solidFill>
            <a:schemeClr val="dk2"/>
          </a:solidFill>
          <a:ln>
            <a:noFill/>
          </a:ln>
        </p:spPr>
        <p:txBody>
          <a:bodyPr spcFirstLastPara="1" wrap="square" lIns="72000" tIns="72000" rIns="72000" bIns="72000" anchor="t" anchorCtr="0">
            <a:normAutofit/>
          </a:bodyPr>
          <a:lstStyle>
            <a:lvl1pPr marL="457200" lvl="0" indent="-228600" algn="ctr" rtl="0">
              <a:lnSpc>
                <a:spcPct val="90000"/>
              </a:lnSpc>
              <a:spcBef>
                <a:spcPts val="1000"/>
              </a:spcBef>
              <a:spcAft>
                <a:spcPts val="0"/>
              </a:spcAft>
              <a:buSzPts val="1400"/>
              <a:buNone/>
              <a:defRPr sz="1400">
                <a:solidFill>
                  <a:schemeClr val="lt1"/>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02" name="Google Shape;102;p63"/>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03" name="Google Shape;103;p63"/>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04" name="Google Shape;104;p63"/>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105" name="Google Shape;105;p63"/>
          <p:cNvSpPr txBox="1">
            <a:spLocks noGrp="1"/>
          </p:cNvSpPr>
          <p:nvPr>
            <p:ph type="title"/>
          </p:nvPr>
        </p:nvSpPr>
        <p:spPr>
          <a:xfrm>
            <a:off x="334963" y="0"/>
            <a:ext cx="4545012" cy="1018096"/>
          </a:xfrm>
          <a:prstGeom prst="rect">
            <a:avLst/>
          </a:prstGeom>
          <a:solidFill>
            <a:schemeClr val="dk1"/>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1585978224"/>
      </p:ext>
    </p:extLst>
  </p:cSld>
  <p:clrMapOvr>
    <a:masterClrMapping/>
  </p:clrMapOvr>
  <p:transition spd="slow">
    <p:push/>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Layout option 1">
  <p:cSld name="Layout option 1">
    <p:spTree>
      <p:nvGrpSpPr>
        <p:cNvPr id="1" name="Shape 1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0A0858-D7E2-A0FC-9F6B-0F636D6DE05F}"/>
              </a:ext>
            </a:extLst>
          </p:cNvPr>
          <p:cNvGraphicFramePr>
            <a:graphicFrameLocks noChangeAspect="1"/>
          </p:cNvGraphicFramePr>
          <p:nvPr userDrawn="1">
            <p:custDataLst>
              <p:tags r:id="rId1"/>
            </p:custDataLst>
            <p:extLst>
              <p:ext uri="{D42A27DB-BD31-4B8C-83A1-F6EECF244321}">
                <p14:modId xmlns:p14="http://schemas.microsoft.com/office/powerpoint/2010/main" val="10380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0C0A0858-D7E2-A0FC-9F6B-0F636D6DE0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7" name="Google Shape;107;p64"/>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08" name="Google Shape;108;p64"/>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09" name="Google Shape;109;p64"/>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110" name="Google Shape;110;p64"/>
          <p:cNvSpPr/>
          <p:nvPr/>
        </p:nvSpPr>
        <p:spPr>
          <a:xfrm>
            <a:off x="4879977" y="1018097"/>
            <a:ext cx="7312024" cy="5255704"/>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sp>
        <p:nvSpPr>
          <p:cNvPr id="111" name="Google Shape;111;p64"/>
          <p:cNvSpPr txBox="1">
            <a:spLocks noGrp="1"/>
          </p:cNvSpPr>
          <p:nvPr>
            <p:ph type="body" idx="1"/>
          </p:nvPr>
        </p:nvSpPr>
        <p:spPr>
          <a:xfrm>
            <a:off x="334963" y="1196975"/>
            <a:ext cx="4398962" cy="5076825"/>
          </a:xfrm>
          <a:prstGeom prst="rect">
            <a:avLst/>
          </a:prstGeom>
          <a:noFill/>
          <a:ln>
            <a:noFill/>
          </a:ln>
        </p:spPr>
        <p:txBody>
          <a:bodyPr spcFirstLastPara="1" wrap="square" lIns="91425" tIns="45700" rIns="91425" bIns="45700" anchor="t" anchorCtr="0">
            <a:normAutofit/>
          </a:bodyPr>
          <a:lstStyle>
            <a:lvl1pPr marL="457200" lvl="0" indent="-342900" algn="l" rtl="0">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12" name="Google Shape;112;p64"/>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3711147385"/>
      </p:ext>
    </p:extLst>
  </p:cSld>
  <p:clrMapOvr>
    <a:masterClrMapping/>
  </p:clrMapOvr>
  <p:transition spd="slow">
    <p:push/>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Live Chart 1">
  <p:cSld name="Live Chart 1">
    <p:spTree>
      <p:nvGrpSpPr>
        <p:cNvPr id="1" name="Shape 1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26E8C-AC44-C1B4-0B85-9C256306ADE4}"/>
              </a:ext>
            </a:extLst>
          </p:cNvPr>
          <p:cNvGraphicFramePr>
            <a:graphicFrameLocks noChangeAspect="1"/>
          </p:cNvGraphicFramePr>
          <p:nvPr userDrawn="1">
            <p:custDataLst>
              <p:tags r:id="rId1"/>
            </p:custDataLst>
            <p:extLst>
              <p:ext uri="{D42A27DB-BD31-4B8C-83A1-F6EECF244321}">
                <p14:modId xmlns:p14="http://schemas.microsoft.com/office/powerpoint/2010/main" val="599990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85026E8C-AC44-C1B4-0B85-9C256306AD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4" name="Google Shape;114;p65"/>
          <p:cNvSpPr txBox="1">
            <a:spLocks noGrp="1"/>
          </p:cNvSpPr>
          <p:nvPr>
            <p:ph type="body" idx="1"/>
          </p:nvPr>
        </p:nvSpPr>
        <p:spPr>
          <a:xfrm>
            <a:off x="334963" y="1196976"/>
            <a:ext cx="4545012" cy="5076824"/>
          </a:xfrm>
          <a:prstGeom prst="rect">
            <a:avLst/>
          </a:prstGeom>
          <a:solidFill>
            <a:schemeClr val="lt2"/>
          </a:solidFill>
          <a:ln>
            <a:noFill/>
          </a:ln>
        </p:spPr>
        <p:txBody>
          <a:bodyPr spcFirstLastPara="1" wrap="square" lIns="180000" tIns="180000" rIns="180000" bIns="180000" anchor="t" anchorCtr="0">
            <a:normAutofit/>
          </a:bodyPr>
          <a:lstStyle>
            <a:lvl1pPr marL="457200" lvl="0" indent="-228600" algn="l" rtl="0">
              <a:lnSpc>
                <a:spcPct val="90000"/>
              </a:lnSpc>
              <a:spcBef>
                <a:spcPts val="1000"/>
              </a:spcBef>
              <a:spcAft>
                <a:spcPts val="0"/>
              </a:spcAft>
              <a:buSzPts val="1600"/>
              <a:buNone/>
              <a:defRPr>
                <a:solidFill>
                  <a:schemeClr val="dk1"/>
                </a:solidFill>
              </a:defRPr>
            </a:lvl1pPr>
            <a:lvl2pPr marL="914400" lvl="1" indent="-228600" algn="l">
              <a:lnSpc>
                <a:spcPct val="90000"/>
              </a:lnSpc>
              <a:spcBef>
                <a:spcPts val="500"/>
              </a:spcBef>
              <a:spcAft>
                <a:spcPts val="0"/>
              </a:spcAft>
              <a:buSzPts val="1400"/>
              <a:buNone/>
              <a:defRPr>
                <a:solidFill>
                  <a:schemeClr val="dk1"/>
                </a:solidFill>
              </a:defRPr>
            </a:lvl2pPr>
            <a:lvl3pPr marL="1371600" lvl="2" indent="-228600" algn="l">
              <a:lnSpc>
                <a:spcPct val="90000"/>
              </a:lnSpc>
              <a:spcBef>
                <a:spcPts val="500"/>
              </a:spcBef>
              <a:spcAft>
                <a:spcPts val="0"/>
              </a:spcAft>
              <a:buSzPts val="1200"/>
              <a:buNone/>
              <a:defRPr>
                <a:solidFill>
                  <a:schemeClr val="dk1"/>
                </a:solidFill>
              </a:defRPr>
            </a:lvl3pPr>
            <a:lvl4pPr marL="1828800" lvl="3" indent="-228600" algn="l">
              <a:lnSpc>
                <a:spcPct val="90000"/>
              </a:lnSpc>
              <a:spcBef>
                <a:spcPts val="500"/>
              </a:spcBef>
              <a:spcAft>
                <a:spcPts val="0"/>
              </a:spcAft>
              <a:buSzPts val="1100"/>
              <a:buNone/>
              <a:defRPr>
                <a:solidFill>
                  <a:schemeClr val="dk1"/>
                </a:solidFill>
              </a:defRPr>
            </a:lvl4pPr>
            <a:lvl5pPr marL="2286000" lvl="4" indent="-228600" algn="l">
              <a:lnSpc>
                <a:spcPct val="90000"/>
              </a:lnSpc>
              <a:spcBef>
                <a:spcPts val="500"/>
              </a:spcBef>
              <a:spcAft>
                <a:spcPts val="0"/>
              </a:spcAft>
              <a:buSzPts val="1100"/>
              <a:buNone/>
              <a:defRPr>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
        <p:nvSpPr>
          <p:cNvPr id="115" name="Google Shape;115;p65"/>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16" name="Google Shape;116;p65"/>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17" name="Google Shape;117;p65"/>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118" name="Google Shape;118;p65"/>
          <p:cNvSpPr>
            <a:spLocks noGrp="1"/>
          </p:cNvSpPr>
          <p:nvPr>
            <p:ph type="chart" idx="2"/>
          </p:nvPr>
        </p:nvSpPr>
        <p:spPr>
          <a:xfrm>
            <a:off x="4994275" y="1196976"/>
            <a:ext cx="6835775" cy="4318454"/>
          </a:xfrm>
          <a:prstGeom prst="rect">
            <a:avLst/>
          </a:prstGeom>
          <a:noFill/>
          <a:ln>
            <a:noFill/>
          </a:ln>
        </p:spPr>
        <p:txBody>
          <a:bodyPr spcFirstLastPara="1" wrap="square" lIns="91425" tIns="45700" rIns="91425" bIns="792000" anchor="ctr" anchorCtr="0">
            <a:normAutofit/>
          </a:bodyPr>
          <a:lstStyle>
            <a:lvl1pPr marR="0" lvl="0" algn="ctr" rtl="0">
              <a:lnSpc>
                <a:spcPct val="90000"/>
              </a:lnSpc>
              <a:spcBef>
                <a:spcPts val="1000"/>
              </a:spcBef>
              <a:spcAft>
                <a:spcPts val="0"/>
              </a:spcAft>
              <a:buClr>
                <a:schemeClr val="accent1"/>
              </a:buClr>
              <a:buSzPts val="1600"/>
              <a:buFont typeface="Arial"/>
              <a:buNone/>
              <a:defRPr sz="16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accent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accent1"/>
              </a:buClr>
              <a:buSzPts val="1200"/>
              <a:buFont typeface="Arial"/>
              <a:buChar char="•"/>
              <a:defRPr sz="12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accent1"/>
              </a:buClr>
              <a:buSzPts val="1100"/>
              <a:buFont typeface="Arial"/>
              <a:buChar char="•"/>
              <a:defRPr sz="11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accent1"/>
              </a:buClr>
              <a:buSzPts val="1100"/>
              <a:buFont typeface="Arial"/>
              <a:buChar char="•"/>
              <a:defRPr sz="11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dirty="0"/>
          </a:p>
        </p:txBody>
      </p:sp>
      <p:sp>
        <p:nvSpPr>
          <p:cNvPr id="119" name="Google Shape;119;p65"/>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lvl="0" algn="l" rtl="0">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Tree>
    <p:extLst>
      <p:ext uri="{BB962C8B-B14F-4D97-AF65-F5344CB8AC3E}">
        <p14:creationId xmlns:p14="http://schemas.microsoft.com/office/powerpoint/2010/main" val="4264430489"/>
      </p:ext>
    </p:extLst>
  </p:cSld>
  <p:clrMapOvr>
    <a:masterClrMapping/>
  </p:clrMapOvr>
  <p:transition spd="slow">
    <p:push/>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Quote slide">
  <p:cSld name="Quote slide">
    <p:spTree>
      <p:nvGrpSpPr>
        <p:cNvPr id="1" name="Shape 12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5E6864-9BE0-DEC7-3B3D-9E39E5C8E887}"/>
              </a:ext>
            </a:extLst>
          </p:cNvPr>
          <p:cNvGraphicFramePr>
            <a:graphicFrameLocks noChangeAspect="1"/>
          </p:cNvGraphicFramePr>
          <p:nvPr userDrawn="1">
            <p:custDataLst>
              <p:tags r:id="rId1"/>
            </p:custDataLst>
            <p:extLst>
              <p:ext uri="{D42A27DB-BD31-4B8C-83A1-F6EECF244321}">
                <p14:modId xmlns:p14="http://schemas.microsoft.com/office/powerpoint/2010/main" val="3471174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A85E6864-9BE0-DEC7-3B3D-9E39E5C8E8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1" name="Google Shape;121;p66"/>
          <p:cNvSpPr/>
          <p:nvPr/>
        </p:nvSpPr>
        <p:spPr>
          <a:xfrm>
            <a:off x="0" y="0"/>
            <a:ext cx="12192000" cy="62738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grpSp>
        <p:nvGrpSpPr>
          <p:cNvPr id="122" name="Google Shape;122;p66"/>
          <p:cNvGrpSpPr/>
          <p:nvPr/>
        </p:nvGrpSpPr>
        <p:grpSpPr>
          <a:xfrm>
            <a:off x="2583686" y="847597"/>
            <a:ext cx="7024627" cy="5067026"/>
            <a:chOff x="108665" y="1515793"/>
            <a:chExt cx="5023009" cy="3623213"/>
          </a:xfrm>
        </p:grpSpPr>
        <p:sp>
          <p:nvSpPr>
            <p:cNvPr id="123" name="Google Shape;123;p66"/>
            <p:cNvSpPr/>
            <p:nvPr/>
          </p:nvSpPr>
          <p:spPr>
            <a:xfrm rot="-900000">
              <a:off x="360364" y="2057400"/>
              <a:ext cx="4519611" cy="2540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sp>
          <p:nvSpPr>
            <p:cNvPr id="124" name="Google Shape;124;p66"/>
            <p:cNvSpPr/>
            <p:nvPr/>
          </p:nvSpPr>
          <p:spPr>
            <a:xfrm>
              <a:off x="360364" y="2057400"/>
              <a:ext cx="4519611" cy="2540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US" sz="1800" dirty="0">
                <a:solidFill>
                  <a:schemeClr val="lt1"/>
                </a:solidFill>
                <a:latin typeface="Arial"/>
                <a:ea typeface="Arial"/>
                <a:cs typeface="Arial"/>
                <a:sym typeface="Arial"/>
              </a:endParaRPr>
            </a:p>
          </p:txBody>
        </p:sp>
      </p:grpSp>
      <p:pic>
        <p:nvPicPr>
          <p:cNvPr id="125" name="Google Shape;125;p66" descr="Open quotation mark"/>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2935685" y="1607141"/>
            <a:ext cx="531415" cy="531415"/>
          </a:xfrm>
          <a:prstGeom prst="rect">
            <a:avLst/>
          </a:prstGeom>
          <a:noFill/>
          <a:ln>
            <a:noFill/>
          </a:ln>
        </p:spPr>
      </p:pic>
      <p:pic>
        <p:nvPicPr>
          <p:cNvPr id="126" name="Google Shape;126;p66" descr="Open quotation mark"/>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rot="10800000">
            <a:off x="8724900" y="4625777"/>
            <a:ext cx="531415" cy="531415"/>
          </a:xfrm>
          <a:prstGeom prst="rect">
            <a:avLst/>
          </a:prstGeom>
          <a:noFill/>
          <a:ln>
            <a:noFill/>
          </a:ln>
        </p:spPr>
      </p:pic>
      <p:sp>
        <p:nvSpPr>
          <p:cNvPr id="127" name="Google Shape;127;p66"/>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28" name="Google Shape;128;p66"/>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29" name="Google Shape;129;p66"/>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
        <p:nvSpPr>
          <p:cNvPr id="130" name="Google Shape;130;p66"/>
          <p:cNvSpPr txBox="1">
            <a:spLocks noGrp="1"/>
          </p:cNvSpPr>
          <p:nvPr>
            <p:ph type="body" idx="1"/>
          </p:nvPr>
        </p:nvSpPr>
        <p:spPr>
          <a:xfrm>
            <a:off x="3077029" y="2242873"/>
            <a:ext cx="6008914" cy="2276475"/>
          </a:xfrm>
          <a:prstGeom prst="rect">
            <a:avLst/>
          </a:prstGeom>
          <a:noFill/>
          <a:ln>
            <a:noFill/>
          </a:ln>
        </p:spPr>
        <p:txBody>
          <a:bodyPr spcFirstLastPara="1" wrap="square" lIns="72000" tIns="72000" rIns="72000" bIns="72000" anchor="ctr" anchorCtr="0">
            <a:normAutofit/>
          </a:bodyPr>
          <a:lstStyle>
            <a:lvl1pPr marL="457200" lvl="0" indent="-228600" algn="ctr" rtl="0">
              <a:lnSpc>
                <a:spcPct val="90000"/>
              </a:lnSpc>
              <a:spcBef>
                <a:spcPts val="1000"/>
              </a:spcBef>
              <a:spcAft>
                <a:spcPts val="0"/>
              </a:spcAft>
              <a:buSzPts val="1800"/>
              <a:buNone/>
              <a:defRPr sz="1800" b="0">
                <a:solidFill>
                  <a:schemeClr val="dk1"/>
                </a:solidFill>
              </a:defRPr>
            </a:lvl1pPr>
            <a:lvl2pPr marL="914400" lvl="1" indent="-228600" algn="l">
              <a:lnSpc>
                <a:spcPct val="90000"/>
              </a:lnSpc>
              <a:spcBef>
                <a:spcPts val="500"/>
              </a:spcBef>
              <a:spcAft>
                <a:spcPts val="0"/>
              </a:spcAft>
              <a:buSzPts val="1400"/>
              <a:buNone/>
              <a:defRPr b="1"/>
            </a:lvl2pPr>
            <a:lvl3pPr marL="1371600" lvl="2" indent="-228600" algn="l">
              <a:lnSpc>
                <a:spcPct val="90000"/>
              </a:lnSpc>
              <a:spcBef>
                <a:spcPts val="500"/>
              </a:spcBef>
              <a:spcAft>
                <a:spcPts val="0"/>
              </a:spcAft>
              <a:buSzPts val="1200"/>
              <a:buNone/>
              <a:defRPr b="1"/>
            </a:lvl3pPr>
            <a:lvl4pPr marL="1828800" lvl="3" indent="-228600" algn="l">
              <a:lnSpc>
                <a:spcPct val="90000"/>
              </a:lnSpc>
              <a:spcBef>
                <a:spcPts val="500"/>
              </a:spcBef>
              <a:spcAft>
                <a:spcPts val="0"/>
              </a:spcAft>
              <a:buSzPts val="1100"/>
              <a:buNone/>
              <a:defRPr b="1"/>
            </a:lvl4pPr>
            <a:lvl5pPr marL="2286000" lvl="4" indent="-228600" algn="l">
              <a:lnSpc>
                <a:spcPct val="90000"/>
              </a:lnSpc>
              <a:spcBef>
                <a:spcPts val="500"/>
              </a:spcBef>
              <a:spcAft>
                <a:spcPts val="0"/>
              </a:spcAft>
              <a:buSzPts val="1100"/>
              <a:buNone/>
              <a:defRPr b="1"/>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lang="en-US" dirty="0"/>
          </a:p>
        </p:txBody>
      </p:sp>
    </p:spTree>
    <p:extLst>
      <p:ext uri="{BB962C8B-B14F-4D97-AF65-F5344CB8AC3E}">
        <p14:creationId xmlns:p14="http://schemas.microsoft.com/office/powerpoint/2010/main" val="2633122986"/>
      </p:ext>
    </p:extLst>
  </p:cSld>
  <p:clrMapOvr>
    <a:masterClrMapping/>
  </p:clrMapOvr>
  <p:transition spd="slow">
    <p:push/>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Core 1" type="title">
  <p:cSld name="Core 1">
    <p:spTree>
      <p:nvGrpSpPr>
        <p:cNvPr id="1" name="Shape 14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0FFFFA9-571C-5100-C7CF-2D327EDAA3D2}"/>
              </a:ext>
            </a:extLst>
          </p:cNvPr>
          <p:cNvGraphicFramePr>
            <a:graphicFrameLocks noChangeAspect="1"/>
          </p:cNvGraphicFramePr>
          <p:nvPr userDrawn="1">
            <p:custDataLst>
              <p:tags r:id="rId1"/>
            </p:custDataLst>
            <p:extLst>
              <p:ext uri="{D42A27DB-BD31-4B8C-83A1-F6EECF244321}">
                <p14:modId xmlns:p14="http://schemas.microsoft.com/office/powerpoint/2010/main" val="250288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F0FFFFA9-571C-5100-C7CF-2D327EDAA3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3" name="Google Shape;143;p68"/>
          <p:cNvSpPr txBox="1">
            <a:spLocks noGrp="1"/>
          </p:cNvSpPr>
          <p:nvPr>
            <p:ph type="ctrTitle"/>
          </p:nvPr>
        </p:nvSpPr>
        <p:spPr>
          <a:xfrm>
            <a:off x="360363" y="1196975"/>
            <a:ext cx="11469687" cy="2387600"/>
          </a:xfrm>
          <a:prstGeom prst="rect">
            <a:avLst/>
          </a:prstGeom>
          <a:noFill/>
          <a:ln>
            <a:noFill/>
          </a:ln>
        </p:spPr>
        <p:txBody>
          <a:bodyPr spcFirstLastPara="1" wrap="square" lIns="180000" tIns="540000" rIns="72000" bIns="180000" anchor="b" anchorCtr="0">
            <a:noAutofit/>
          </a:bodyPr>
          <a:lstStyle>
            <a:lvl1pPr lvl="0" algn="ctr" rtl="0">
              <a:lnSpc>
                <a:spcPct val="90000"/>
              </a:lnSpc>
              <a:spcBef>
                <a:spcPts val="0"/>
              </a:spcBef>
              <a:spcAft>
                <a:spcPts val="0"/>
              </a:spcAft>
              <a:buClr>
                <a:schemeClr val="dk2"/>
              </a:buClr>
              <a:buSzPts val="6000"/>
              <a:buFont typeface="Arial"/>
              <a:buNone/>
              <a:defRPr sz="6000" b="1">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US" dirty="0"/>
          </a:p>
        </p:txBody>
      </p:sp>
      <p:sp>
        <p:nvSpPr>
          <p:cNvPr id="144" name="Google Shape;144;p68"/>
          <p:cNvSpPr txBox="1">
            <a:spLocks noGrp="1"/>
          </p:cNvSpPr>
          <p:nvPr>
            <p:ph type="subTitle" idx="1"/>
          </p:nvPr>
        </p:nvSpPr>
        <p:spPr>
          <a:xfrm>
            <a:off x="360363" y="3676650"/>
            <a:ext cx="11469687" cy="1655762"/>
          </a:xfrm>
          <a:prstGeom prst="rect">
            <a:avLst/>
          </a:prstGeom>
          <a:noFill/>
          <a:ln>
            <a:noFill/>
          </a:ln>
        </p:spPr>
        <p:txBody>
          <a:bodyPr spcFirstLastPara="1" wrap="square" lIns="91425" tIns="45700" rIns="91425" bIns="45700" anchor="t" anchorCtr="0">
            <a:normAutofit/>
          </a:bodyPr>
          <a:lstStyle>
            <a:lvl1pPr lvl="0" algn="ctr" rtl="0">
              <a:lnSpc>
                <a:spcPct val="90000"/>
              </a:lnSpc>
              <a:spcBef>
                <a:spcPts val="1000"/>
              </a:spcBef>
              <a:spcAft>
                <a:spcPts val="0"/>
              </a:spcAft>
              <a:buSzPts val="2400"/>
              <a:buNone/>
              <a:defRPr sz="2400">
                <a:solidFill>
                  <a:schemeClr val="accent1"/>
                </a:solidFill>
              </a:defRPr>
            </a:lvl1pPr>
            <a:lvl2pPr lvl="1" algn="ctr">
              <a:lnSpc>
                <a:spcPct val="90000"/>
              </a:lnSpc>
              <a:spcBef>
                <a:spcPts val="5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lang="en-US" dirty="0"/>
          </a:p>
        </p:txBody>
      </p:sp>
      <p:sp>
        <p:nvSpPr>
          <p:cNvPr id="145" name="Google Shape;145;p68"/>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46" name="Google Shape;146;p68"/>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lvl="0" algn="l" rtl="0">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47" name="Google Shape;147;p68"/>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lvl="0" indent="0" algn="l" rtl="0">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983129159"/>
      </p:ext>
    </p:extLst>
  </p:cSld>
  <p:clrMapOvr>
    <a:masterClrMapping/>
  </p:clrMapOvr>
  <p:transition spd="slow">
    <p:push/>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image" Target="../media/image5.emf"/><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oleObject" Target="../embeddings/oleObject69.bin"/><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tags" Target="../tags/tag82.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theme" Target="../theme/theme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image" Target="../media/image1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image" Target="../media/image5.emf"/><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oleObject" Target="../embeddings/oleObject92.bin"/><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ags" Target="../tags/tag10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theme" Target="../theme/theme3.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image" Target="../media/image14.png"/></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37.xml"/><Relationship Id="rId21" Type="http://schemas.openxmlformats.org/officeDocument/2006/relationships/slideLayout" Target="../slideLayouts/slideLayout132.xml"/><Relationship Id="rId42" Type="http://schemas.openxmlformats.org/officeDocument/2006/relationships/slideLayout" Target="../slideLayouts/slideLayout153.xml"/><Relationship Id="rId47" Type="http://schemas.openxmlformats.org/officeDocument/2006/relationships/slideLayout" Target="../slideLayouts/slideLayout158.xml"/><Relationship Id="rId63" Type="http://schemas.openxmlformats.org/officeDocument/2006/relationships/slideLayout" Target="../slideLayouts/slideLayout174.xml"/><Relationship Id="rId68" Type="http://schemas.openxmlformats.org/officeDocument/2006/relationships/theme" Target="../theme/theme4.xml"/><Relationship Id="rId7" Type="http://schemas.openxmlformats.org/officeDocument/2006/relationships/slideLayout" Target="../slideLayouts/slideLayout118.xml"/><Relationship Id="rId71"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9" Type="http://schemas.openxmlformats.org/officeDocument/2006/relationships/slideLayout" Target="../slideLayouts/slideLayout140.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slideLayout" Target="../slideLayouts/slideLayout143.xml"/><Relationship Id="rId37" Type="http://schemas.openxmlformats.org/officeDocument/2006/relationships/slideLayout" Target="../slideLayouts/slideLayout148.xml"/><Relationship Id="rId40" Type="http://schemas.openxmlformats.org/officeDocument/2006/relationships/slideLayout" Target="../slideLayouts/slideLayout151.xml"/><Relationship Id="rId45" Type="http://schemas.openxmlformats.org/officeDocument/2006/relationships/slideLayout" Target="../slideLayouts/slideLayout156.xml"/><Relationship Id="rId53" Type="http://schemas.openxmlformats.org/officeDocument/2006/relationships/slideLayout" Target="../slideLayouts/slideLayout164.xml"/><Relationship Id="rId58" Type="http://schemas.openxmlformats.org/officeDocument/2006/relationships/slideLayout" Target="../slideLayouts/slideLayout169.xml"/><Relationship Id="rId66" Type="http://schemas.openxmlformats.org/officeDocument/2006/relationships/slideLayout" Target="../slideLayouts/slideLayout177.xml"/><Relationship Id="rId5" Type="http://schemas.openxmlformats.org/officeDocument/2006/relationships/slideLayout" Target="../slideLayouts/slideLayout116.xml"/><Relationship Id="rId61" Type="http://schemas.openxmlformats.org/officeDocument/2006/relationships/slideLayout" Target="../slideLayouts/slideLayout172.xml"/><Relationship Id="rId19" Type="http://schemas.openxmlformats.org/officeDocument/2006/relationships/slideLayout" Target="../slideLayouts/slideLayout13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 Id="rId35" Type="http://schemas.openxmlformats.org/officeDocument/2006/relationships/slideLayout" Target="../slideLayouts/slideLayout146.xml"/><Relationship Id="rId43" Type="http://schemas.openxmlformats.org/officeDocument/2006/relationships/slideLayout" Target="../slideLayouts/slideLayout154.xml"/><Relationship Id="rId48" Type="http://schemas.openxmlformats.org/officeDocument/2006/relationships/slideLayout" Target="../slideLayouts/slideLayout159.xml"/><Relationship Id="rId56" Type="http://schemas.openxmlformats.org/officeDocument/2006/relationships/slideLayout" Target="../slideLayouts/slideLayout167.xml"/><Relationship Id="rId64" Type="http://schemas.openxmlformats.org/officeDocument/2006/relationships/slideLayout" Target="../slideLayouts/slideLayout175.xml"/><Relationship Id="rId69" Type="http://schemas.openxmlformats.org/officeDocument/2006/relationships/tags" Target="../tags/tag127.xml"/><Relationship Id="rId8" Type="http://schemas.openxmlformats.org/officeDocument/2006/relationships/slideLayout" Target="../slideLayouts/slideLayout119.xml"/><Relationship Id="rId51" Type="http://schemas.openxmlformats.org/officeDocument/2006/relationships/slideLayout" Target="../slideLayouts/slideLayout162.xml"/><Relationship Id="rId3" Type="http://schemas.openxmlformats.org/officeDocument/2006/relationships/slideLayout" Target="../slideLayouts/slideLayout114.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slideLayout" Target="../slideLayouts/slideLayout144.xml"/><Relationship Id="rId38" Type="http://schemas.openxmlformats.org/officeDocument/2006/relationships/slideLayout" Target="../slideLayouts/slideLayout149.xml"/><Relationship Id="rId46" Type="http://schemas.openxmlformats.org/officeDocument/2006/relationships/slideLayout" Target="../slideLayouts/slideLayout157.xml"/><Relationship Id="rId59" Type="http://schemas.openxmlformats.org/officeDocument/2006/relationships/slideLayout" Target="../slideLayouts/slideLayout170.xml"/><Relationship Id="rId67" Type="http://schemas.openxmlformats.org/officeDocument/2006/relationships/slideLayout" Target="../slideLayouts/slideLayout178.xml"/><Relationship Id="rId20" Type="http://schemas.openxmlformats.org/officeDocument/2006/relationships/slideLayout" Target="../slideLayouts/slideLayout131.xml"/><Relationship Id="rId41" Type="http://schemas.openxmlformats.org/officeDocument/2006/relationships/slideLayout" Target="../slideLayouts/slideLayout152.xml"/><Relationship Id="rId54" Type="http://schemas.openxmlformats.org/officeDocument/2006/relationships/slideLayout" Target="../slideLayouts/slideLayout165.xml"/><Relationship Id="rId62" Type="http://schemas.openxmlformats.org/officeDocument/2006/relationships/slideLayout" Target="../slideLayouts/slideLayout173.xml"/><Relationship Id="rId70" Type="http://schemas.openxmlformats.org/officeDocument/2006/relationships/oleObject" Target="../embeddings/oleObject113.bin"/><Relationship Id="rId1" Type="http://schemas.openxmlformats.org/officeDocument/2006/relationships/slideLayout" Target="../slideLayouts/slideLayout112.xml"/><Relationship Id="rId6" Type="http://schemas.openxmlformats.org/officeDocument/2006/relationships/slideLayout" Target="../slideLayouts/slideLayout117.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36" Type="http://schemas.openxmlformats.org/officeDocument/2006/relationships/slideLayout" Target="../slideLayouts/slideLayout147.xml"/><Relationship Id="rId49" Type="http://schemas.openxmlformats.org/officeDocument/2006/relationships/slideLayout" Target="../slideLayouts/slideLayout160.xml"/><Relationship Id="rId57" Type="http://schemas.openxmlformats.org/officeDocument/2006/relationships/slideLayout" Target="../slideLayouts/slideLayout168.xml"/><Relationship Id="rId10" Type="http://schemas.openxmlformats.org/officeDocument/2006/relationships/slideLayout" Target="../slideLayouts/slideLayout121.xml"/><Relationship Id="rId31" Type="http://schemas.openxmlformats.org/officeDocument/2006/relationships/slideLayout" Target="../slideLayouts/slideLayout142.xml"/><Relationship Id="rId44" Type="http://schemas.openxmlformats.org/officeDocument/2006/relationships/slideLayout" Target="../slideLayouts/slideLayout155.xml"/><Relationship Id="rId52" Type="http://schemas.openxmlformats.org/officeDocument/2006/relationships/slideLayout" Target="../slideLayouts/slideLayout163.xml"/><Relationship Id="rId60" Type="http://schemas.openxmlformats.org/officeDocument/2006/relationships/slideLayout" Target="../slideLayouts/slideLayout171.xml"/><Relationship Id="rId65" Type="http://schemas.openxmlformats.org/officeDocument/2006/relationships/slideLayout" Target="../slideLayouts/slideLayout176.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9" Type="http://schemas.openxmlformats.org/officeDocument/2006/relationships/slideLayout" Target="../slideLayouts/slideLayout150.xml"/><Relationship Id="rId34" Type="http://schemas.openxmlformats.org/officeDocument/2006/relationships/slideLayout" Target="../slideLayouts/slideLayout145.xml"/><Relationship Id="rId50" Type="http://schemas.openxmlformats.org/officeDocument/2006/relationships/slideLayout" Target="../slideLayouts/slideLayout161.xml"/><Relationship Id="rId55" Type="http://schemas.openxmlformats.org/officeDocument/2006/relationships/slideLayout" Target="../slideLayouts/slideLayout16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81.xml"/><Relationship Id="rId7" Type="http://schemas.openxmlformats.org/officeDocument/2006/relationships/tags" Target="../tags/tag144.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theme" Target="../theme/theme5.xml"/><Relationship Id="rId5" Type="http://schemas.openxmlformats.org/officeDocument/2006/relationships/slideLayout" Target="../slideLayouts/slideLayout183.xml"/><Relationship Id="rId4"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622704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708776-85B2-4B31-C6E6-AF03DE510922}"/>
              </a:ext>
            </a:extLst>
          </p:cNvPr>
          <p:cNvGraphicFramePr>
            <a:graphicFrameLocks noChangeAspect="1"/>
          </p:cNvGraphicFramePr>
          <p:nvPr userDrawn="1">
            <p:custDataLst>
              <p:tags r:id="rId24"/>
            </p:custDataLst>
            <p:extLst>
              <p:ext uri="{D42A27DB-BD31-4B8C-83A1-F6EECF244321}">
                <p14:modId xmlns:p14="http://schemas.microsoft.com/office/powerpoint/2010/main" val="3332170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04" imgH="405" progId="TCLayout.ActiveDocument.1">
                  <p:embed/>
                </p:oleObj>
              </mc:Choice>
              <mc:Fallback>
                <p:oleObj name="think-cell Slide" r:id="rId25" imgW="404" imgH="405" progId="TCLayout.ActiveDocument.1">
                  <p:embed/>
                  <p:pic>
                    <p:nvPicPr>
                      <p:cNvPr id="3" name="Object 2" hidden="1">
                        <a:extLst>
                          <a:ext uri="{FF2B5EF4-FFF2-40B4-BE49-F238E27FC236}">
                            <a16:creationId xmlns:a16="http://schemas.microsoft.com/office/drawing/2014/main" id="{DD708776-85B2-4B31-C6E6-AF03DE510922}"/>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0" name="Google Shape;10;p50"/>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marR="0" lvl="0" algn="l" rtl="0">
              <a:lnSpc>
                <a:spcPct val="90000"/>
              </a:lnSpc>
              <a:spcBef>
                <a:spcPts val="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lang="en-US" dirty="0"/>
          </a:p>
        </p:txBody>
      </p:sp>
      <p:sp>
        <p:nvSpPr>
          <p:cNvPr id="11" name="Google Shape;11;p50"/>
          <p:cNvSpPr txBox="1">
            <a:spLocks noGrp="1"/>
          </p:cNvSpPr>
          <p:nvPr>
            <p:ph type="body" idx="1"/>
          </p:nvPr>
        </p:nvSpPr>
        <p:spPr>
          <a:xfrm>
            <a:off x="334963" y="1203584"/>
            <a:ext cx="11496672" cy="5070215"/>
          </a:xfrm>
          <a:prstGeom prst="rect">
            <a:avLst/>
          </a:prstGeom>
          <a:noFill/>
          <a:ln>
            <a:noFill/>
          </a:ln>
        </p:spPr>
        <p:txBody>
          <a:bodyPr spcFirstLastPara="1" wrap="square" lIns="91425" tIns="45700" rIns="91425" bIns="45700" anchor="t" anchorCtr="0">
            <a:normAutofit/>
          </a:bodyPr>
          <a:lstStyle>
            <a:lvl1pPr marL="457200" marR="0" lvl="0" indent="-330200" algn="l" rtl="0">
              <a:lnSpc>
                <a:spcPct val="90000"/>
              </a:lnSpc>
              <a:spcBef>
                <a:spcPts val="10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500"/>
              </a:spcBef>
              <a:spcAft>
                <a:spcPts val="0"/>
              </a:spcAft>
              <a:buClr>
                <a:schemeClr val="accent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04800" algn="l" rtl="0">
              <a:lnSpc>
                <a:spcPct val="90000"/>
              </a:lnSpc>
              <a:spcBef>
                <a:spcPts val="500"/>
              </a:spcBef>
              <a:spcAft>
                <a:spcPts val="0"/>
              </a:spcAft>
              <a:buClr>
                <a:schemeClr val="accent1"/>
              </a:buClr>
              <a:buSzPts val="1200"/>
              <a:buFont typeface="Arial"/>
              <a:buChar char="•"/>
              <a:defRPr sz="1200" b="0" i="0" u="none" strike="noStrike" cap="none">
                <a:solidFill>
                  <a:schemeClr val="dk1"/>
                </a:solidFill>
                <a:latin typeface="Arial"/>
                <a:ea typeface="Arial"/>
                <a:cs typeface="Arial"/>
                <a:sym typeface="Arial"/>
              </a:defRPr>
            </a:lvl3pPr>
            <a:lvl4pPr marL="1828800" marR="0" lvl="3" indent="-298450" algn="l" rtl="0">
              <a:lnSpc>
                <a:spcPct val="90000"/>
              </a:lnSpc>
              <a:spcBef>
                <a:spcPts val="500"/>
              </a:spcBef>
              <a:spcAft>
                <a:spcPts val="0"/>
              </a:spcAft>
              <a:buClr>
                <a:schemeClr val="accent1"/>
              </a:buClr>
              <a:buSzPts val="1100"/>
              <a:buFont typeface="Arial"/>
              <a:buChar char="•"/>
              <a:defRPr sz="1100" b="0" i="0" u="none" strike="noStrike" cap="none">
                <a:solidFill>
                  <a:schemeClr val="dk1"/>
                </a:solidFill>
                <a:latin typeface="Arial"/>
                <a:ea typeface="Arial"/>
                <a:cs typeface="Arial"/>
                <a:sym typeface="Arial"/>
              </a:defRPr>
            </a:lvl4pPr>
            <a:lvl5pPr marL="2286000" marR="0" lvl="4" indent="-298450" algn="l" rtl="0">
              <a:lnSpc>
                <a:spcPct val="90000"/>
              </a:lnSpc>
              <a:spcBef>
                <a:spcPts val="500"/>
              </a:spcBef>
              <a:spcAft>
                <a:spcPts val="0"/>
              </a:spcAft>
              <a:buClr>
                <a:schemeClr val="accent1"/>
              </a:buClr>
              <a:buSzPts val="1100"/>
              <a:buFont typeface="Arial"/>
              <a:buChar char="•"/>
              <a:defRPr sz="11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lang="en-US" dirty="0"/>
          </a:p>
        </p:txBody>
      </p:sp>
      <p:sp>
        <p:nvSpPr>
          <p:cNvPr id="12" name="Google Shape;12;p50"/>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lang="en-US" dirty="0"/>
          </a:p>
        </p:txBody>
      </p:sp>
      <p:sp>
        <p:nvSpPr>
          <p:cNvPr id="13" name="Google Shape;13;p50"/>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marR="0" lvl="0" algn="l" rtl="0">
              <a:spcBef>
                <a:spcPts val="0"/>
              </a:spcBef>
              <a:spcAft>
                <a:spcPts val="0"/>
              </a:spcAft>
              <a:buSzPts val="1400"/>
              <a:buNone/>
              <a:defRPr sz="900" b="0" i="0" u="none" strike="noStrike" cap="none">
                <a:solidFill>
                  <a:srgbClr val="888888"/>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lang="en-US" dirty="0"/>
          </a:p>
        </p:txBody>
      </p:sp>
      <p:sp>
        <p:nvSpPr>
          <p:cNvPr id="14" name="Google Shape;14;p50"/>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marR="0" lvl="0" indent="0" algn="l" rtl="0">
              <a:spcBef>
                <a:spcPts val="0"/>
              </a:spcBef>
              <a:buNone/>
              <a:defRPr sz="900" b="0" i="0" u="none" strike="noStrike" cap="none">
                <a:solidFill>
                  <a:schemeClr val="accent1"/>
                </a:solidFill>
                <a:latin typeface="Arial"/>
                <a:ea typeface="Arial"/>
                <a:cs typeface="Arial"/>
                <a:sym typeface="Arial"/>
              </a:defRPr>
            </a:lvl1pPr>
            <a:lvl2pPr marL="0" marR="0" lvl="1" indent="0" algn="l" rtl="0">
              <a:spcBef>
                <a:spcPts val="0"/>
              </a:spcBef>
              <a:buNone/>
              <a:defRPr sz="900" b="0" i="0" u="none" strike="noStrike" cap="none">
                <a:solidFill>
                  <a:schemeClr val="accent1"/>
                </a:solidFill>
                <a:latin typeface="Arial"/>
                <a:ea typeface="Arial"/>
                <a:cs typeface="Arial"/>
                <a:sym typeface="Arial"/>
              </a:defRPr>
            </a:lvl2pPr>
            <a:lvl3pPr marL="0" marR="0" lvl="2" indent="0" algn="l" rtl="0">
              <a:spcBef>
                <a:spcPts val="0"/>
              </a:spcBef>
              <a:buNone/>
              <a:defRPr sz="900" b="0" i="0" u="none" strike="noStrike" cap="none">
                <a:solidFill>
                  <a:schemeClr val="accent1"/>
                </a:solidFill>
                <a:latin typeface="Arial"/>
                <a:ea typeface="Arial"/>
                <a:cs typeface="Arial"/>
                <a:sym typeface="Arial"/>
              </a:defRPr>
            </a:lvl3pPr>
            <a:lvl4pPr marL="0" marR="0" lvl="3" indent="0" algn="l" rtl="0">
              <a:spcBef>
                <a:spcPts val="0"/>
              </a:spcBef>
              <a:buNone/>
              <a:defRPr sz="900" b="0" i="0" u="none" strike="noStrike" cap="none">
                <a:solidFill>
                  <a:schemeClr val="accent1"/>
                </a:solidFill>
                <a:latin typeface="Arial"/>
                <a:ea typeface="Arial"/>
                <a:cs typeface="Arial"/>
                <a:sym typeface="Arial"/>
              </a:defRPr>
            </a:lvl4pPr>
            <a:lvl5pPr marL="0" marR="0" lvl="4" indent="0" algn="l" rtl="0">
              <a:spcBef>
                <a:spcPts val="0"/>
              </a:spcBef>
              <a:buNone/>
              <a:defRPr sz="900" b="0" i="0" u="none" strike="noStrike" cap="none">
                <a:solidFill>
                  <a:schemeClr val="accent1"/>
                </a:solidFill>
                <a:latin typeface="Arial"/>
                <a:ea typeface="Arial"/>
                <a:cs typeface="Arial"/>
                <a:sym typeface="Arial"/>
              </a:defRPr>
            </a:lvl5pPr>
            <a:lvl6pPr marL="0" marR="0" lvl="5" indent="0" algn="l" rtl="0">
              <a:spcBef>
                <a:spcPts val="0"/>
              </a:spcBef>
              <a:buNone/>
              <a:defRPr sz="900" b="0" i="0" u="none" strike="noStrike" cap="none">
                <a:solidFill>
                  <a:schemeClr val="accent1"/>
                </a:solidFill>
                <a:latin typeface="Arial"/>
                <a:ea typeface="Arial"/>
                <a:cs typeface="Arial"/>
                <a:sym typeface="Arial"/>
              </a:defRPr>
            </a:lvl6pPr>
            <a:lvl7pPr marL="0" marR="0" lvl="6" indent="0" algn="l" rtl="0">
              <a:spcBef>
                <a:spcPts val="0"/>
              </a:spcBef>
              <a:buNone/>
              <a:defRPr sz="900" b="0" i="0" u="none" strike="noStrike" cap="none">
                <a:solidFill>
                  <a:schemeClr val="accent1"/>
                </a:solidFill>
                <a:latin typeface="Arial"/>
                <a:ea typeface="Arial"/>
                <a:cs typeface="Arial"/>
                <a:sym typeface="Arial"/>
              </a:defRPr>
            </a:lvl7pPr>
            <a:lvl8pPr marL="0" marR="0" lvl="7" indent="0" algn="l" rtl="0">
              <a:spcBef>
                <a:spcPts val="0"/>
              </a:spcBef>
              <a:buNone/>
              <a:defRPr sz="900" b="0" i="0" u="none" strike="noStrike" cap="none">
                <a:solidFill>
                  <a:schemeClr val="accent1"/>
                </a:solidFill>
                <a:latin typeface="Arial"/>
                <a:ea typeface="Arial"/>
                <a:cs typeface="Arial"/>
                <a:sym typeface="Arial"/>
              </a:defRPr>
            </a:lvl8pPr>
            <a:lvl9pPr marL="0" marR="0" lvl="8" indent="0" algn="l" rtl="0">
              <a:spcBef>
                <a:spcPts val="0"/>
              </a:spcBef>
              <a:buNone/>
              <a:defRPr sz="900" b="0" i="0" u="none" strike="noStrike" cap="none">
                <a:solidFill>
                  <a:schemeClr val="accent1"/>
                </a:solidFill>
                <a:latin typeface="Arial"/>
                <a:ea typeface="Arial"/>
                <a:cs typeface="Arial"/>
                <a:sym typeface="Arial"/>
              </a:defRPr>
            </a:lvl9pPr>
          </a:lstStyle>
          <a:p>
            <a:fld id="{00000000-1234-1234-1234-123412341234}" type="slidenum">
              <a:rPr lang="en-US" smtClean="0"/>
              <a:pPr/>
              <a:t>‹#›</a:t>
            </a:fld>
            <a:endParaRPr lang="en-US" dirty="0"/>
          </a:p>
        </p:txBody>
      </p:sp>
      <p:pic>
        <p:nvPicPr>
          <p:cNvPr id="15" name="Google Shape;15;p50"/>
          <p:cNvPicPr preferRelativeResize="0"/>
          <p:nvPr/>
        </p:nvPicPr>
        <p:blipFill rotWithShape="1">
          <a:blip r:embed="rId27">
            <a:alphaModFix/>
          </a:blip>
          <a:srcRect/>
          <a:stretch/>
        </p:blipFill>
        <p:spPr>
          <a:xfrm>
            <a:off x="9513888" y="6392994"/>
            <a:ext cx="2305050" cy="334291"/>
          </a:xfrm>
          <a:prstGeom prst="rect">
            <a:avLst/>
          </a:prstGeom>
          <a:noFill/>
          <a:ln>
            <a:noFill/>
          </a:ln>
        </p:spPr>
      </p:pic>
    </p:spTree>
    <p:extLst>
      <p:ext uri="{BB962C8B-B14F-4D97-AF65-F5344CB8AC3E}">
        <p14:creationId xmlns:p14="http://schemas.microsoft.com/office/powerpoint/2010/main" val="2704600371"/>
      </p:ext>
    </p:extLst>
  </p:cSld>
  <p:clrMap bg1="lt1" tx1="dk1" bg2="dk2" tx2="lt2" accent1="accent1" accent2="accent2" accent3="accent3" accent4="accent4" accent5="accent5" accent6="accent6" hlink="hlink" folHlink="folHlink"/>
  <p:sldLayoutIdLst>
    <p:sldLayoutId id="2147485186" r:id="rId1"/>
    <p:sldLayoutId id="2147485188" r:id="rId2"/>
    <p:sldLayoutId id="2147485189" r:id="rId3"/>
    <p:sldLayoutId id="2147485190" r:id="rId4"/>
    <p:sldLayoutId id="2147485191" r:id="rId5"/>
    <p:sldLayoutId id="2147485192" r:id="rId6"/>
    <p:sldLayoutId id="2147485193" r:id="rId7"/>
    <p:sldLayoutId id="2147485194" r:id="rId8"/>
    <p:sldLayoutId id="2147485195" r:id="rId9"/>
    <p:sldLayoutId id="2147485196" r:id="rId10"/>
    <p:sldLayoutId id="2147485197" r:id="rId11"/>
    <p:sldLayoutId id="2147485198" r:id="rId12"/>
    <p:sldLayoutId id="2147485201" r:id="rId13"/>
    <p:sldLayoutId id="2147485202" r:id="rId14"/>
    <p:sldLayoutId id="2147485203" r:id="rId15"/>
    <p:sldLayoutId id="2147485204" r:id="rId16"/>
    <p:sldLayoutId id="2147485205" r:id="rId17"/>
    <p:sldLayoutId id="2147485206" r:id="rId18"/>
    <p:sldLayoutId id="2147485207" r:id="rId19"/>
    <p:sldLayoutId id="2147485208" r:id="rId20"/>
    <p:sldLayoutId id="2147485210" r:id="rId21"/>
    <p:sldLayoutId id="2147485315" r:id="rId2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15:clr>
            <a:srgbClr val="A4A3A4"/>
          </p15:clr>
        </p15:guide>
        <p15:guide id="2" pos="7680">
          <p15:clr>
            <a:srgbClr val="A4A3A4"/>
          </p15:clr>
        </p15:guide>
        <p15:guide id="3" pos="211">
          <p15:clr>
            <a:srgbClr val="F26B43"/>
          </p15:clr>
        </p15:guide>
        <p15:guide id="4" pos="1614">
          <p15:clr>
            <a:srgbClr val="A4A3A4"/>
          </p15:clr>
        </p15:guide>
        <p15:guide id="5" pos="1686">
          <p15:clr>
            <a:srgbClr val="A4A3A4"/>
          </p15:clr>
        </p15:guide>
        <p15:guide id="6" pos="3074">
          <p15:clr>
            <a:srgbClr val="A4A3A4"/>
          </p15:clr>
        </p15:guide>
        <p15:guide id="7" pos="3146">
          <p15:clr>
            <a:srgbClr val="A4A3A4"/>
          </p15:clr>
        </p15:guide>
        <p15:guide id="8" pos="4533">
          <p15:clr>
            <a:srgbClr val="A4A3A4"/>
          </p15:clr>
        </p15:guide>
        <p15:guide id="9" pos="4605">
          <p15:clr>
            <a:srgbClr val="A4A3A4"/>
          </p15:clr>
        </p15:guide>
        <p15:guide id="10" pos="5993">
          <p15:clr>
            <a:srgbClr val="A4A3A4"/>
          </p15:clr>
        </p15:guide>
        <p15:guide id="11" pos="6065">
          <p15:clr>
            <a:srgbClr val="A4A3A4"/>
          </p15:clr>
        </p15:guide>
        <p15:guide id="12" pos="7452">
          <p15:clr>
            <a:srgbClr val="F26B43"/>
          </p15:clr>
        </p15:guide>
        <p15:guide id="13" orient="horz">
          <p15:clr>
            <a:srgbClr val="A4A3A4"/>
          </p15:clr>
        </p15:guide>
        <p15:guide id="14" orient="horz" pos="4320">
          <p15:clr>
            <a:srgbClr val="A4A3A4"/>
          </p15:clr>
        </p15:guide>
        <p15:guide id="15" orient="horz" pos="299">
          <p15:clr>
            <a:srgbClr val="A4A3A4"/>
          </p15:clr>
        </p15:guide>
        <p15:guide id="16" orient="horz" pos="4020">
          <p15:clr>
            <a:srgbClr val="A4A3A4"/>
          </p15:clr>
        </p15:guide>
        <p15:guide id="17" orient="horz" pos="3952">
          <p15:clr>
            <a:srgbClr val="F26B43"/>
          </p15:clr>
        </p15:guide>
        <p15:guide id="18" orient="horz" pos="754">
          <p15:clr>
            <a:srgbClr val="F26B43"/>
          </p15:clr>
        </p15:guide>
        <p15:guide id="19" orient="horz" pos="6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234C02-15F3-D3A0-507E-D18FB4C10DBC}"/>
              </a:ext>
            </a:extLst>
          </p:cNvPr>
          <p:cNvGraphicFramePr>
            <a:graphicFrameLocks noChangeAspect="1"/>
          </p:cNvGraphicFramePr>
          <p:nvPr userDrawn="1">
            <p:custDataLst>
              <p:tags r:id="rId24"/>
            </p:custDataLst>
            <p:extLst>
              <p:ext uri="{D42A27DB-BD31-4B8C-83A1-F6EECF244321}">
                <p14:modId xmlns:p14="http://schemas.microsoft.com/office/powerpoint/2010/main" val="1723265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04" imgH="405" progId="TCLayout.ActiveDocument.1">
                  <p:embed/>
                </p:oleObj>
              </mc:Choice>
              <mc:Fallback>
                <p:oleObj name="think-cell Slide" r:id="rId25" imgW="404" imgH="405" progId="TCLayout.ActiveDocument.1">
                  <p:embed/>
                  <p:pic>
                    <p:nvPicPr>
                      <p:cNvPr id="2" name="Object 1" hidden="1">
                        <a:extLst>
                          <a:ext uri="{FF2B5EF4-FFF2-40B4-BE49-F238E27FC236}">
                            <a16:creationId xmlns:a16="http://schemas.microsoft.com/office/drawing/2014/main" id="{58234C02-15F3-D3A0-507E-D18FB4C10DB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0" name="Google Shape;10;p50"/>
          <p:cNvSpPr txBox="1">
            <a:spLocks noGrp="1"/>
          </p:cNvSpPr>
          <p:nvPr>
            <p:ph type="title"/>
          </p:nvPr>
        </p:nvSpPr>
        <p:spPr>
          <a:xfrm>
            <a:off x="334963" y="0"/>
            <a:ext cx="4545012" cy="1018096"/>
          </a:xfrm>
          <a:prstGeom prst="rect">
            <a:avLst/>
          </a:prstGeom>
          <a:solidFill>
            <a:schemeClr val="dk2"/>
          </a:solidFill>
          <a:ln>
            <a:noFill/>
          </a:ln>
        </p:spPr>
        <p:txBody>
          <a:bodyPr spcFirstLastPara="1" wrap="square" lIns="180000" tIns="540000" rIns="72000" bIns="180000" anchor="b" anchorCtr="0">
            <a:noAutofit/>
          </a:bodyPr>
          <a:lstStyle>
            <a:lvl1pPr marR="0" lvl="0" algn="l" rtl="0">
              <a:lnSpc>
                <a:spcPct val="90000"/>
              </a:lnSpc>
              <a:spcBef>
                <a:spcPts val="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lang="en-US" dirty="0"/>
          </a:p>
        </p:txBody>
      </p:sp>
      <p:sp>
        <p:nvSpPr>
          <p:cNvPr id="11" name="Google Shape;11;p50"/>
          <p:cNvSpPr txBox="1">
            <a:spLocks noGrp="1"/>
          </p:cNvSpPr>
          <p:nvPr>
            <p:ph type="body" idx="1"/>
          </p:nvPr>
        </p:nvSpPr>
        <p:spPr>
          <a:xfrm>
            <a:off x="334963" y="1203584"/>
            <a:ext cx="11496672" cy="5070215"/>
          </a:xfrm>
          <a:prstGeom prst="rect">
            <a:avLst/>
          </a:prstGeom>
          <a:noFill/>
          <a:ln>
            <a:noFill/>
          </a:ln>
        </p:spPr>
        <p:txBody>
          <a:bodyPr spcFirstLastPara="1" wrap="square" lIns="91425" tIns="45700" rIns="91425" bIns="45700" anchor="t" anchorCtr="0">
            <a:normAutofit/>
          </a:bodyPr>
          <a:lstStyle>
            <a:lvl1pPr marL="457200" marR="0" lvl="0" indent="-330200" algn="l" rtl="0">
              <a:lnSpc>
                <a:spcPct val="90000"/>
              </a:lnSpc>
              <a:spcBef>
                <a:spcPts val="1000"/>
              </a:spcBef>
              <a:spcAft>
                <a:spcPts val="0"/>
              </a:spcAft>
              <a:buClr>
                <a:schemeClr val="accent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500"/>
              </a:spcBef>
              <a:spcAft>
                <a:spcPts val="0"/>
              </a:spcAft>
              <a:buClr>
                <a:schemeClr val="accent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04800" algn="l" rtl="0">
              <a:lnSpc>
                <a:spcPct val="90000"/>
              </a:lnSpc>
              <a:spcBef>
                <a:spcPts val="500"/>
              </a:spcBef>
              <a:spcAft>
                <a:spcPts val="0"/>
              </a:spcAft>
              <a:buClr>
                <a:schemeClr val="accent1"/>
              </a:buClr>
              <a:buSzPts val="1200"/>
              <a:buFont typeface="Arial"/>
              <a:buChar char="•"/>
              <a:defRPr sz="1200" b="0" i="0" u="none" strike="noStrike" cap="none">
                <a:solidFill>
                  <a:schemeClr val="dk1"/>
                </a:solidFill>
                <a:latin typeface="Arial"/>
                <a:ea typeface="Arial"/>
                <a:cs typeface="Arial"/>
                <a:sym typeface="Arial"/>
              </a:defRPr>
            </a:lvl3pPr>
            <a:lvl4pPr marL="1828800" marR="0" lvl="3" indent="-298450" algn="l" rtl="0">
              <a:lnSpc>
                <a:spcPct val="90000"/>
              </a:lnSpc>
              <a:spcBef>
                <a:spcPts val="500"/>
              </a:spcBef>
              <a:spcAft>
                <a:spcPts val="0"/>
              </a:spcAft>
              <a:buClr>
                <a:schemeClr val="accent1"/>
              </a:buClr>
              <a:buSzPts val="1100"/>
              <a:buFont typeface="Arial"/>
              <a:buChar char="•"/>
              <a:defRPr sz="1100" b="0" i="0" u="none" strike="noStrike" cap="none">
                <a:solidFill>
                  <a:schemeClr val="dk1"/>
                </a:solidFill>
                <a:latin typeface="Arial"/>
                <a:ea typeface="Arial"/>
                <a:cs typeface="Arial"/>
                <a:sym typeface="Arial"/>
              </a:defRPr>
            </a:lvl4pPr>
            <a:lvl5pPr marL="2286000" marR="0" lvl="4" indent="-298450" algn="l" rtl="0">
              <a:lnSpc>
                <a:spcPct val="90000"/>
              </a:lnSpc>
              <a:spcBef>
                <a:spcPts val="500"/>
              </a:spcBef>
              <a:spcAft>
                <a:spcPts val="0"/>
              </a:spcAft>
              <a:buClr>
                <a:schemeClr val="accent1"/>
              </a:buClr>
              <a:buSzPts val="1100"/>
              <a:buFont typeface="Arial"/>
              <a:buChar char="•"/>
              <a:defRPr sz="11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lang="en-US" dirty="0"/>
          </a:p>
        </p:txBody>
      </p:sp>
      <p:sp>
        <p:nvSpPr>
          <p:cNvPr id="12" name="Google Shape;12;p50"/>
          <p:cNvSpPr txBox="1">
            <a:spLocks noGrp="1"/>
          </p:cNvSpPr>
          <p:nvPr>
            <p:ph type="dt" idx="10"/>
          </p:nvPr>
        </p:nvSpPr>
        <p:spPr>
          <a:xfrm>
            <a:off x="5463494" y="6391177"/>
            <a:ext cx="2201863" cy="365124"/>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00" b="0" i="0" u="none" strike="noStrike" cap="none">
                <a:solidFill>
                  <a:schemeClr val="accent5"/>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lang="en-US" dirty="0"/>
          </a:p>
        </p:txBody>
      </p:sp>
      <p:sp>
        <p:nvSpPr>
          <p:cNvPr id="13" name="Google Shape;13;p50"/>
          <p:cNvSpPr txBox="1">
            <a:spLocks noGrp="1"/>
          </p:cNvSpPr>
          <p:nvPr>
            <p:ph type="ftr" idx="11"/>
          </p:nvPr>
        </p:nvSpPr>
        <p:spPr>
          <a:xfrm>
            <a:off x="804182" y="6391177"/>
            <a:ext cx="4545012" cy="365124"/>
          </a:xfrm>
          <a:prstGeom prst="rect">
            <a:avLst/>
          </a:prstGeom>
          <a:noFill/>
          <a:ln>
            <a:noFill/>
          </a:ln>
        </p:spPr>
        <p:txBody>
          <a:bodyPr spcFirstLastPara="1" wrap="square" lIns="0" tIns="72000" rIns="72000" bIns="72000" anchor="ctr" anchorCtr="0">
            <a:noAutofit/>
          </a:bodyPr>
          <a:lstStyle>
            <a:lvl1pPr marR="0" lvl="0" algn="l" rtl="0">
              <a:spcBef>
                <a:spcPts val="0"/>
              </a:spcBef>
              <a:spcAft>
                <a:spcPts val="0"/>
              </a:spcAft>
              <a:buSzPts val="1400"/>
              <a:buNone/>
              <a:defRPr sz="900" b="0" i="0" u="none" strike="noStrike" cap="none">
                <a:solidFill>
                  <a:srgbClr val="888888"/>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lang="en-US" dirty="0"/>
          </a:p>
        </p:txBody>
      </p:sp>
      <p:sp>
        <p:nvSpPr>
          <p:cNvPr id="14" name="Google Shape;14;p50"/>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lvl1pPr marL="0" marR="0" lvl="0" indent="0" algn="l" rtl="0">
              <a:spcBef>
                <a:spcPts val="0"/>
              </a:spcBef>
              <a:buNone/>
              <a:defRPr sz="900" b="0" i="0" u="none" strike="noStrike" cap="none">
                <a:solidFill>
                  <a:schemeClr val="accent1"/>
                </a:solidFill>
                <a:latin typeface="Arial"/>
                <a:ea typeface="Arial"/>
                <a:cs typeface="Arial"/>
                <a:sym typeface="Arial"/>
              </a:defRPr>
            </a:lvl1pPr>
            <a:lvl2pPr marL="0" marR="0" lvl="1" indent="0" algn="l" rtl="0">
              <a:spcBef>
                <a:spcPts val="0"/>
              </a:spcBef>
              <a:buNone/>
              <a:defRPr sz="900" b="0" i="0" u="none" strike="noStrike" cap="none">
                <a:solidFill>
                  <a:schemeClr val="accent1"/>
                </a:solidFill>
                <a:latin typeface="Arial"/>
                <a:ea typeface="Arial"/>
                <a:cs typeface="Arial"/>
                <a:sym typeface="Arial"/>
              </a:defRPr>
            </a:lvl2pPr>
            <a:lvl3pPr marL="0" marR="0" lvl="2" indent="0" algn="l" rtl="0">
              <a:spcBef>
                <a:spcPts val="0"/>
              </a:spcBef>
              <a:buNone/>
              <a:defRPr sz="900" b="0" i="0" u="none" strike="noStrike" cap="none">
                <a:solidFill>
                  <a:schemeClr val="accent1"/>
                </a:solidFill>
                <a:latin typeface="Arial"/>
                <a:ea typeface="Arial"/>
                <a:cs typeface="Arial"/>
                <a:sym typeface="Arial"/>
              </a:defRPr>
            </a:lvl3pPr>
            <a:lvl4pPr marL="0" marR="0" lvl="3" indent="0" algn="l" rtl="0">
              <a:spcBef>
                <a:spcPts val="0"/>
              </a:spcBef>
              <a:buNone/>
              <a:defRPr sz="900" b="0" i="0" u="none" strike="noStrike" cap="none">
                <a:solidFill>
                  <a:schemeClr val="accent1"/>
                </a:solidFill>
                <a:latin typeface="Arial"/>
                <a:ea typeface="Arial"/>
                <a:cs typeface="Arial"/>
                <a:sym typeface="Arial"/>
              </a:defRPr>
            </a:lvl4pPr>
            <a:lvl5pPr marL="0" marR="0" lvl="4" indent="0" algn="l" rtl="0">
              <a:spcBef>
                <a:spcPts val="0"/>
              </a:spcBef>
              <a:buNone/>
              <a:defRPr sz="900" b="0" i="0" u="none" strike="noStrike" cap="none">
                <a:solidFill>
                  <a:schemeClr val="accent1"/>
                </a:solidFill>
                <a:latin typeface="Arial"/>
                <a:ea typeface="Arial"/>
                <a:cs typeface="Arial"/>
                <a:sym typeface="Arial"/>
              </a:defRPr>
            </a:lvl5pPr>
            <a:lvl6pPr marL="0" marR="0" lvl="5" indent="0" algn="l" rtl="0">
              <a:spcBef>
                <a:spcPts val="0"/>
              </a:spcBef>
              <a:buNone/>
              <a:defRPr sz="900" b="0" i="0" u="none" strike="noStrike" cap="none">
                <a:solidFill>
                  <a:schemeClr val="accent1"/>
                </a:solidFill>
                <a:latin typeface="Arial"/>
                <a:ea typeface="Arial"/>
                <a:cs typeface="Arial"/>
                <a:sym typeface="Arial"/>
              </a:defRPr>
            </a:lvl6pPr>
            <a:lvl7pPr marL="0" marR="0" lvl="6" indent="0" algn="l" rtl="0">
              <a:spcBef>
                <a:spcPts val="0"/>
              </a:spcBef>
              <a:buNone/>
              <a:defRPr sz="900" b="0" i="0" u="none" strike="noStrike" cap="none">
                <a:solidFill>
                  <a:schemeClr val="accent1"/>
                </a:solidFill>
                <a:latin typeface="Arial"/>
                <a:ea typeface="Arial"/>
                <a:cs typeface="Arial"/>
                <a:sym typeface="Arial"/>
              </a:defRPr>
            </a:lvl7pPr>
            <a:lvl8pPr marL="0" marR="0" lvl="7" indent="0" algn="l" rtl="0">
              <a:spcBef>
                <a:spcPts val="0"/>
              </a:spcBef>
              <a:buNone/>
              <a:defRPr sz="900" b="0" i="0" u="none" strike="noStrike" cap="none">
                <a:solidFill>
                  <a:schemeClr val="accent1"/>
                </a:solidFill>
                <a:latin typeface="Arial"/>
                <a:ea typeface="Arial"/>
                <a:cs typeface="Arial"/>
                <a:sym typeface="Arial"/>
              </a:defRPr>
            </a:lvl8pPr>
            <a:lvl9pPr marL="0" marR="0" lvl="8" indent="0" algn="l" rtl="0">
              <a:spcBef>
                <a:spcPts val="0"/>
              </a:spcBef>
              <a:buNone/>
              <a:defRPr sz="900" b="0" i="0" u="none" strike="noStrike" cap="none">
                <a:solidFill>
                  <a:schemeClr val="accent1"/>
                </a:solidFill>
                <a:latin typeface="Arial"/>
                <a:ea typeface="Arial"/>
                <a:cs typeface="Arial"/>
                <a:sym typeface="Arial"/>
              </a:defRPr>
            </a:lvl9pPr>
          </a:lstStyle>
          <a:p>
            <a:fld id="{00000000-1234-1234-1234-123412341234}" type="slidenum">
              <a:rPr lang="en-US" smtClean="0"/>
              <a:pPr/>
              <a:t>‹#›</a:t>
            </a:fld>
            <a:endParaRPr lang="en-US" dirty="0"/>
          </a:p>
        </p:txBody>
      </p:sp>
      <p:pic>
        <p:nvPicPr>
          <p:cNvPr id="15" name="Google Shape;15;p50"/>
          <p:cNvPicPr preferRelativeResize="0"/>
          <p:nvPr/>
        </p:nvPicPr>
        <p:blipFill rotWithShape="1">
          <a:blip r:embed="rId27">
            <a:alphaModFix/>
          </a:blip>
          <a:srcRect/>
          <a:stretch/>
        </p:blipFill>
        <p:spPr>
          <a:xfrm>
            <a:off x="9513888" y="6392994"/>
            <a:ext cx="2305050" cy="334291"/>
          </a:xfrm>
          <a:prstGeom prst="rect">
            <a:avLst/>
          </a:prstGeom>
          <a:noFill/>
          <a:ln>
            <a:noFill/>
          </a:ln>
        </p:spPr>
      </p:pic>
    </p:spTree>
    <p:extLst>
      <p:ext uri="{BB962C8B-B14F-4D97-AF65-F5344CB8AC3E}">
        <p14:creationId xmlns:p14="http://schemas.microsoft.com/office/powerpoint/2010/main" val="3075008082"/>
      </p:ext>
    </p:extLst>
  </p:cSld>
  <p:clrMap bg1="lt1" tx1="dk1" bg2="dk2" tx2="lt2" accent1="accent1" accent2="accent2" accent3="accent3" accent4="accent4" accent5="accent5" accent6="accent6" hlink="hlink" folHlink="folHlink"/>
  <p:sldLayoutIdLst>
    <p:sldLayoutId id="2147485213" r:id="rId1"/>
    <p:sldLayoutId id="2147485214" r:id="rId2"/>
    <p:sldLayoutId id="2147485216" r:id="rId3"/>
    <p:sldLayoutId id="2147485218" r:id="rId4"/>
    <p:sldLayoutId id="2147485219" r:id="rId5"/>
    <p:sldLayoutId id="2147485221" r:id="rId6"/>
    <p:sldLayoutId id="2147485222" r:id="rId7"/>
    <p:sldLayoutId id="2147485223" r:id="rId8"/>
    <p:sldLayoutId id="2147485224" r:id="rId9"/>
    <p:sldLayoutId id="2147485226" r:id="rId10"/>
    <p:sldLayoutId id="2147485227" r:id="rId11"/>
    <p:sldLayoutId id="2147485228" r:id="rId12"/>
    <p:sldLayoutId id="2147485229" r:id="rId13"/>
    <p:sldLayoutId id="2147485230" r:id="rId14"/>
    <p:sldLayoutId id="2147485231" r:id="rId15"/>
    <p:sldLayoutId id="2147485232" r:id="rId16"/>
    <p:sldLayoutId id="2147485233" r:id="rId17"/>
    <p:sldLayoutId id="2147485234" r:id="rId18"/>
    <p:sldLayoutId id="2147485235" r:id="rId19"/>
    <p:sldLayoutId id="2147485236" r:id="rId20"/>
    <p:sldLayoutId id="2147485237" r:id="rId21"/>
    <p:sldLayoutId id="2147485240" r:id="rId2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15:clr>
            <a:srgbClr val="A4A3A4"/>
          </p15:clr>
        </p15:guide>
        <p15:guide id="2" pos="7680">
          <p15:clr>
            <a:srgbClr val="A4A3A4"/>
          </p15:clr>
        </p15:guide>
        <p15:guide id="3" pos="211">
          <p15:clr>
            <a:srgbClr val="F26B43"/>
          </p15:clr>
        </p15:guide>
        <p15:guide id="4" pos="1614">
          <p15:clr>
            <a:srgbClr val="A4A3A4"/>
          </p15:clr>
        </p15:guide>
        <p15:guide id="5" pos="1686">
          <p15:clr>
            <a:srgbClr val="A4A3A4"/>
          </p15:clr>
        </p15:guide>
        <p15:guide id="6" pos="3074">
          <p15:clr>
            <a:srgbClr val="A4A3A4"/>
          </p15:clr>
        </p15:guide>
        <p15:guide id="7" pos="3146">
          <p15:clr>
            <a:srgbClr val="A4A3A4"/>
          </p15:clr>
        </p15:guide>
        <p15:guide id="8" pos="4533">
          <p15:clr>
            <a:srgbClr val="A4A3A4"/>
          </p15:clr>
        </p15:guide>
        <p15:guide id="9" pos="4605">
          <p15:clr>
            <a:srgbClr val="A4A3A4"/>
          </p15:clr>
        </p15:guide>
        <p15:guide id="10" pos="5993">
          <p15:clr>
            <a:srgbClr val="A4A3A4"/>
          </p15:clr>
        </p15:guide>
        <p15:guide id="11" pos="6065">
          <p15:clr>
            <a:srgbClr val="A4A3A4"/>
          </p15:clr>
        </p15:guide>
        <p15:guide id="12" pos="7452">
          <p15:clr>
            <a:srgbClr val="F26B43"/>
          </p15:clr>
        </p15:guide>
        <p15:guide id="13" orient="horz">
          <p15:clr>
            <a:srgbClr val="A4A3A4"/>
          </p15:clr>
        </p15:guide>
        <p15:guide id="14" orient="horz" pos="4320">
          <p15:clr>
            <a:srgbClr val="A4A3A4"/>
          </p15:clr>
        </p15:guide>
        <p15:guide id="15" orient="horz" pos="299">
          <p15:clr>
            <a:srgbClr val="A4A3A4"/>
          </p15:clr>
        </p15:guide>
        <p15:guide id="16" orient="horz" pos="4020">
          <p15:clr>
            <a:srgbClr val="A4A3A4"/>
          </p15:clr>
        </p15:guide>
        <p15:guide id="17" orient="horz" pos="3952">
          <p15:clr>
            <a:srgbClr val="F26B43"/>
          </p15:clr>
        </p15:guide>
        <p15:guide id="18" orient="horz" pos="754">
          <p15:clr>
            <a:srgbClr val="F26B43"/>
          </p15:clr>
        </p15:guide>
        <p15:guide id="19" orient="horz" pos="6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3518717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MSIPCMContentMarking" descr="{&quot;HashCode&quot;:1231056682,&quot;Placement&quot;:&quot;Footer&quot;,&quot;Top&quot;:516.65155,&quot;Left&quot;:437.819916,&quot;SlideWidth&quot;:960,&quot;SlideHeight&quot;:540}">
            <a:extLst>
              <a:ext uri="{FF2B5EF4-FFF2-40B4-BE49-F238E27FC236}">
                <a16:creationId xmlns:a16="http://schemas.microsoft.com/office/drawing/2014/main" id="{1E815E92-6609-10F7-DEA2-D56DA12826F5}"/>
              </a:ext>
            </a:extLst>
          </p:cNvPr>
          <p:cNvSpPr txBox="1"/>
          <p:nvPr userDrawn="1"/>
        </p:nvSpPr>
        <p:spPr>
          <a:xfrm>
            <a:off x="5560313" y="6561475"/>
            <a:ext cx="1071374" cy="296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spcBef>
                <a:spcPts val="0"/>
              </a:spcBef>
              <a:spcAft>
                <a:spcPts val="0"/>
              </a:spcAft>
            </a:pPr>
            <a:r>
              <a:rPr lang="es-ES" sz="1200">
                <a:solidFill>
                  <a:srgbClr val="008000"/>
                </a:solidFill>
                <a:latin typeface="Calibri" panose="020F0502020204030204" pitchFamily="34" charset="0"/>
              </a:rPr>
              <a:t>Internal Use</a:t>
            </a:r>
            <a:endParaRPr lang="es-ES" sz="1200" dirty="0" err="1">
              <a:solidFill>
                <a:srgbClr val="008000"/>
              </a:solidFill>
              <a:latin typeface="Calibri" panose="020F0502020204030204" pitchFamily="34" charset="0"/>
            </a:endParaRPr>
          </a:p>
        </p:txBody>
      </p:sp>
    </p:spTree>
    <p:extLst>
      <p:ext uri="{BB962C8B-B14F-4D97-AF65-F5344CB8AC3E}">
        <p14:creationId xmlns:p14="http://schemas.microsoft.com/office/powerpoint/2010/main" val="288616091"/>
      </p:ext>
    </p:extLst>
  </p:cSld>
  <p:clrMap bg1="lt1" tx1="dk1" bg2="lt2" tx2="dk2" accent1="accent1" accent2="accent2" accent3="accent3" accent4="accent4" accent5="accent5" accent6="accent6" hlink="hlink" folHlink="folHlink"/>
  <p:sldLayoutIdLst>
    <p:sldLayoutId id="2147485242" r:id="rId1"/>
    <p:sldLayoutId id="2147485243" r:id="rId2"/>
    <p:sldLayoutId id="2147485244" r:id="rId3"/>
    <p:sldLayoutId id="2147485245" r:id="rId4"/>
    <p:sldLayoutId id="2147485246" r:id="rId5"/>
    <p:sldLayoutId id="2147485247" r:id="rId6"/>
    <p:sldLayoutId id="2147485248" r:id="rId7"/>
    <p:sldLayoutId id="2147485249" r:id="rId8"/>
    <p:sldLayoutId id="2147485250" r:id="rId9"/>
    <p:sldLayoutId id="2147485251" r:id="rId10"/>
    <p:sldLayoutId id="2147485252" r:id="rId11"/>
    <p:sldLayoutId id="2147485253" r:id="rId12"/>
    <p:sldLayoutId id="2147485254" r:id="rId13"/>
    <p:sldLayoutId id="2147485255" r:id="rId14"/>
    <p:sldLayoutId id="2147485256" r:id="rId15"/>
    <p:sldLayoutId id="2147485257" r:id="rId16"/>
    <p:sldLayoutId id="2147485258" r:id="rId17"/>
    <p:sldLayoutId id="2147485259" r:id="rId18"/>
    <p:sldLayoutId id="2147485260" r:id="rId19"/>
    <p:sldLayoutId id="2147485261" r:id="rId20"/>
    <p:sldLayoutId id="2147485262" r:id="rId21"/>
    <p:sldLayoutId id="2147485263" r:id="rId22"/>
    <p:sldLayoutId id="2147485264" r:id="rId23"/>
    <p:sldLayoutId id="2147485265" r:id="rId24"/>
    <p:sldLayoutId id="2147485266" r:id="rId25"/>
    <p:sldLayoutId id="2147485267" r:id="rId26"/>
    <p:sldLayoutId id="2147485268" r:id="rId27"/>
    <p:sldLayoutId id="2147485269" r:id="rId28"/>
    <p:sldLayoutId id="2147485270" r:id="rId29"/>
    <p:sldLayoutId id="2147485271" r:id="rId30"/>
    <p:sldLayoutId id="2147485272" r:id="rId31"/>
    <p:sldLayoutId id="2147485273" r:id="rId32"/>
    <p:sldLayoutId id="2147485274" r:id="rId33"/>
    <p:sldLayoutId id="2147485275" r:id="rId34"/>
    <p:sldLayoutId id="2147485276" r:id="rId35"/>
    <p:sldLayoutId id="2147485277" r:id="rId36"/>
    <p:sldLayoutId id="2147485278" r:id="rId37"/>
    <p:sldLayoutId id="2147485279" r:id="rId38"/>
    <p:sldLayoutId id="2147485280" r:id="rId39"/>
    <p:sldLayoutId id="2147485281" r:id="rId40"/>
    <p:sldLayoutId id="2147485282" r:id="rId41"/>
    <p:sldLayoutId id="2147485283" r:id="rId42"/>
    <p:sldLayoutId id="2147485284" r:id="rId43"/>
    <p:sldLayoutId id="2147485285" r:id="rId44"/>
    <p:sldLayoutId id="2147485286" r:id="rId45"/>
    <p:sldLayoutId id="2147485287" r:id="rId46"/>
    <p:sldLayoutId id="2147485288" r:id="rId47"/>
    <p:sldLayoutId id="2147485289" r:id="rId48"/>
    <p:sldLayoutId id="2147485290" r:id="rId49"/>
    <p:sldLayoutId id="2147485291" r:id="rId50"/>
    <p:sldLayoutId id="2147485292" r:id="rId51"/>
    <p:sldLayoutId id="2147485293" r:id="rId52"/>
    <p:sldLayoutId id="2147485294" r:id="rId53"/>
    <p:sldLayoutId id="2147485295" r:id="rId54"/>
    <p:sldLayoutId id="2147485296" r:id="rId55"/>
    <p:sldLayoutId id="2147485297" r:id="rId56"/>
    <p:sldLayoutId id="2147485298" r:id="rId57"/>
    <p:sldLayoutId id="2147485299" r:id="rId58"/>
    <p:sldLayoutId id="2147485300" r:id="rId59"/>
    <p:sldLayoutId id="2147485301" r:id="rId60"/>
    <p:sldLayoutId id="2147485302" r:id="rId61"/>
    <p:sldLayoutId id="2147485303" r:id="rId62"/>
    <p:sldLayoutId id="2147485304" r:id="rId63"/>
    <p:sldLayoutId id="2147485305" r:id="rId64"/>
    <p:sldLayoutId id="2147485306" r:id="rId65"/>
    <p:sldLayoutId id="2147485307" r:id="rId66"/>
    <p:sldLayoutId id="2147485308"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60C09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209BC4-2170-DE8C-4BCD-34D10C581A2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VI" dirty="0"/>
          </a:p>
        </p:txBody>
      </p:sp>
      <p:sp>
        <p:nvSpPr>
          <p:cNvPr id="3" name="Text Placeholder 2">
            <a:extLst>
              <a:ext uri="{FF2B5EF4-FFF2-40B4-BE49-F238E27FC236}">
                <a16:creationId xmlns:a16="http://schemas.microsoft.com/office/drawing/2014/main" id="{0EC8369E-EDA9-BD09-FC27-D99CC5493F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VI" dirty="0"/>
          </a:p>
        </p:txBody>
      </p:sp>
      <p:sp>
        <p:nvSpPr>
          <p:cNvPr id="4" name="Date Placeholder 3">
            <a:extLst>
              <a:ext uri="{FF2B5EF4-FFF2-40B4-BE49-F238E27FC236}">
                <a16:creationId xmlns:a16="http://schemas.microsoft.com/office/drawing/2014/main" id="{0E17FCFD-BB29-5B6B-84A3-BFF951C4C2B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VI"/>
          </a:p>
        </p:txBody>
      </p:sp>
      <p:sp>
        <p:nvSpPr>
          <p:cNvPr id="5" name="Footer Placeholder 4">
            <a:extLst>
              <a:ext uri="{FF2B5EF4-FFF2-40B4-BE49-F238E27FC236}">
                <a16:creationId xmlns:a16="http://schemas.microsoft.com/office/drawing/2014/main" id="{4A2D7486-F702-E4BC-20C5-7D7FCCE7C96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n-NO"/>
              <a:t>DIGITAL DATA DESIGN INSTITUTE AT HARVARD</a:t>
            </a:r>
            <a:endParaRPr lang="en-VI" dirty="0"/>
          </a:p>
        </p:txBody>
      </p:sp>
      <p:sp>
        <p:nvSpPr>
          <p:cNvPr id="6" name="Slide Number Placeholder 5">
            <a:extLst>
              <a:ext uri="{FF2B5EF4-FFF2-40B4-BE49-F238E27FC236}">
                <a16:creationId xmlns:a16="http://schemas.microsoft.com/office/drawing/2014/main" id="{E307A928-4840-56D0-77C5-76E0F602368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8589FA3-736A-46BC-8099-FFE9D55B5DAD}" type="slidenum">
              <a:rPr lang="en-VI" smtClean="0"/>
              <a:t>‹#›</a:t>
            </a:fld>
            <a:endParaRPr lang="en-VI" dirty="0"/>
          </a:p>
        </p:txBody>
      </p:sp>
    </p:spTree>
    <p:custDataLst>
      <p:tags r:id="rId7"/>
    </p:custDataLst>
    <p:extLst>
      <p:ext uri="{BB962C8B-B14F-4D97-AF65-F5344CB8AC3E}">
        <p14:creationId xmlns:p14="http://schemas.microsoft.com/office/powerpoint/2010/main" val="3042034305"/>
      </p:ext>
    </p:extLst>
  </p:cSld>
  <p:clrMap bg1="lt1" tx1="dk1" bg2="lt2" tx2="dk2" accent1="accent1" accent2="accent2" accent3="accent3" accent4="accent4" accent5="accent5" accent6="accent6" hlink="hlink" folHlink="folHlink"/>
  <p:sldLayoutIdLst>
    <p:sldLayoutId id="2147485317" r:id="rId1"/>
    <p:sldLayoutId id="2147485318" r:id="rId2"/>
    <p:sldLayoutId id="2147485319" r:id="rId3"/>
    <p:sldLayoutId id="2147485320" r:id="rId4"/>
    <p:sldLayoutId id="2147485321" r:id="rId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V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150.xml"/><Relationship Id="rId1" Type="http://schemas.openxmlformats.org/officeDocument/2006/relationships/themeOverride" Target="../theme/themeOverride1.xml"/><Relationship Id="rId6" Type="http://schemas.openxmlformats.org/officeDocument/2006/relationships/image" Target="../media/image5.emf"/><Relationship Id="rId5" Type="http://schemas.openxmlformats.org/officeDocument/2006/relationships/oleObject" Target="../embeddings/oleObject12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4.png"/><Relationship Id="rId2" Type="http://schemas.openxmlformats.org/officeDocument/2006/relationships/slideLayout" Target="../slideLayouts/slideLayout30.xml"/><Relationship Id="rId1" Type="http://schemas.openxmlformats.org/officeDocument/2006/relationships/tags" Target="../tags/tag160.xml"/><Relationship Id="rId6" Type="http://schemas.openxmlformats.org/officeDocument/2006/relationships/image" Target="../media/image41.emf"/><Relationship Id="rId5" Type="http://schemas.openxmlformats.org/officeDocument/2006/relationships/oleObject" Target="../embeddings/oleObject137.bin"/><Relationship Id="rId4" Type="http://schemas.openxmlformats.org/officeDocument/2006/relationships/image" Target="../media/image42.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4.png"/><Relationship Id="rId2" Type="http://schemas.openxmlformats.org/officeDocument/2006/relationships/slideLayout" Target="../slideLayouts/slideLayout30.xml"/><Relationship Id="rId1" Type="http://schemas.openxmlformats.org/officeDocument/2006/relationships/tags" Target="../tags/tag161.xml"/><Relationship Id="rId6" Type="http://schemas.openxmlformats.org/officeDocument/2006/relationships/image" Target="../media/image41.emf"/><Relationship Id="rId5" Type="http://schemas.openxmlformats.org/officeDocument/2006/relationships/oleObject" Target="../embeddings/oleObject138.bin"/><Relationship Id="rId4" Type="http://schemas.openxmlformats.org/officeDocument/2006/relationships/image" Target="../media/image43.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4.png"/><Relationship Id="rId2" Type="http://schemas.openxmlformats.org/officeDocument/2006/relationships/slideLayout" Target="../slideLayouts/slideLayout30.xml"/><Relationship Id="rId1" Type="http://schemas.openxmlformats.org/officeDocument/2006/relationships/tags" Target="../tags/tag162.xml"/><Relationship Id="rId6" Type="http://schemas.openxmlformats.org/officeDocument/2006/relationships/image" Target="../media/image41.emf"/><Relationship Id="rId5" Type="http://schemas.openxmlformats.org/officeDocument/2006/relationships/oleObject" Target="../embeddings/oleObject139.bin"/><Relationship Id="rId4" Type="http://schemas.openxmlformats.org/officeDocument/2006/relationships/image" Target="../media/image44.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4.png"/><Relationship Id="rId2" Type="http://schemas.openxmlformats.org/officeDocument/2006/relationships/slideLayout" Target="../slideLayouts/slideLayout30.xml"/><Relationship Id="rId1" Type="http://schemas.openxmlformats.org/officeDocument/2006/relationships/tags" Target="../tags/tag163.xml"/><Relationship Id="rId6" Type="http://schemas.openxmlformats.org/officeDocument/2006/relationships/image" Target="../media/image41.emf"/><Relationship Id="rId5" Type="http://schemas.openxmlformats.org/officeDocument/2006/relationships/oleObject" Target="../embeddings/oleObject140.bin"/><Relationship Id="rId4" Type="http://schemas.openxmlformats.org/officeDocument/2006/relationships/image" Target="../media/image45.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9.xml"/><Relationship Id="rId1" Type="http://schemas.openxmlformats.org/officeDocument/2006/relationships/tags" Target="../tags/tag164.xml"/><Relationship Id="rId5" Type="http://schemas.openxmlformats.org/officeDocument/2006/relationships/image" Target="../media/image5.emf"/><Relationship Id="rId4" Type="http://schemas.openxmlformats.org/officeDocument/2006/relationships/oleObject" Target="../embeddings/oleObject141.bin"/></Relationships>
</file>

<file path=ppt/slides/_rels/slide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92.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90.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90.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111.xml"/><Relationship Id="rId5" Type="http://schemas.openxmlformats.org/officeDocument/2006/relationships/image" Target="../media/image49.jpeg"/><Relationship Id="rId4" Type="http://schemas.openxmlformats.org/officeDocument/2006/relationships/image" Target="../media/image48.png"/></Relationships>
</file>

<file path=ppt/slides/_rels/slide19.xml.rels><?xml version="1.0" encoding="UTF-8" standalone="yes"?>
<Relationships xmlns="http://schemas.openxmlformats.org/package/2006/relationships"><Relationship Id="rId2" Type="http://schemas.openxmlformats.org/officeDocument/2006/relationships/hyperlink" Target="mailto:rsadun@hbs.edu" TargetMode="External"/><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0.xml"/><Relationship Id="rId1" Type="http://schemas.openxmlformats.org/officeDocument/2006/relationships/tags" Target="../tags/tag151.x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129.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0.png"/><Relationship Id="rId2" Type="http://schemas.openxmlformats.org/officeDocument/2006/relationships/slideLayout" Target="../slideLayouts/slideLayout89.xml"/><Relationship Id="rId1" Type="http://schemas.openxmlformats.org/officeDocument/2006/relationships/tags" Target="../tags/tag165.x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129.bin"/></Relationships>
</file>

<file path=ppt/slides/_rels/slide2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9.xml"/><Relationship Id="rId7" Type="http://schemas.openxmlformats.org/officeDocument/2006/relationships/image" Target="../media/image54.svg"/><Relationship Id="rId2" Type="http://schemas.openxmlformats.org/officeDocument/2006/relationships/slideLayout" Target="../slideLayouts/slideLayout183.xml"/><Relationship Id="rId1" Type="http://schemas.openxmlformats.org/officeDocument/2006/relationships/tags" Target="../tags/tag166.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sv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7.xml"/><Relationship Id="rId1" Type="http://schemas.openxmlformats.org/officeDocument/2006/relationships/tags" Target="../tags/tag152.xml"/><Relationship Id="rId5" Type="http://schemas.openxmlformats.org/officeDocument/2006/relationships/image" Target="../media/image5.emf"/><Relationship Id="rId4" Type="http://schemas.openxmlformats.org/officeDocument/2006/relationships/oleObject" Target="../embeddings/oleObject130.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7.xml"/><Relationship Id="rId1" Type="http://schemas.openxmlformats.org/officeDocument/2006/relationships/tags" Target="../tags/tag153.xml"/><Relationship Id="rId5" Type="http://schemas.openxmlformats.org/officeDocument/2006/relationships/image" Target="../media/image5.emf"/><Relationship Id="rId4" Type="http://schemas.openxmlformats.org/officeDocument/2006/relationships/oleObject" Target="../embeddings/oleObject13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8.xml"/><Relationship Id="rId1" Type="http://schemas.openxmlformats.org/officeDocument/2006/relationships/tags" Target="../tags/tag154.xml"/><Relationship Id="rId5" Type="http://schemas.openxmlformats.org/officeDocument/2006/relationships/image" Target="../media/image5.emf"/><Relationship Id="rId4" Type="http://schemas.openxmlformats.org/officeDocument/2006/relationships/oleObject" Target="../embeddings/oleObject13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0.xml"/><Relationship Id="rId1" Type="http://schemas.openxmlformats.org/officeDocument/2006/relationships/tags" Target="../tags/tag155.x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133.bin"/></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10.xml"/><Relationship Id="rId7" Type="http://schemas.openxmlformats.org/officeDocument/2006/relationships/image" Target="../media/image1.emf"/><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oleObject" Target="../embeddings/oleObject134.bin"/><Relationship Id="rId5" Type="http://schemas.openxmlformats.org/officeDocument/2006/relationships/image" Target="../media/image38.jpe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7.xml"/><Relationship Id="rId1" Type="http://schemas.openxmlformats.org/officeDocument/2006/relationships/tags" Target="../tags/tag158.xml"/><Relationship Id="rId6" Type="http://schemas.openxmlformats.org/officeDocument/2006/relationships/image" Target="../media/image39.jpeg"/><Relationship Id="rId5" Type="http://schemas.openxmlformats.org/officeDocument/2006/relationships/image" Target="../media/image5.emf"/><Relationship Id="rId4" Type="http://schemas.openxmlformats.org/officeDocument/2006/relationships/oleObject" Target="../embeddings/oleObject13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4.png"/><Relationship Id="rId2" Type="http://schemas.openxmlformats.org/officeDocument/2006/relationships/slideLayout" Target="../slideLayouts/slideLayout30.xml"/><Relationship Id="rId1" Type="http://schemas.openxmlformats.org/officeDocument/2006/relationships/tags" Target="../tags/tag159.xml"/><Relationship Id="rId6" Type="http://schemas.openxmlformats.org/officeDocument/2006/relationships/image" Target="../media/image41.emf"/><Relationship Id="rId5" Type="http://schemas.openxmlformats.org/officeDocument/2006/relationships/oleObject" Target="../embeddings/oleObject136.bin"/><Relationship Id="rId4" Type="http://schemas.openxmlformats.org/officeDocument/2006/relationships/image" Target="../media/image40.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Shape 20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485F21-732F-0FD8-3572-412025B4E522}"/>
              </a:ext>
            </a:extLst>
          </p:cNvPr>
          <p:cNvGraphicFramePr>
            <a:graphicFrameLocks noChangeAspect="1"/>
          </p:cNvGraphicFramePr>
          <p:nvPr>
            <p:custDataLst>
              <p:tags r:id="rId2"/>
            </p:custDataLst>
            <p:extLst>
              <p:ext uri="{D42A27DB-BD31-4B8C-83A1-F6EECF244321}">
                <p14:modId xmlns:p14="http://schemas.microsoft.com/office/powerpoint/2010/main" val="856663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3" name="Object 2" hidden="1">
                        <a:extLst>
                          <a:ext uri="{FF2B5EF4-FFF2-40B4-BE49-F238E27FC236}">
                            <a16:creationId xmlns:a16="http://schemas.microsoft.com/office/drawing/2014/main" id="{14485F21-732F-0FD8-3572-412025B4E5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1" name="Google Shape;201;p1"/>
          <p:cNvSpPr txBox="1">
            <a:spLocks noGrp="1"/>
          </p:cNvSpPr>
          <p:nvPr>
            <p:ph type="title"/>
          </p:nvPr>
        </p:nvSpPr>
        <p:spPr>
          <a:xfrm>
            <a:off x="7505700" y="2062163"/>
            <a:ext cx="3751962" cy="2827078"/>
          </a:xfrm>
          <a:prstGeom prst="rect">
            <a:avLst/>
          </a:prstGeom>
          <a:noFill/>
          <a:ln>
            <a:noFill/>
          </a:ln>
        </p:spPr>
        <p:txBody>
          <a:bodyPr spcFirstLastPara="1" wrap="square" lIns="0" tIns="540000" rIns="72000" bIns="72000" anchor="ctr" anchorCtr="0">
            <a:noAutofit/>
          </a:bodyPr>
          <a:lstStyle/>
          <a:p>
            <a:pPr marL="0" lvl="0" indent="0" algn="l">
              <a:lnSpc>
                <a:spcPct val="90000"/>
              </a:lnSpc>
              <a:spcBef>
                <a:spcPts val="0"/>
              </a:spcBef>
              <a:spcAft>
                <a:spcPts val="0"/>
              </a:spcAft>
              <a:buClr>
                <a:schemeClr val="dk1"/>
              </a:buClr>
              <a:buSzPts val="2000"/>
              <a:buFont typeface="Arial"/>
              <a:buNone/>
            </a:pPr>
            <a:r>
              <a:rPr lang="en-US" sz="3600" b="1" dirty="0"/>
              <a:t>Reskilling Revolution?</a:t>
            </a:r>
            <a:br>
              <a:rPr lang="en-US" sz="3600" b="1" dirty="0"/>
            </a:br>
            <a:br>
              <a:rPr lang="en-US" sz="3600" b="1" dirty="0"/>
            </a:br>
            <a:r>
              <a:rPr lang="en-US" sz="3000" b="1" dirty="0"/>
              <a:t>Evidence from the Digital Reskilling Lab at HBS</a:t>
            </a:r>
            <a:br>
              <a:rPr lang="en-US" sz="3000" b="1" dirty="0"/>
            </a:br>
            <a:endParaRPr lang="en-US" sz="3000" b="1" dirty="0"/>
          </a:p>
        </p:txBody>
      </p:sp>
      <p:sp>
        <p:nvSpPr>
          <p:cNvPr id="202" name="Google Shape;202;p1"/>
          <p:cNvSpPr txBox="1">
            <a:spLocks noGrp="1"/>
          </p:cNvSpPr>
          <p:nvPr>
            <p:ph type="body" idx="1"/>
          </p:nvPr>
        </p:nvSpPr>
        <p:spPr>
          <a:xfrm>
            <a:off x="7505700" y="5013737"/>
            <a:ext cx="1930584" cy="588605"/>
          </a:xfrm>
          <a:prstGeom prst="rect">
            <a:avLst/>
          </a:prstGeom>
          <a:noFill/>
          <a:ln>
            <a:noFill/>
          </a:ln>
        </p:spPr>
        <p:txBody>
          <a:bodyPr spcFirstLastPara="1" wrap="square" lIns="0" tIns="72000" rIns="72000" bIns="72000" anchor="ctr" anchorCtr="0">
            <a:spAutoFit/>
          </a:bodyPr>
          <a:lstStyle/>
          <a:p>
            <a:pPr marL="0" indent="0">
              <a:spcBef>
                <a:spcPts val="0"/>
              </a:spcBef>
            </a:pPr>
            <a:r>
              <a:rPr lang="en-US" dirty="0">
                <a:solidFill>
                  <a:schemeClr val="accent5">
                    <a:lumMod val="60000"/>
                    <a:lumOff val="40000"/>
                  </a:schemeClr>
                </a:solidFill>
              </a:rPr>
              <a:t>20 JULY 2023</a:t>
            </a:r>
          </a:p>
          <a:p>
            <a:pPr marL="0" indent="0">
              <a:spcBef>
                <a:spcPts val="0"/>
              </a:spcBef>
            </a:pPr>
            <a:r>
              <a:rPr lang="en-US" dirty="0">
                <a:solidFill>
                  <a:schemeClr val="accent5">
                    <a:lumMod val="60000"/>
                    <a:lumOff val="40000"/>
                  </a:schemeClr>
                </a:solidFill>
              </a:rPr>
              <a:t>Raffaella Sadun</a:t>
            </a:r>
          </a:p>
        </p:txBody>
      </p:sp>
    </p:spTree>
  </p:cSld>
  <p:clrMapOvr>
    <a:overrideClrMapping bg1="lt1" tx1="dk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E7CF61A-44B3-47B2-BF32-5B68C85B80AB}"/>
              </a:ext>
            </a:extLst>
          </p:cNvPr>
          <p:cNvGraphicFramePr>
            <a:graphicFrameLocks noChangeAspect="1"/>
          </p:cNvGraphicFramePr>
          <p:nvPr>
            <p:custDataLst>
              <p:tags r:id="rId1"/>
            </p:custDataLst>
            <p:extLst>
              <p:ext uri="{D42A27DB-BD31-4B8C-83A1-F6EECF244321}">
                <p14:modId xmlns:p14="http://schemas.microsoft.com/office/powerpoint/2010/main" val="1148974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think-cell data - do not delete" hidden="1">
                        <a:extLst>
                          <a:ext uri="{FF2B5EF4-FFF2-40B4-BE49-F238E27FC236}">
                            <a16:creationId xmlns:a16="http://schemas.microsoft.com/office/drawing/2014/main" id="{FE7CF61A-44B3-47B2-BF32-5B68C85B80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DDFF851F-120C-4CAF-8CF7-FEF6D1207224}"/>
              </a:ext>
            </a:extLst>
          </p:cNvPr>
          <p:cNvSpPr/>
          <p:nvPr/>
        </p:nvSpPr>
        <p:spPr>
          <a:xfrm>
            <a:off x="0" y="1673897"/>
            <a:ext cx="11658601" cy="1135388"/>
          </a:xfrm>
          <a:prstGeom prst="rect">
            <a:avLst/>
          </a:prstGeom>
          <a:gradFill flip="none" rotWithShape="1">
            <a:gsLst>
              <a:gs pos="36000">
                <a:schemeClr val="accent5"/>
              </a:gs>
              <a:gs pos="100000">
                <a:srgbClr val="A41034"/>
              </a:gs>
            </a:gsLst>
            <a:lin ang="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8" name="ee4pContent2">
            <a:extLst>
              <a:ext uri="{FF2B5EF4-FFF2-40B4-BE49-F238E27FC236}">
                <a16:creationId xmlns:a16="http://schemas.microsoft.com/office/drawing/2014/main" id="{B99F26E2-B506-48B4-A168-DA9461B88EDE}"/>
              </a:ext>
            </a:extLst>
          </p:cNvPr>
          <p:cNvSpPr txBox="1"/>
          <p:nvPr/>
        </p:nvSpPr>
        <p:spPr>
          <a:xfrm>
            <a:off x="6256021" y="1979542"/>
            <a:ext cx="5307330" cy="49244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flat" cmpd="sng" algn="ctr">
                <a:solidFill>
                  <a:srgbClr val="EDFA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0">
            <a:noAutofit/>
          </a:bodyPr>
          <a:lstStyle>
            <a:defPPr>
              <a:defRPr lang="en-US"/>
            </a:defPPr>
            <a:lvl1pPr>
              <a:buClr>
                <a:srgbClr val="30B131"/>
              </a:buClr>
              <a:buSzPct val="100000"/>
              <a:buFont typeface="Trebuchet MS" panose="020B0603020202020204" pitchFamily="34" charset="0"/>
              <a:buChar char="​"/>
              <a:defRPr sz="2000">
                <a:solidFill>
                  <a:srgbClr val="575757"/>
                </a:solidFill>
              </a:defRPr>
            </a:lvl1pPr>
            <a:lvl2pPr marL="320040" lvl="1" indent="-219456">
              <a:buClr>
                <a:srgbClr val="30B131"/>
              </a:buClr>
              <a:buSzPct val="100000"/>
              <a:buFont typeface="Trebuchet MS" panose="020B0603020202020204" pitchFamily="34" charset="0"/>
              <a:buChar char="•"/>
              <a:defRPr sz="2000">
                <a:solidFill>
                  <a:srgbClr val="575757"/>
                </a:solidFill>
              </a:defRPr>
            </a:lvl2pPr>
            <a:lvl3pPr marL="649224" lvl="2" indent="-219456">
              <a:buClr>
                <a:srgbClr val="30B131"/>
              </a:buClr>
              <a:buSzPct val="100000"/>
              <a:buFont typeface="Trebuchet MS" panose="020B0603020202020204" pitchFamily="34" charset="0"/>
              <a:buChar char="–"/>
              <a:defRPr sz="2000">
                <a:solidFill>
                  <a:srgbClr val="575757"/>
                </a:solidFill>
              </a:defRPr>
            </a:lvl3pPr>
            <a:lvl4pPr marL="0" lvl="3">
              <a:buClr>
                <a:srgbClr val="30B131"/>
              </a:buClr>
              <a:buSzPct val="100000"/>
              <a:buFont typeface="Trebuchet MS" panose="020B0603020202020204" pitchFamily="34" charset="0"/>
              <a:buChar char="​"/>
              <a:defRPr sz="2400">
                <a:solidFill>
                  <a:srgbClr val="30B131"/>
                </a:solidFill>
              </a:defRPr>
            </a:lvl4pPr>
            <a:lvl5pPr marL="0" lvl="4">
              <a:buClr>
                <a:srgbClr val="30B131"/>
              </a:buClr>
              <a:buSzPct val="100000"/>
              <a:buFont typeface="Trebuchet MS" panose="020B0603020202020204" pitchFamily="34" charset="0"/>
              <a:buChar char="​"/>
              <a:defRPr sz="2400" b="1">
                <a:solidFill>
                  <a:srgbClr val="575757"/>
                </a:solidFill>
              </a:defRPr>
            </a:lvl5pPr>
            <a:lvl6pPr marL="320040" lvl="5" indent="-219456">
              <a:buClr>
                <a:srgbClr val="30B131"/>
              </a:buClr>
              <a:buSzPct val="100000"/>
              <a:buFont typeface="Trebuchet MS" panose="020B0603020202020204" pitchFamily="34" charset="0"/>
              <a:buChar char="•"/>
              <a:defRPr sz="2400">
                <a:solidFill>
                  <a:srgbClr val="575757"/>
                </a:solidFill>
              </a:defRPr>
            </a:lvl6pPr>
            <a:lvl7pPr marL="0" lvl="6">
              <a:buClr>
                <a:srgbClr val="30B131"/>
              </a:buClr>
              <a:buSzPct val="100000"/>
              <a:buFont typeface="Trebuchet MS" panose="020B0603020202020204" pitchFamily="34" charset="0"/>
              <a:buChar char="​"/>
              <a:defRPr sz="5400">
                <a:solidFill>
                  <a:srgbClr val="575757"/>
                </a:solidFill>
              </a:defRPr>
            </a:lvl7pPr>
            <a:lvl8pPr marL="0" lvl="7">
              <a:buClr>
                <a:srgbClr val="30B131"/>
              </a:buClr>
              <a:buSzPct val="100000"/>
              <a:buFont typeface="Trebuchet MS" panose="020B0603020202020204" pitchFamily="34" charset="0"/>
              <a:buChar char="​"/>
              <a:defRPr sz="6600">
                <a:solidFill>
                  <a:srgbClr val="30B131"/>
                </a:solidFill>
              </a:defRPr>
            </a:lvl8pPr>
            <a:lvl9pPr marL="0" lvl="8">
              <a:buClr>
                <a:srgbClr val="30B131"/>
              </a:buClr>
              <a:buSzPct val="100000"/>
              <a:buFont typeface="Trebuchet MS" panose="020B0603020202020204" pitchFamily="34" charset="0"/>
              <a:buChar char="​"/>
              <a:defRPr sz="4400">
                <a:solidFill>
                  <a:srgbClr val="30B131"/>
                </a:solidFill>
              </a:defRPr>
            </a:lvl9pPr>
          </a:lstStyle>
          <a:p>
            <a:pPr marL="0" marR="0" lvl="0" indent="0" algn="ctr" defTabSz="914400" eaLnBrk="1" fontAlgn="auto" latinLnBrk="0" hangingPunct="1">
              <a:lnSpc>
                <a:spcPct val="100000"/>
              </a:lnSpc>
              <a:spcBef>
                <a:spcPts val="0"/>
              </a:spcBef>
              <a:spcAft>
                <a:spcPts val="0"/>
              </a:spcAft>
              <a:buClr>
                <a:srgbClr val="30B131"/>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skilling is every leader's and manager's responsibility</a:t>
            </a:r>
          </a:p>
        </p:txBody>
      </p:sp>
      <p:sp>
        <p:nvSpPr>
          <p:cNvPr id="59" name="ee4pContent2">
            <a:extLst>
              <a:ext uri="{FF2B5EF4-FFF2-40B4-BE49-F238E27FC236}">
                <a16:creationId xmlns:a16="http://schemas.microsoft.com/office/drawing/2014/main" id="{EEDB6977-617D-42EA-B3B7-B057FE7C4701}"/>
              </a:ext>
            </a:extLst>
          </p:cNvPr>
          <p:cNvSpPr txBox="1"/>
          <p:nvPr/>
        </p:nvSpPr>
        <p:spPr>
          <a:xfrm>
            <a:off x="628651" y="1979542"/>
            <a:ext cx="5307330" cy="49244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flat" cmpd="sng" algn="ctr">
                <a:solidFill>
                  <a:srgbClr val="EDFA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0">
            <a:noAutofit/>
          </a:bodyPr>
          <a:lstStyle>
            <a:defPPr>
              <a:defRPr lang="en-US"/>
            </a:defPPr>
            <a:lvl1pPr>
              <a:buClr>
                <a:srgbClr val="30B131"/>
              </a:buClr>
              <a:buSzPct val="100000"/>
              <a:buFont typeface="Trebuchet MS" panose="020B0603020202020204" pitchFamily="34" charset="0"/>
              <a:buChar char="​"/>
              <a:defRPr sz="2000">
                <a:solidFill>
                  <a:srgbClr val="575757"/>
                </a:solidFill>
              </a:defRPr>
            </a:lvl1pPr>
            <a:lvl2pPr marL="320040" lvl="1" indent="-219456">
              <a:buClr>
                <a:srgbClr val="30B131"/>
              </a:buClr>
              <a:buSzPct val="100000"/>
              <a:buFont typeface="Trebuchet MS" panose="020B0603020202020204" pitchFamily="34" charset="0"/>
              <a:buChar char="•"/>
              <a:defRPr sz="2000">
                <a:solidFill>
                  <a:srgbClr val="575757"/>
                </a:solidFill>
              </a:defRPr>
            </a:lvl2pPr>
            <a:lvl3pPr marL="649224" lvl="2" indent="-219456">
              <a:buClr>
                <a:srgbClr val="30B131"/>
              </a:buClr>
              <a:buSzPct val="100000"/>
              <a:buFont typeface="Trebuchet MS" panose="020B0603020202020204" pitchFamily="34" charset="0"/>
              <a:buChar char="–"/>
              <a:defRPr sz="2000">
                <a:solidFill>
                  <a:srgbClr val="575757"/>
                </a:solidFill>
              </a:defRPr>
            </a:lvl3pPr>
            <a:lvl4pPr marL="0" lvl="3">
              <a:buClr>
                <a:srgbClr val="30B131"/>
              </a:buClr>
              <a:buSzPct val="100000"/>
              <a:buFont typeface="Trebuchet MS" panose="020B0603020202020204" pitchFamily="34" charset="0"/>
              <a:buChar char="​"/>
              <a:defRPr sz="2400">
                <a:solidFill>
                  <a:srgbClr val="30B131"/>
                </a:solidFill>
              </a:defRPr>
            </a:lvl4pPr>
            <a:lvl5pPr marL="0" lvl="4">
              <a:buClr>
                <a:srgbClr val="30B131"/>
              </a:buClr>
              <a:buSzPct val="100000"/>
              <a:buFont typeface="Trebuchet MS" panose="020B0603020202020204" pitchFamily="34" charset="0"/>
              <a:buChar char="​"/>
              <a:defRPr sz="2400" b="1">
                <a:solidFill>
                  <a:srgbClr val="575757"/>
                </a:solidFill>
              </a:defRPr>
            </a:lvl5pPr>
            <a:lvl6pPr marL="320040" lvl="5" indent="-219456">
              <a:buClr>
                <a:srgbClr val="30B131"/>
              </a:buClr>
              <a:buSzPct val="100000"/>
              <a:buFont typeface="Trebuchet MS" panose="020B0603020202020204" pitchFamily="34" charset="0"/>
              <a:buChar char="•"/>
              <a:defRPr sz="2400">
                <a:solidFill>
                  <a:srgbClr val="575757"/>
                </a:solidFill>
              </a:defRPr>
            </a:lvl6pPr>
            <a:lvl7pPr marL="0" lvl="6">
              <a:buClr>
                <a:srgbClr val="30B131"/>
              </a:buClr>
              <a:buSzPct val="100000"/>
              <a:buFont typeface="Trebuchet MS" panose="020B0603020202020204" pitchFamily="34" charset="0"/>
              <a:buChar char="​"/>
              <a:defRPr sz="5400">
                <a:solidFill>
                  <a:srgbClr val="575757"/>
                </a:solidFill>
              </a:defRPr>
            </a:lvl7pPr>
            <a:lvl8pPr marL="0" lvl="7">
              <a:buClr>
                <a:srgbClr val="30B131"/>
              </a:buClr>
              <a:buSzPct val="100000"/>
              <a:buFont typeface="Trebuchet MS" panose="020B0603020202020204" pitchFamily="34" charset="0"/>
              <a:buChar char="​"/>
              <a:defRPr sz="6600">
                <a:solidFill>
                  <a:srgbClr val="30B131"/>
                </a:solidFill>
              </a:defRPr>
            </a:lvl8pPr>
            <a:lvl9pPr marL="0" lvl="8">
              <a:buClr>
                <a:srgbClr val="30B131"/>
              </a:buClr>
              <a:buSzPct val="100000"/>
              <a:buFont typeface="Trebuchet MS" panose="020B0603020202020204" pitchFamily="34" charset="0"/>
              <a:buChar char="​"/>
              <a:defRPr sz="4400">
                <a:solidFill>
                  <a:srgbClr val="30B131"/>
                </a:solidFill>
              </a:defRPr>
            </a:lvl9pPr>
          </a:lstStyle>
          <a:p>
            <a:pPr marL="0" marR="0" lvl="0" indent="0" algn="ctr" defTabSz="914400" eaLnBrk="1" fontAlgn="auto" latinLnBrk="0" hangingPunct="1">
              <a:lnSpc>
                <a:spcPct val="100000"/>
              </a:lnSpc>
              <a:spcBef>
                <a:spcPts val="0"/>
              </a:spcBef>
              <a:spcAft>
                <a:spcPts val="0"/>
              </a:spcAft>
              <a:buClr>
                <a:srgbClr val="30B131"/>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skilling is an HR responsibility</a:t>
            </a:r>
          </a:p>
        </p:txBody>
      </p:sp>
      <p:sp>
        <p:nvSpPr>
          <p:cNvPr id="60" name="Isosceles Triangle 59">
            <a:extLst>
              <a:ext uri="{FF2B5EF4-FFF2-40B4-BE49-F238E27FC236}">
                <a16:creationId xmlns:a16="http://schemas.microsoft.com/office/drawing/2014/main" id="{CD6FBB15-7502-4AF7-83F4-ABDF98F64E16}"/>
              </a:ext>
            </a:extLst>
          </p:cNvPr>
          <p:cNvSpPr/>
          <p:nvPr/>
        </p:nvSpPr>
        <p:spPr>
          <a:xfrm rot="5400000">
            <a:off x="11218447" y="2088704"/>
            <a:ext cx="1135387" cy="275446"/>
          </a:xfrm>
          <a:prstGeom prst="triangle">
            <a:avLst/>
          </a:prstGeom>
          <a:solidFill>
            <a:srgbClr val="A4103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1" name="Rounded Rectangle 18">
            <a:extLst>
              <a:ext uri="{FF2B5EF4-FFF2-40B4-BE49-F238E27FC236}">
                <a16:creationId xmlns:a16="http://schemas.microsoft.com/office/drawing/2014/main" id="{C0B8E9B2-02F1-4428-AC4A-BDB945F80149}"/>
              </a:ext>
            </a:extLst>
          </p:cNvPr>
          <p:cNvSpPr/>
          <p:nvPr/>
        </p:nvSpPr>
        <p:spPr>
          <a:xfrm>
            <a:off x="2011441" y="1216775"/>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D PARADIGM</a:t>
            </a:r>
          </a:p>
        </p:txBody>
      </p:sp>
      <p:sp>
        <p:nvSpPr>
          <p:cNvPr id="32" name="Rounded Rectangle 19">
            <a:extLst>
              <a:ext uri="{FF2B5EF4-FFF2-40B4-BE49-F238E27FC236}">
                <a16:creationId xmlns:a16="http://schemas.microsoft.com/office/drawing/2014/main" id="{10BA2D1A-5FD1-417D-AB49-7392BC182A92}"/>
              </a:ext>
            </a:extLst>
          </p:cNvPr>
          <p:cNvSpPr/>
          <p:nvPr/>
        </p:nvSpPr>
        <p:spPr>
          <a:xfrm>
            <a:off x="7638812" y="1224167"/>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41034"/>
                </a:solidFill>
                <a:effectLst/>
                <a:uLnTx/>
                <a:uFillTx/>
                <a:latin typeface="Arial" panose="020B0604020202020204" pitchFamily="34" charset="0"/>
                <a:ea typeface="+mn-ea"/>
                <a:cs typeface="Arial" panose="020B0604020202020204" pitchFamily="34" charset="0"/>
              </a:rPr>
              <a:t>NEW PARADIGM</a:t>
            </a:r>
          </a:p>
        </p:txBody>
      </p:sp>
      <p:sp>
        <p:nvSpPr>
          <p:cNvPr id="6" name="Oval 20">
            <a:extLst>
              <a:ext uri="{FF2B5EF4-FFF2-40B4-BE49-F238E27FC236}">
                <a16:creationId xmlns:a16="http://schemas.microsoft.com/office/drawing/2014/main" id="{88071A65-B059-63C2-E8CF-9C5AEE68B48F}"/>
              </a:ext>
            </a:extLst>
          </p:cNvPr>
          <p:cNvSpPr>
            <a:spLocks noChangeAspect="1" noChangeArrowheads="1"/>
          </p:cNvSpPr>
          <p:nvPr/>
        </p:nvSpPr>
        <p:spPr bwMode="auto">
          <a:xfrm>
            <a:off x="628650" y="1990900"/>
            <a:ext cx="464945" cy="464945"/>
          </a:xfrm>
          <a:prstGeom prst="ellipse">
            <a:avLst/>
          </a:prstGeom>
          <a:grpFill/>
          <a:ln w="19050">
            <a:gradFill flip="none" rotWithShape="1">
              <a:gsLst>
                <a:gs pos="0">
                  <a:srgbClr val="670F31"/>
                </a:gs>
                <a:gs pos="100000">
                  <a:srgbClr val="E71C5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a:t>
            </a:r>
          </a:p>
        </p:txBody>
      </p:sp>
      <p:grpSp>
        <p:nvGrpSpPr>
          <p:cNvPr id="9" name="Group 8">
            <a:extLst>
              <a:ext uri="{FF2B5EF4-FFF2-40B4-BE49-F238E27FC236}">
                <a16:creationId xmlns:a16="http://schemas.microsoft.com/office/drawing/2014/main" id="{63194CF5-82E1-44BA-BA68-04CC8C6A6443}"/>
              </a:ext>
            </a:extLst>
          </p:cNvPr>
          <p:cNvGrpSpPr/>
          <p:nvPr/>
        </p:nvGrpSpPr>
        <p:grpSpPr>
          <a:xfrm>
            <a:off x="703365" y="3636335"/>
            <a:ext cx="10785271" cy="1471934"/>
            <a:chOff x="703365" y="3005779"/>
            <a:chExt cx="10785271" cy="1909162"/>
          </a:xfrm>
        </p:grpSpPr>
        <p:sp>
          <p:nvSpPr>
            <p:cNvPr id="17" name="Rectangle: Rounded Corners 16">
              <a:extLst>
                <a:ext uri="{FF2B5EF4-FFF2-40B4-BE49-F238E27FC236}">
                  <a16:creationId xmlns:a16="http://schemas.microsoft.com/office/drawing/2014/main" id="{1A585282-19AA-2D61-52DE-D766804DF8CF}"/>
                </a:ext>
              </a:extLst>
            </p:cNvPr>
            <p:cNvSpPr/>
            <p:nvPr/>
          </p:nvSpPr>
          <p:spPr>
            <a:xfrm>
              <a:off x="703365" y="3005779"/>
              <a:ext cx="3261538" cy="1909162"/>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
                  <a:srgbClr val="A41034"/>
                </a:buClr>
                <a:buSzTx/>
                <a:buFontTx/>
                <a:buNone/>
                <a:tabLst/>
                <a:defRPr/>
              </a:pP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Global telco makes re- and upskilling an executive level issue: targets are part of the firm's overall strategic scorecard reviewed quarterly by the Executive Committee</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endParaRPr>
            </a:p>
          </p:txBody>
        </p:sp>
        <p:sp>
          <p:nvSpPr>
            <p:cNvPr id="18" name="Rectangle: Rounded Corners 17">
              <a:extLst>
                <a:ext uri="{FF2B5EF4-FFF2-40B4-BE49-F238E27FC236}">
                  <a16:creationId xmlns:a16="http://schemas.microsoft.com/office/drawing/2014/main" id="{4993A492-B9AF-9D52-3B00-519343E2FD55}"/>
                </a:ext>
              </a:extLst>
            </p:cNvPr>
            <p:cNvSpPr/>
            <p:nvPr/>
          </p:nvSpPr>
          <p:spPr>
            <a:xfrm>
              <a:off x="4465232" y="3005779"/>
              <a:ext cx="3261538" cy="1898703"/>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
                  <a:srgbClr val="A41034"/>
                </a:buClr>
                <a:buSzTx/>
                <a:buFontTx/>
                <a:buNone/>
                <a:tabLst/>
                <a:defRPr/>
              </a:pP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US pharmacy chain makes each BU leader responsible for developing their mid and long term reskilling plan as part of their 1-year and 5-year strategy process</a:t>
              </a:r>
            </a:p>
          </p:txBody>
        </p:sp>
        <p:sp>
          <p:nvSpPr>
            <p:cNvPr id="20" name="Rectangle: Rounded Corners 19">
              <a:extLst>
                <a:ext uri="{FF2B5EF4-FFF2-40B4-BE49-F238E27FC236}">
                  <a16:creationId xmlns:a16="http://schemas.microsoft.com/office/drawing/2014/main" id="{DB620BCE-52A9-BA45-4780-B87C20BB55D3}"/>
                </a:ext>
              </a:extLst>
            </p:cNvPr>
            <p:cNvSpPr/>
            <p:nvPr/>
          </p:nvSpPr>
          <p:spPr>
            <a:xfrm>
              <a:off x="8227098" y="3005779"/>
              <a:ext cx="3261538" cy="1878914"/>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
                  <a:srgbClr val="A41034"/>
                </a:buClr>
                <a:buSzTx/>
                <a:buFontTx/>
                <a:buNone/>
                <a:tabLst/>
                <a:defRPr/>
              </a:pP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European toy manufacturer integrates reskilling into the regular performance management process, making it the responsibility of managers to discuss and plan reskilling needs with each employee</a:t>
              </a:r>
            </a:p>
          </p:txBody>
        </p:sp>
      </p:grpSp>
      <p:grpSp>
        <p:nvGrpSpPr>
          <p:cNvPr id="21" name="Google Shape;11292;p43">
            <a:extLst>
              <a:ext uri="{FF2B5EF4-FFF2-40B4-BE49-F238E27FC236}">
                <a16:creationId xmlns:a16="http://schemas.microsoft.com/office/drawing/2014/main" id="{20F7A066-EA15-4F27-A5E9-6F18A4F9E4A6}"/>
              </a:ext>
            </a:extLst>
          </p:cNvPr>
          <p:cNvGrpSpPr/>
          <p:nvPr/>
        </p:nvGrpSpPr>
        <p:grpSpPr>
          <a:xfrm>
            <a:off x="0" y="6292596"/>
            <a:ext cx="12192000" cy="565405"/>
            <a:chOff x="0" y="6273800"/>
            <a:chExt cx="12192000" cy="584200"/>
          </a:xfrm>
        </p:grpSpPr>
        <p:sp>
          <p:nvSpPr>
            <p:cNvPr id="22" name="Google Shape;11293;p43">
              <a:extLst>
                <a:ext uri="{FF2B5EF4-FFF2-40B4-BE49-F238E27FC236}">
                  <a16:creationId xmlns:a16="http://schemas.microsoft.com/office/drawing/2014/main" id="{8B955D68-AC1D-4117-BA31-004182041166}"/>
                </a:ext>
              </a:extLst>
            </p:cNvPr>
            <p:cNvSpPr/>
            <p:nvPr/>
          </p:nvSpPr>
          <p:spPr>
            <a:xfrm>
              <a:off x="0" y="6273800"/>
              <a:ext cx="12192000" cy="5842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a:ea typeface="+mn-ea"/>
                <a:cs typeface="+mn-cs"/>
                <a:sym typeface="Arial"/>
              </a:endParaRPr>
            </a:p>
          </p:txBody>
        </p:sp>
        <p:pic>
          <p:nvPicPr>
            <p:cNvPr id="23" name="Google Shape;11294;p43">
              <a:extLst>
                <a:ext uri="{FF2B5EF4-FFF2-40B4-BE49-F238E27FC236}">
                  <a16:creationId xmlns:a16="http://schemas.microsoft.com/office/drawing/2014/main" id="{F18D99E3-1E2A-4E60-B902-4CFEC9C11853}"/>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9513888" y="6392994"/>
              <a:ext cx="2305050" cy="334291"/>
            </a:xfrm>
            <a:prstGeom prst="rect">
              <a:avLst/>
            </a:prstGeom>
            <a:noFill/>
            <a:ln>
              <a:noFill/>
            </a:ln>
          </p:spPr>
        </p:pic>
      </p:grpSp>
      <p:sp>
        <p:nvSpPr>
          <p:cNvPr id="12" name="Rectangle 11">
            <a:extLst>
              <a:ext uri="{FF2B5EF4-FFF2-40B4-BE49-F238E27FC236}">
                <a16:creationId xmlns:a16="http://schemas.microsoft.com/office/drawing/2014/main" id="{03B38366-3396-D8C2-77A3-93CC907870B6}"/>
              </a:ext>
            </a:extLst>
          </p:cNvPr>
          <p:cNvSpPr/>
          <p:nvPr/>
        </p:nvSpPr>
        <p:spPr>
          <a:xfrm>
            <a:off x="0" y="990600"/>
            <a:ext cx="11658601" cy="683297"/>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3" name="Rounded Rectangle 18">
            <a:extLst>
              <a:ext uri="{FF2B5EF4-FFF2-40B4-BE49-F238E27FC236}">
                <a16:creationId xmlns:a16="http://schemas.microsoft.com/office/drawing/2014/main" id="{70C626EB-73D9-2D78-20DB-8013D257813B}"/>
              </a:ext>
            </a:extLst>
          </p:cNvPr>
          <p:cNvSpPr/>
          <p:nvPr/>
        </p:nvSpPr>
        <p:spPr>
          <a:xfrm>
            <a:off x="2011441" y="1216775"/>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D PARADIGM</a:t>
            </a:r>
          </a:p>
        </p:txBody>
      </p:sp>
      <p:sp>
        <p:nvSpPr>
          <p:cNvPr id="14" name="Rounded Rectangle 19">
            <a:extLst>
              <a:ext uri="{FF2B5EF4-FFF2-40B4-BE49-F238E27FC236}">
                <a16:creationId xmlns:a16="http://schemas.microsoft.com/office/drawing/2014/main" id="{586AB4D9-C237-A4A2-DB64-02DD6AC7ABF5}"/>
              </a:ext>
            </a:extLst>
          </p:cNvPr>
          <p:cNvSpPr/>
          <p:nvPr/>
        </p:nvSpPr>
        <p:spPr>
          <a:xfrm>
            <a:off x="7638812" y="1224167"/>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41034"/>
                </a:solidFill>
                <a:effectLst/>
                <a:uLnTx/>
                <a:uFillTx/>
                <a:latin typeface="Arial" panose="020B0604020202020204" pitchFamily="34" charset="0"/>
                <a:ea typeface="+mn-ea"/>
                <a:cs typeface="Arial" panose="020B0604020202020204" pitchFamily="34" charset="0"/>
              </a:rPr>
              <a:t>NEW PARADIGM</a:t>
            </a:r>
          </a:p>
        </p:txBody>
      </p:sp>
      <p:sp>
        <p:nvSpPr>
          <p:cNvPr id="15" name="Isosceles Triangle 14">
            <a:extLst>
              <a:ext uri="{FF2B5EF4-FFF2-40B4-BE49-F238E27FC236}">
                <a16:creationId xmlns:a16="http://schemas.microsoft.com/office/drawing/2014/main" id="{2CAC9350-41AE-17FE-42BE-24945A3B3208}"/>
              </a:ext>
            </a:extLst>
          </p:cNvPr>
          <p:cNvSpPr/>
          <p:nvPr/>
        </p:nvSpPr>
        <p:spPr>
          <a:xfrm rot="5400000">
            <a:off x="11449584" y="1199618"/>
            <a:ext cx="683295" cy="265263"/>
          </a:xfrm>
          <a:prstGeom prst="triangle">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123449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E7CF61A-44B3-47B2-BF32-5B68C85B80AB}"/>
              </a:ext>
            </a:extLst>
          </p:cNvPr>
          <p:cNvGraphicFramePr>
            <a:graphicFrameLocks noChangeAspect="1"/>
          </p:cNvGraphicFramePr>
          <p:nvPr>
            <p:custDataLst>
              <p:tags r:id="rId1"/>
            </p:custDataLst>
            <p:extLst>
              <p:ext uri="{D42A27DB-BD31-4B8C-83A1-F6EECF244321}">
                <p14:modId xmlns:p14="http://schemas.microsoft.com/office/powerpoint/2010/main" val="688030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think-cell data - do not delete" hidden="1">
                        <a:extLst>
                          <a:ext uri="{FF2B5EF4-FFF2-40B4-BE49-F238E27FC236}">
                            <a16:creationId xmlns:a16="http://schemas.microsoft.com/office/drawing/2014/main" id="{FE7CF61A-44B3-47B2-BF32-5B68C85B80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DDFF851F-120C-4CAF-8CF7-FEF6D1207224}"/>
              </a:ext>
            </a:extLst>
          </p:cNvPr>
          <p:cNvSpPr/>
          <p:nvPr/>
        </p:nvSpPr>
        <p:spPr>
          <a:xfrm>
            <a:off x="0" y="1673897"/>
            <a:ext cx="11658601" cy="1135388"/>
          </a:xfrm>
          <a:prstGeom prst="rect">
            <a:avLst/>
          </a:prstGeom>
          <a:gradFill flip="none" rotWithShape="1">
            <a:gsLst>
              <a:gs pos="36000">
                <a:schemeClr val="accent5"/>
              </a:gs>
              <a:gs pos="100000">
                <a:srgbClr val="A41034"/>
              </a:gs>
            </a:gsLst>
            <a:lin ang="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8" name="ee4pContent2">
            <a:extLst>
              <a:ext uri="{FF2B5EF4-FFF2-40B4-BE49-F238E27FC236}">
                <a16:creationId xmlns:a16="http://schemas.microsoft.com/office/drawing/2014/main" id="{B99F26E2-B506-48B4-A168-DA9461B88EDE}"/>
              </a:ext>
            </a:extLst>
          </p:cNvPr>
          <p:cNvSpPr txBox="1"/>
          <p:nvPr/>
        </p:nvSpPr>
        <p:spPr>
          <a:xfrm>
            <a:off x="6256021" y="1979542"/>
            <a:ext cx="5307330" cy="49244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flat" cmpd="sng" algn="ctr">
                <a:solidFill>
                  <a:srgbClr val="EDFA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0">
            <a:noAutofit/>
          </a:bodyPr>
          <a:lstStyle>
            <a:defPPr>
              <a:defRPr lang="en-US"/>
            </a:defPPr>
            <a:lvl1pPr>
              <a:buClr>
                <a:srgbClr val="30B131"/>
              </a:buClr>
              <a:buSzPct val="100000"/>
              <a:buFont typeface="Trebuchet MS" panose="020B0603020202020204" pitchFamily="34" charset="0"/>
              <a:buChar char="​"/>
              <a:defRPr sz="2000">
                <a:solidFill>
                  <a:srgbClr val="575757"/>
                </a:solidFill>
              </a:defRPr>
            </a:lvl1pPr>
            <a:lvl2pPr marL="320040" lvl="1" indent="-219456">
              <a:buClr>
                <a:srgbClr val="30B131"/>
              </a:buClr>
              <a:buSzPct val="100000"/>
              <a:buFont typeface="Trebuchet MS" panose="020B0603020202020204" pitchFamily="34" charset="0"/>
              <a:buChar char="•"/>
              <a:defRPr sz="2000">
                <a:solidFill>
                  <a:srgbClr val="575757"/>
                </a:solidFill>
              </a:defRPr>
            </a:lvl2pPr>
            <a:lvl3pPr marL="649224" lvl="2" indent="-219456">
              <a:buClr>
                <a:srgbClr val="30B131"/>
              </a:buClr>
              <a:buSzPct val="100000"/>
              <a:buFont typeface="Trebuchet MS" panose="020B0603020202020204" pitchFamily="34" charset="0"/>
              <a:buChar char="–"/>
              <a:defRPr sz="2000">
                <a:solidFill>
                  <a:srgbClr val="575757"/>
                </a:solidFill>
              </a:defRPr>
            </a:lvl3pPr>
            <a:lvl4pPr marL="0" lvl="3">
              <a:buClr>
                <a:srgbClr val="30B131"/>
              </a:buClr>
              <a:buSzPct val="100000"/>
              <a:buFont typeface="Trebuchet MS" panose="020B0603020202020204" pitchFamily="34" charset="0"/>
              <a:buChar char="​"/>
              <a:defRPr sz="2400">
                <a:solidFill>
                  <a:srgbClr val="30B131"/>
                </a:solidFill>
              </a:defRPr>
            </a:lvl4pPr>
            <a:lvl5pPr marL="0" lvl="4">
              <a:buClr>
                <a:srgbClr val="30B131"/>
              </a:buClr>
              <a:buSzPct val="100000"/>
              <a:buFont typeface="Trebuchet MS" panose="020B0603020202020204" pitchFamily="34" charset="0"/>
              <a:buChar char="​"/>
              <a:defRPr sz="2400" b="1">
                <a:solidFill>
                  <a:srgbClr val="575757"/>
                </a:solidFill>
              </a:defRPr>
            </a:lvl5pPr>
            <a:lvl6pPr marL="320040" lvl="5" indent="-219456">
              <a:buClr>
                <a:srgbClr val="30B131"/>
              </a:buClr>
              <a:buSzPct val="100000"/>
              <a:buFont typeface="Trebuchet MS" panose="020B0603020202020204" pitchFamily="34" charset="0"/>
              <a:buChar char="•"/>
              <a:defRPr sz="2400">
                <a:solidFill>
                  <a:srgbClr val="575757"/>
                </a:solidFill>
              </a:defRPr>
            </a:lvl6pPr>
            <a:lvl7pPr marL="0" lvl="6">
              <a:buClr>
                <a:srgbClr val="30B131"/>
              </a:buClr>
              <a:buSzPct val="100000"/>
              <a:buFont typeface="Trebuchet MS" panose="020B0603020202020204" pitchFamily="34" charset="0"/>
              <a:buChar char="​"/>
              <a:defRPr sz="5400">
                <a:solidFill>
                  <a:srgbClr val="575757"/>
                </a:solidFill>
              </a:defRPr>
            </a:lvl7pPr>
            <a:lvl8pPr marL="0" lvl="7">
              <a:buClr>
                <a:srgbClr val="30B131"/>
              </a:buClr>
              <a:buSzPct val="100000"/>
              <a:buFont typeface="Trebuchet MS" panose="020B0603020202020204" pitchFamily="34" charset="0"/>
              <a:buChar char="​"/>
              <a:defRPr sz="6600">
                <a:solidFill>
                  <a:srgbClr val="30B131"/>
                </a:solidFill>
              </a:defRPr>
            </a:lvl8pPr>
            <a:lvl9pPr marL="0" lvl="8">
              <a:buClr>
                <a:srgbClr val="30B131"/>
              </a:buClr>
              <a:buSzPct val="100000"/>
              <a:buFont typeface="Trebuchet MS" panose="020B0603020202020204" pitchFamily="34" charset="0"/>
              <a:buChar char="​"/>
              <a:defRPr sz="4400">
                <a:solidFill>
                  <a:srgbClr val="30B131"/>
                </a:solidFill>
              </a:defRPr>
            </a:lvl9pPr>
          </a:lstStyle>
          <a:p>
            <a:pPr marL="0" marR="0" lvl="0" indent="0" algn="ctr" defTabSz="914400" eaLnBrk="1" fontAlgn="auto" latinLnBrk="0" hangingPunct="1">
              <a:lnSpc>
                <a:spcPct val="100000"/>
              </a:lnSpc>
              <a:spcBef>
                <a:spcPts val="0"/>
              </a:spcBef>
              <a:spcAft>
                <a:spcPts val="0"/>
              </a:spcAft>
              <a:buClr>
                <a:srgbClr val="30B131"/>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skilling is a change management initiative</a:t>
            </a:r>
          </a:p>
        </p:txBody>
      </p:sp>
      <p:sp>
        <p:nvSpPr>
          <p:cNvPr id="59" name="ee4pContent2">
            <a:extLst>
              <a:ext uri="{FF2B5EF4-FFF2-40B4-BE49-F238E27FC236}">
                <a16:creationId xmlns:a16="http://schemas.microsoft.com/office/drawing/2014/main" id="{EEDB6977-617D-42EA-B3B7-B057FE7C4701}"/>
              </a:ext>
            </a:extLst>
          </p:cNvPr>
          <p:cNvSpPr txBox="1"/>
          <p:nvPr/>
        </p:nvSpPr>
        <p:spPr>
          <a:xfrm>
            <a:off x="628651" y="1979542"/>
            <a:ext cx="5307330" cy="49244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flat" cmpd="sng" algn="ctr">
                <a:solidFill>
                  <a:srgbClr val="EDFA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0">
            <a:noAutofit/>
          </a:bodyPr>
          <a:lstStyle>
            <a:defPPr>
              <a:defRPr lang="en-US"/>
            </a:defPPr>
            <a:lvl1pPr>
              <a:buClr>
                <a:srgbClr val="30B131"/>
              </a:buClr>
              <a:buSzPct val="100000"/>
              <a:buFont typeface="Trebuchet MS" panose="020B0603020202020204" pitchFamily="34" charset="0"/>
              <a:buChar char="​"/>
              <a:defRPr sz="2000">
                <a:solidFill>
                  <a:srgbClr val="575757"/>
                </a:solidFill>
              </a:defRPr>
            </a:lvl1pPr>
            <a:lvl2pPr marL="320040" lvl="1" indent="-219456">
              <a:buClr>
                <a:srgbClr val="30B131"/>
              </a:buClr>
              <a:buSzPct val="100000"/>
              <a:buFont typeface="Trebuchet MS" panose="020B0603020202020204" pitchFamily="34" charset="0"/>
              <a:buChar char="•"/>
              <a:defRPr sz="2000">
                <a:solidFill>
                  <a:srgbClr val="575757"/>
                </a:solidFill>
              </a:defRPr>
            </a:lvl2pPr>
            <a:lvl3pPr marL="649224" lvl="2" indent="-219456">
              <a:buClr>
                <a:srgbClr val="30B131"/>
              </a:buClr>
              <a:buSzPct val="100000"/>
              <a:buFont typeface="Trebuchet MS" panose="020B0603020202020204" pitchFamily="34" charset="0"/>
              <a:buChar char="–"/>
              <a:defRPr sz="2000">
                <a:solidFill>
                  <a:srgbClr val="575757"/>
                </a:solidFill>
              </a:defRPr>
            </a:lvl3pPr>
            <a:lvl4pPr marL="0" lvl="3">
              <a:buClr>
                <a:srgbClr val="30B131"/>
              </a:buClr>
              <a:buSzPct val="100000"/>
              <a:buFont typeface="Trebuchet MS" panose="020B0603020202020204" pitchFamily="34" charset="0"/>
              <a:buChar char="​"/>
              <a:defRPr sz="2400">
                <a:solidFill>
                  <a:srgbClr val="30B131"/>
                </a:solidFill>
              </a:defRPr>
            </a:lvl4pPr>
            <a:lvl5pPr marL="0" lvl="4">
              <a:buClr>
                <a:srgbClr val="30B131"/>
              </a:buClr>
              <a:buSzPct val="100000"/>
              <a:buFont typeface="Trebuchet MS" panose="020B0603020202020204" pitchFamily="34" charset="0"/>
              <a:buChar char="​"/>
              <a:defRPr sz="2400" b="1">
                <a:solidFill>
                  <a:srgbClr val="575757"/>
                </a:solidFill>
              </a:defRPr>
            </a:lvl5pPr>
            <a:lvl6pPr marL="320040" lvl="5" indent="-219456">
              <a:buClr>
                <a:srgbClr val="30B131"/>
              </a:buClr>
              <a:buSzPct val="100000"/>
              <a:buFont typeface="Trebuchet MS" panose="020B0603020202020204" pitchFamily="34" charset="0"/>
              <a:buChar char="•"/>
              <a:defRPr sz="2400">
                <a:solidFill>
                  <a:srgbClr val="575757"/>
                </a:solidFill>
              </a:defRPr>
            </a:lvl6pPr>
            <a:lvl7pPr marL="0" lvl="6">
              <a:buClr>
                <a:srgbClr val="30B131"/>
              </a:buClr>
              <a:buSzPct val="100000"/>
              <a:buFont typeface="Trebuchet MS" panose="020B0603020202020204" pitchFamily="34" charset="0"/>
              <a:buChar char="​"/>
              <a:defRPr sz="5400">
                <a:solidFill>
                  <a:srgbClr val="575757"/>
                </a:solidFill>
              </a:defRPr>
            </a:lvl7pPr>
            <a:lvl8pPr marL="0" lvl="7">
              <a:buClr>
                <a:srgbClr val="30B131"/>
              </a:buClr>
              <a:buSzPct val="100000"/>
              <a:buFont typeface="Trebuchet MS" panose="020B0603020202020204" pitchFamily="34" charset="0"/>
              <a:buChar char="​"/>
              <a:defRPr sz="6600">
                <a:solidFill>
                  <a:srgbClr val="30B131"/>
                </a:solidFill>
              </a:defRPr>
            </a:lvl8pPr>
            <a:lvl9pPr marL="0" lvl="8">
              <a:buClr>
                <a:srgbClr val="30B131"/>
              </a:buClr>
              <a:buSzPct val="100000"/>
              <a:buFont typeface="Trebuchet MS" panose="020B0603020202020204" pitchFamily="34" charset="0"/>
              <a:buChar char="​"/>
              <a:defRPr sz="4400">
                <a:solidFill>
                  <a:srgbClr val="30B131"/>
                </a:solidFill>
              </a:defRPr>
            </a:lvl9pPr>
          </a:lstStyle>
          <a:p>
            <a:pPr marL="0" marR="0" lvl="0" indent="0" algn="ctr" defTabSz="914400" eaLnBrk="1" fontAlgn="auto" latinLnBrk="0" hangingPunct="1">
              <a:lnSpc>
                <a:spcPct val="100000"/>
              </a:lnSpc>
              <a:spcBef>
                <a:spcPts val="0"/>
              </a:spcBef>
              <a:spcAft>
                <a:spcPts val="0"/>
              </a:spcAft>
              <a:buClr>
                <a:srgbClr val="30B131"/>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skilling is a training initiative</a:t>
            </a:r>
          </a:p>
        </p:txBody>
      </p:sp>
      <p:sp>
        <p:nvSpPr>
          <p:cNvPr id="60" name="Isosceles Triangle 59">
            <a:extLst>
              <a:ext uri="{FF2B5EF4-FFF2-40B4-BE49-F238E27FC236}">
                <a16:creationId xmlns:a16="http://schemas.microsoft.com/office/drawing/2014/main" id="{CD6FBB15-7502-4AF7-83F4-ABDF98F64E16}"/>
              </a:ext>
            </a:extLst>
          </p:cNvPr>
          <p:cNvSpPr/>
          <p:nvPr/>
        </p:nvSpPr>
        <p:spPr>
          <a:xfrm rot="5400000">
            <a:off x="11218447" y="2088704"/>
            <a:ext cx="1135387" cy="275446"/>
          </a:xfrm>
          <a:prstGeom prst="triangle">
            <a:avLst/>
          </a:prstGeom>
          <a:solidFill>
            <a:srgbClr val="A4103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1" name="Rounded Rectangle 18">
            <a:extLst>
              <a:ext uri="{FF2B5EF4-FFF2-40B4-BE49-F238E27FC236}">
                <a16:creationId xmlns:a16="http://schemas.microsoft.com/office/drawing/2014/main" id="{C0B8E9B2-02F1-4428-AC4A-BDB945F80149}"/>
              </a:ext>
            </a:extLst>
          </p:cNvPr>
          <p:cNvSpPr/>
          <p:nvPr/>
        </p:nvSpPr>
        <p:spPr>
          <a:xfrm>
            <a:off x="2011441" y="1216775"/>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D PARADIGM</a:t>
            </a:r>
          </a:p>
        </p:txBody>
      </p:sp>
      <p:sp>
        <p:nvSpPr>
          <p:cNvPr id="32" name="Rounded Rectangle 19">
            <a:extLst>
              <a:ext uri="{FF2B5EF4-FFF2-40B4-BE49-F238E27FC236}">
                <a16:creationId xmlns:a16="http://schemas.microsoft.com/office/drawing/2014/main" id="{10BA2D1A-5FD1-417D-AB49-7392BC182A92}"/>
              </a:ext>
            </a:extLst>
          </p:cNvPr>
          <p:cNvSpPr/>
          <p:nvPr/>
        </p:nvSpPr>
        <p:spPr>
          <a:xfrm>
            <a:off x="7638812" y="1224167"/>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41034"/>
                </a:solidFill>
                <a:effectLst/>
                <a:uLnTx/>
                <a:uFillTx/>
                <a:latin typeface="Arial" panose="020B0604020202020204" pitchFamily="34" charset="0"/>
                <a:ea typeface="+mn-ea"/>
                <a:cs typeface="Arial" panose="020B0604020202020204" pitchFamily="34" charset="0"/>
              </a:rPr>
              <a:t>NEW PARADIGM</a:t>
            </a:r>
          </a:p>
        </p:txBody>
      </p:sp>
      <p:sp>
        <p:nvSpPr>
          <p:cNvPr id="6" name="Oval 20">
            <a:extLst>
              <a:ext uri="{FF2B5EF4-FFF2-40B4-BE49-F238E27FC236}">
                <a16:creationId xmlns:a16="http://schemas.microsoft.com/office/drawing/2014/main" id="{88071A65-B059-63C2-E8CF-9C5AEE68B48F}"/>
              </a:ext>
            </a:extLst>
          </p:cNvPr>
          <p:cNvSpPr>
            <a:spLocks noChangeAspect="1" noChangeArrowheads="1"/>
          </p:cNvSpPr>
          <p:nvPr/>
        </p:nvSpPr>
        <p:spPr bwMode="auto">
          <a:xfrm>
            <a:off x="628650" y="1990900"/>
            <a:ext cx="464945" cy="464945"/>
          </a:xfrm>
          <a:prstGeom prst="ellipse">
            <a:avLst/>
          </a:prstGeom>
          <a:grpFill/>
          <a:ln w="19050">
            <a:gradFill flip="none" rotWithShape="1">
              <a:gsLst>
                <a:gs pos="0">
                  <a:srgbClr val="670F31"/>
                </a:gs>
                <a:gs pos="100000">
                  <a:srgbClr val="E71C5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a:t>
            </a:r>
          </a:p>
        </p:txBody>
      </p:sp>
      <p:grpSp>
        <p:nvGrpSpPr>
          <p:cNvPr id="9" name="Group 8">
            <a:extLst>
              <a:ext uri="{FF2B5EF4-FFF2-40B4-BE49-F238E27FC236}">
                <a16:creationId xmlns:a16="http://schemas.microsoft.com/office/drawing/2014/main" id="{63194CF5-82E1-44BA-BA68-04CC8C6A6443}"/>
              </a:ext>
            </a:extLst>
          </p:cNvPr>
          <p:cNvGrpSpPr/>
          <p:nvPr/>
        </p:nvGrpSpPr>
        <p:grpSpPr>
          <a:xfrm>
            <a:off x="703365" y="3636335"/>
            <a:ext cx="10785271" cy="1471934"/>
            <a:chOff x="703365" y="3005779"/>
            <a:chExt cx="10785271" cy="1909162"/>
          </a:xfrm>
        </p:grpSpPr>
        <p:sp>
          <p:nvSpPr>
            <p:cNvPr id="17" name="Rectangle: Rounded Corners 16">
              <a:extLst>
                <a:ext uri="{FF2B5EF4-FFF2-40B4-BE49-F238E27FC236}">
                  <a16:creationId xmlns:a16="http://schemas.microsoft.com/office/drawing/2014/main" id="{1A585282-19AA-2D61-52DE-D766804DF8CF}"/>
                </a:ext>
              </a:extLst>
            </p:cNvPr>
            <p:cNvSpPr/>
            <p:nvPr/>
          </p:nvSpPr>
          <p:spPr>
            <a:xfrm>
              <a:off x="703365" y="3005779"/>
              <a:ext cx="3261538" cy="1909162"/>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
                  <a:srgbClr val="A41034"/>
                </a:buClr>
                <a:buSzTx/>
                <a:buFontTx/>
                <a:buNone/>
                <a:tabLst/>
                <a:defRPr/>
              </a:pP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Talent mobility technology connects reskilling with</a:t>
              </a:r>
              <a:r>
                <a:rPr lang="en-US" sz="1400" dirty="0">
                  <a:solidFill>
                    <a:srgbClr val="575757"/>
                  </a:solidFill>
                  <a:latin typeface="Arial" panose="020B0604020202020204" pitchFamily="34" charset="0"/>
                  <a:cs typeface="Arial" panose="020B0604020202020204" pitchFamily="34" charset="0"/>
                </a:rPr>
                <a:t> </a:t>
              </a: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culture. Global consumer goods player uses an intelligent internal talent platform to connect all 100,000 people with job and learning opportunities.</a:t>
              </a:r>
              <a:endParaRPr kumimoji="0" lang="en-US" sz="18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endParaRPr>
            </a:p>
          </p:txBody>
        </p:sp>
        <p:sp>
          <p:nvSpPr>
            <p:cNvPr id="18" name="Rectangle: Rounded Corners 17">
              <a:extLst>
                <a:ext uri="{FF2B5EF4-FFF2-40B4-BE49-F238E27FC236}">
                  <a16:creationId xmlns:a16="http://schemas.microsoft.com/office/drawing/2014/main" id="{4993A492-B9AF-9D52-3B00-519343E2FD55}"/>
                </a:ext>
              </a:extLst>
            </p:cNvPr>
            <p:cNvSpPr/>
            <p:nvPr/>
          </p:nvSpPr>
          <p:spPr>
            <a:xfrm>
              <a:off x="4465232" y="3005779"/>
              <a:ext cx="3261538" cy="1898703"/>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
                  <a:srgbClr val="A41034"/>
                </a:buClr>
                <a:buSzTx/>
                <a:buFontTx/>
                <a:buNone/>
                <a:tabLst/>
                <a:defRPr/>
              </a:pP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Leading players support mindset change of managers both on the sending and receiving side: e.g. learning-related KPIs in managers' targets, or sensitivity trainings to accept alternatively skilled talent.</a:t>
              </a:r>
            </a:p>
          </p:txBody>
        </p:sp>
        <p:sp>
          <p:nvSpPr>
            <p:cNvPr id="20" name="Rectangle: Rounded Corners 19">
              <a:extLst>
                <a:ext uri="{FF2B5EF4-FFF2-40B4-BE49-F238E27FC236}">
                  <a16:creationId xmlns:a16="http://schemas.microsoft.com/office/drawing/2014/main" id="{DB620BCE-52A9-BA45-4780-B87C20BB55D3}"/>
                </a:ext>
              </a:extLst>
            </p:cNvPr>
            <p:cNvSpPr/>
            <p:nvPr/>
          </p:nvSpPr>
          <p:spPr>
            <a:xfrm>
              <a:off x="8227098" y="3005779"/>
              <a:ext cx="3261538" cy="1878914"/>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
                  <a:srgbClr val="A41034"/>
                </a:buClr>
                <a:buSzTx/>
                <a:buFontTx/>
                <a:buNone/>
                <a:tabLst/>
                <a:defRPr/>
              </a:pPr>
              <a:r>
                <a:rPr lang="en-US" sz="1400" dirty="0">
                  <a:solidFill>
                    <a:srgbClr val="575757"/>
                  </a:solidFill>
                  <a:latin typeface="Arial" panose="020B0604020202020204" pitchFamily="34" charset="0"/>
                  <a:cs typeface="Arial" panose="020B0604020202020204" pitchFamily="34" charset="0"/>
                </a:rPr>
                <a:t>Learners undergoing a major life change need support. T</a:t>
              </a:r>
              <a:r>
                <a:rPr kumimoji="0" lang="en-US" sz="1400" b="0" i="0" u="none" strike="noStrike" kern="1200" cap="none" spc="0" normalizeH="0" baseline="0" noProof="0" dirty="0" err="1">
                  <a:ln>
                    <a:noFill/>
                  </a:ln>
                  <a:solidFill>
                    <a:srgbClr val="575757"/>
                  </a:solidFill>
                  <a:effectLst/>
                  <a:uLnTx/>
                  <a:uFillTx/>
                  <a:latin typeface="Arial" panose="020B0604020202020204" pitchFamily="34" charset="0"/>
                  <a:ea typeface="+mn-ea"/>
                  <a:cs typeface="Arial" panose="020B0604020202020204" pitchFamily="34" charset="0"/>
                </a:rPr>
                <a:t>ech</a:t>
              </a: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 giant provides coaching and mentoring to new software developers, others organize buddy programs or peer support groups.</a:t>
              </a:r>
            </a:p>
          </p:txBody>
        </p:sp>
      </p:grpSp>
      <p:grpSp>
        <p:nvGrpSpPr>
          <p:cNvPr id="21" name="Google Shape;11292;p43">
            <a:extLst>
              <a:ext uri="{FF2B5EF4-FFF2-40B4-BE49-F238E27FC236}">
                <a16:creationId xmlns:a16="http://schemas.microsoft.com/office/drawing/2014/main" id="{20F7A066-EA15-4F27-A5E9-6F18A4F9E4A6}"/>
              </a:ext>
            </a:extLst>
          </p:cNvPr>
          <p:cNvGrpSpPr/>
          <p:nvPr/>
        </p:nvGrpSpPr>
        <p:grpSpPr>
          <a:xfrm>
            <a:off x="0" y="6292596"/>
            <a:ext cx="12192000" cy="565405"/>
            <a:chOff x="0" y="6273800"/>
            <a:chExt cx="12192000" cy="584200"/>
          </a:xfrm>
        </p:grpSpPr>
        <p:sp>
          <p:nvSpPr>
            <p:cNvPr id="22" name="Google Shape;11293;p43">
              <a:extLst>
                <a:ext uri="{FF2B5EF4-FFF2-40B4-BE49-F238E27FC236}">
                  <a16:creationId xmlns:a16="http://schemas.microsoft.com/office/drawing/2014/main" id="{8B955D68-AC1D-4117-BA31-004182041166}"/>
                </a:ext>
              </a:extLst>
            </p:cNvPr>
            <p:cNvSpPr/>
            <p:nvPr/>
          </p:nvSpPr>
          <p:spPr>
            <a:xfrm>
              <a:off x="0" y="6273800"/>
              <a:ext cx="12192000" cy="5842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a:ea typeface="+mn-ea"/>
                <a:cs typeface="+mn-cs"/>
                <a:sym typeface="Arial"/>
              </a:endParaRPr>
            </a:p>
          </p:txBody>
        </p:sp>
        <p:pic>
          <p:nvPicPr>
            <p:cNvPr id="23" name="Google Shape;11294;p43">
              <a:extLst>
                <a:ext uri="{FF2B5EF4-FFF2-40B4-BE49-F238E27FC236}">
                  <a16:creationId xmlns:a16="http://schemas.microsoft.com/office/drawing/2014/main" id="{F18D99E3-1E2A-4E60-B902-4CFEC9C11853}"/>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9513888" y="6392994"/>
              <a:ext cx="2305050" cy="334291"/>
            </a:xfrm>
            <a:prstGeom prst="rect">
              <a:avLst/>
            </a:prstGeom>
            <a:noFill/>
            <a:ln>
              <a:noFill/>
            </a:ln>
          </p:spPr>
        </p:pic>
      </p:grpSp>
      <p:sp>
        <p:nvSpPr>
          <p:cNvPr id="12" name="Rectangle 11">
            <a:extLst>
              <a:ext uri="{FF2B5EF4-FFF2-40B4-BE49-F238E27FC236}">
                <a16:creationId xmlns:a16="http://schemas.microsoft.com/office/drawing/2014/main" id="{03B38366-3396-D8C2-77A3-93CC907870B6}"/>
              </a:ext>
            </a:extLst>
          </p:cNvPr>
          <p:cNvSpPr/>
          <p:nvPr/>
        </p:nvSpPr>
        <p:spPr>
          <a:xfrm>
            <a:off x="0" y="990600"/>
            <a:ext cx="11658601" cy="683297"/>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3" name="Rounded Rectangle 18">
            <a:extLst>
              <a:ext uri="{FF2B5EF4-FFF2-40B4-BE49-F238E27FC236}">
                <a16:creationId xmlns:a16="http://schemas.microsoft.com/office/drawing/2014/main" id="{70C626EB-73D9-2D78-20DB-8013D257813B}"/>
              </a:ext>
            </a:extLst>
          </p:cNvPr>
          <p:cNvSpPr/>
          <p:nvPr/>
        </p:nvSpPr>
        <p:spPr>
          <a:xfrm>
            <a:off x="2011441" y="1216775"/>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D PARADIGM</a:t>
            </a:r>
          </a:p>
        </p:txBody>
      </p:sp>
      <p:sp>
        <p:nvSpPr>
          <p:cNvPr id="14" name="Rounded Rectangle 19">
            <a:extLst>
              <a:ext uri="{FF2B5EF4-FFF2-40B4-BE49-F238E27FC236}">
                <a16:creationId xmlns:a16="http://schemas.microsoft.com/office/drawing/2014/main" id="{586AB4D9-C237-A4A2-DB64-02DD6AC7ABF5}"/>
              </a:ext>
            </a:extLst>
          </p:cNvPr>
          <p:cNvSpPr/>
          <p:nvPr/>
        </p:nvSpPr>
        <p:spPr>
          <a:xfrm>
            <a:off x="7638812" y="1224167"/>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41034"/>
                </a:solidFill>
                <a:effectLst/>
                <a:uLnTx/>
                <a:uFillTx/>
                <a:latin typeface="Arial" panose="020B0604020202020204" pitchFamily="34" charset="0"/>
                <a:ea typeface="+mn-ea"/>
                <a:cs typeface="Arial" panose="020B0604020202020204" pitchFamily="34" charset="0"/>
              </a:rPr>
              <a:t>NEW PARADIGM</a:t>
            </a:r>
          </a:p>
        </p:txBody>
      </p:sp>
      <p:sp>
        <p:nvSpPr>
          <p:cNvPr id="15" name="Isosceles Triangle 14">
            <a:extLst>
              <a:ext uri="{FF2B5EF4-FFF2-40B4-BE49-F238E27FC236}">
                <a16:creationId xmlns:a16="http://schemas.microsoft.com/office/drawing/2014/main" id="{2CAC9350-41AE-17FE-42BE-24945A3B3208}"/>
              </a:ext>
            </a:extLst>
          </p:cNvPr>
          <p:cNvSpPr/>
          <p:nvPr/>
        </p:nvSpPr>
        <p:spPr>
          <a:xfrm rot="5400000">
            <a:off x="11449584" y="1199618"/>
            <a:ext cx="683295" cy="265263"/>
          </a:xfrm>
          <a:prstGeom prst="triangle">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42417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E7CF61A-44B3-47B2-BF32-5B68C85B80AB}"/>
              </a:ext>
            </a:extLst>
          </p:cNvPr>
          <p:cNvGraphicFramePr>
            <a:graphicFrameLocks noChangeAspect="1"/>
          </p:cNvGraphicFramePr>
          <p:nvPr>
            <p:custDataLst>
              <p:tags r:id="rId1"/>
            </p:custDataLst>
            <p:extLst>
              <p:ext uri="{D42A27DB-BD31-4B8C-83A1-F6EECF244321}">
                <p14:modId xmlns:p14="http://schemas.microsoft.com/office/powerpoint/2010/main" val="205356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think-cell data - do not delete" hidden="1">
                        <a:extLst>
                          <a:ext uri="{FF2B5EF4-FFF2-40B4-BE49-F238E27FC236}">
                            <a16:creationId xmlns:a16="http://schemas.microsoft.com/office/drawing/2014/main" id="{FE7CF61A-44B3-47B2-BF32-5B68C85B80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1" name="Google Shape;11292;p43">
            <a:extLst>
              <a:ext uri="{FF2B5EF4-FFF2-40B4-BE49-F238E27FC236}">
                <a16:creationId xmlns:a16="http://schemas.microsoft.com/office/drawing/2014/main" id="{20F7A066-EA15-4F27-A5E9-6F18A4F9E4A6}"/>
              </a:ext>
            </a:extLst>
          </p:cNvPr>
          <p:cNvGrpSpPr/>
          <p:nvPr/>
        </p:nvGrpSpPr>
        <p:grpSpPr>
          <a:xfrm>
            <a:off x="0" y="6292596"/>
            <a:ext cx="12192000" cy="565405"/>
            <a:chOff x="0" y="6273800"/>
            <a:chExt cx="12192000" cy="584200"/>
          </a:xfrm>
        </p:grpSpPr>
        <p:sp>
          <p:nvSpPr>
            <p:cNvPr id="22" name="Google Shape;11293;p43">
              <a:extLst>
                <a:ext uri="{FF2B5EF4-FFF2-40B4-BE49-F238E27FC236}">
                  <a16:creationId xmlns:a16="http://schemas.microsoft.com/office/drawing/2014/main" id="{8B955D68-AC1D-4117-BA31-004182041166}"/>
                </a:ext>
              </a:extLst>
            </p:cNvPr>
            <p:cNvSpPr/>
            <p:nvPr/>
          </p:nvSpPr>
          <p:spPr>
            <a:xfrm>
              <a:off x="0" y="6273800"/>
              <a:ext cx="12192000" cy="5842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a:ea typeface="+mn-ea"/>
                <a:cs typeface="+mn-cs"/>
                <a:sym typeface="Arial"/>
              </a:endParaRPr>
            </a:p>
          </p:txBody>
        </p:sp>
        <p:pic>
          <p:nvPicPr>
            <p:cNvPr id="23" name="Google Shape;11294;p43">
              <a:extLst>
                <a:ext uri="{FF2B5EF4-FFF2-40B4-BE49-F238E27FC236}">
                  <a16:creationId xmlns:a16="http://schemas.microsoft.com/office/drawing/2014/main" id="{F18D99E3-1E2A-4E60-B902-4CFEC9C11853}"/>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9513888" y="6392994"/>
              <a:ext cx="2305050" cy="334291"/>
            </a:xfrm>
            <a:prstGeom prst="rect">
              <a:avLst/>
            </a:prstGeom>
            <a:noFill/>
            <a:ln>
              <a:noFill/>
            </a:ln>
          </p:spPr>
        </p:pic>
      </p:grpSp>
      <p:sp>
        <p:nvSpPr>
          <p:cNvPr id="2" name="Rectangle 1">
            <a:extLst>
              <a:ext uri="{FF2B5EF4-FFF2-40B4-BE49-F238E27FC236}">
                <a16:creationId xmlns:a16="http://schemas.microsoft.com/office/drawing/2014/main" id="{166DABFB-EDE4-CBF7-00C1-84F4C7A5229A}"/>
              </a:ext>
            </a:extLst>
          </p:cNvPr>
          <p:cNvSpPr/>
          <p:nvPr/>
        </p:nvSpPr>
        <p:spPr>
          <a:xfrm>
            <a:off x="0" y="1673897"/>
            <a:ext cx="11658601" cy="1135388"/>
          </a:xfrm>
          <a:prstGeom prst="rect">
            <a:avLst/>
          </a:prstGeom>
          <a:gradFill flip="none" rotWithShape="1">
            <a:gsLst>
              <a:gs pos="36000">
                <a:schemeClr val="accent5"/>
              </a:gs>
              <a:gs pos="100000">
                <a:srgbClr val="A41034"/>
              </a:gs>
            </a:gsLst>
            <a:lin ang="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 name="ee4pContent2">
            <a:extLst>
              <a:ext uri="{FF2B5EF4-FFF2-40B4-BE49-F238E27FC236}">
                <a16:creationId xmlns:a16="http://schemas.microsoft.com/office/drawing/2014/main" id="{04D31A4F-EC57-341C-0D82-B53E7B70D407}"/>
              </a:ext>
            </a:extLst>
          </p:cNvPr>
          <p:cNvSpPr txBox="1"/>
          <p:nvPr/>
        </p:nvSpPr>
        <p:spPr>
          <a:xfrm>
            <a:off x="6256021" y="1979542"/>
            <a:ext cx="5307330" cy="49244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flat" cmpd="sng" algn="ctr">
                <a:solidFill>
                  <a:srgbClr val="EDFA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0">
            <a:noAutofit/>
          </a:bodyPr>
          <a:lstStyle>
            <a:defPPr>
              <a:defRPr lang="en-US"/>
            </a:defPPr>
            <a:lvl1pPr>
              <a:buClr>
                <a:srgbClr val="30B131"/>
              </a:buClr>
              <a:buSzPct val="100000"/>
              <a:buFont typeface="Trebuchet MS" panose="020B0603020202020204" pitchFamily="34" charset="0"/>
              <a:buChar char="​"/>
              <a:defRPr sz="2000">
                <a:solidFill>
                  <a:srgbClr val="575757"/>
                </a:solidFill>
              </a:defRPr>
            </a:lvl1pPr>
            <a:lvl2pPr marL="320040" lvl="1" indent="-219456">
              <a:buClr>
                <a:srgbClr val="30B131"/>
              </a:buClr>
              <a:buSzPct val="100000"/>
              <a:buFont typeface="Trebuchet MS" panose="020B0603020202020204" pitchFamily="34" charset="0"/>
              <a:buChar char="•"/>
              <a:defRPr sz="2000">
                <a:solidFill>
                  <a:srgbClr val="575757"/>
                </a:solidFill>
              </a:defRPr>
            </a:lvl2pPr>
            <a:lvl3pPr marL="649224" lvl="2" indent="-219456">
              <a:buClr>
                <a:srgbClr val="30B131"/>
              </a:buClr>
              <a:buSzPct val="100000"/>
              <a:buFont typeface="Trebuchet MS" panose="020B0603020202020204" pitchFamily="34" charset="0"/>
              <a:buChar char="–"/>
              <a:defRPr sz="2000">
                <a:solidFill>
                  <a:srgbClr val="575757"/>
                </a:solidFill>
              </a:defRPr>
            </a:lvl3pPr>
            <a:lvl4pPr marL="0" lvl="3">
              <a:buClr>
                <a:srgbClr val="30B131"/>
              </a:buClr>
              <a:buSzPct val="100000"/>
              <a:buFont typeface="Trebuchet MS" panose="020B0603020202020204" pitchFamily="34" charset="0"/>
              <a:buChar char="​"/>
              <a:defRPr sz="2400">
                <a:solidFill>
                  <a:srgbClr val="30B131"/>
                </a:solidFill>
              </a:defRPr>
            </a:lvl4pPr>
            <a:lvl5pPr marL="0" lvl="4">
              <a:buClr>
                <a:srgbClr val="30B131"/>
              </a:buClr>
              <a:buSzPct val="100000"/>
              <a:buFont typeface="Trebuchet MS" panose="020B0603020202020204" pitchFamily="34" charset="0"/>
              <a:buChar char="​"/>
              <a:defRPr sz="2400" b="1">
                <a:solidFill>
                  <a:srgbClr val="575757"/>
                </a:solidFill>
              </a:defRPr>
            </a:lvl5pPr>
            <a:lvl6pPr marL="320040" lvl="5" indent="-219456">
              <a:buClr>
                <a:srgbClr val="30B131"/>
              </a:buClr>
              <a:buSzPct val="100000"/>
              <a:buFont typeface="Trebuchet MS" panose="020B0603020202020204" pitchFamily="34" charset="0"/>
              <a:buChar char="•"/>
              <a:defRPr sz="2400">
                <a:solidFill>
                  <a:srgbClr val="575757"/>
                </a:solidFill>
              </a:defRPr>
            </a:lvl6pPr>
            <a:lvl7pPr marL="0" lvl="6">
              <a:buClr>
                <a:srgbClr val="30B131"/>
              </a:buClr>
              <a:buSzPct val="100000"/>
              <a:buFont typeface="Trebuchet MS" panose="020B0603020202020204" pitchFamily="34" charset="0"/>
              <a:buChar char="​"/>
              <a:defRPr sz="5400">
                <a:solidFill>
                  <a:srgbClr val="575757"/>
                </a:solidFill>
              </a:defRPr>
            </a:lvl7pPr>
            <a:lvl8pPr marL="0" lvl="7">
              <a:buClr>
                <a:srgbClr val="30B131"/>
              </a:buClr>
              <a:buSzPct val="100000"/>
              <a:buFont typeface="Trebuchet MS" panose="020B0603020202020204" pitchFamily="34" charset="0"/>
              <a:buChar char="​"/>
              <a:defRPr sz="6600">
                <a:solidFill>
                  <a:srgbClr val="30B131"/>
                </a:solidFill>
              </a:defRPr>
            </a:lvl8pPr>
            <a:lvl9pPr marL="0" lvl="8">
              <a:buClr>
                <a:srgbClr val="30B131"/>
              </a:buClr>
              <a:buSzPct val="100000"/>
              <a:buFont typeface="Trebuchet MS" panose="020B0603020202020204" pitchFamily="34" charset="0"/>
              <a:buChar char="​"/>
              <a:defRPr sz="4400">
                <a:solidFill>
                  <a:srgbClr val="30B131"/>
                </a:solidFill>
              </a:defRPr>
            </a:lvl9pPr>
          </a:lstStyle>
          <a:p>
            <a:pPr marL="0" marR="0" lvl="0" indent="0" algn="ctr" defTabSz="914400" eaLnBrk="1" fontAlgn="auto" latinLnBrk="0" hangingPunct="1">
              <a:lnSpc>
                <a:spcPct val="100000"/>
              </a:lnSpc>
              <a:spcBef>
                <a:spcPts val="0"/>
              </a:spcBef>
              <a:spcAft>
                <a:spcPts val="0"/>
              </a:spcAft>
              <a:buClr>
                <a:srgbClr val="30B131"/>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mployees want to reskill – if the offer is good</a:t>
            </a:r>
          </a:p>
        </p:txBody>
      </p:sp>
      <p:sp>
        <p:nvSpPr>
          <p:cNvPr id="7" name="ee4pContent2">
            <a:extLst>
              <a:ext uri="{FF2B5EF4-FFF2-40B4-BE49-F238E27FC236}">
                <a16:creationId xmlns:a16="http://schemas.microsoft.com/office/drawing/2014/main" id="{7300FA42-CF4C-7BD6-7908-64AB8CAEEF50}"/>
              </a:ext>
            </a:extLst>
          </p:cNvPr>
          <p:cNvSpPr txBox="1"/>
          <p:nvPr/>
        </p:nvSpPr>
        <p:spPr>
          <a:xfrm>
            <a:off x="969545" y="1993280"/>
            <a:ext cx="4625541" cy="49244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flat" cmpd="sng" algn="ctr">
                <a:solidFill>
                  <a:srgbClr val="EDFA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0">
            <a:noAutofit/>
          </a:bodyPr>
          <a:lstStyle>
            <a:defPPr>
              <a:defRPr lang="en-US"/>
            </a:defPPr>
            <a:lvl1pPr>
              <a:buClr>
                <a:srgbClr val="30B131"/>
              </a:buClr>
              <a:buSzPct val="100000"/>
              <a:buFont typeface="Trebuchet MS" panose="020B0603020202020204" pitchFamily="34" charset="0"/>
              <a:buChar char="​"/>
              <a:defRPr sz="2000">
                <a:solidFill>
                  <a:srgbClr val="575757"/>
                </a:solidFill>
              </a:defRPr>
            </a:lvl1pPr>
            <a:lvl2pPr marL="320040" lvl="1" indent="-219456">
              <a:buClr>
                <a:srgbClr val="30B131"/>
              </a:buClr>
              <a:buSzPct val="100000"/>
              <a:buFont typeface="Trebuchet MS" panose="020B0603020202020204" pitchFamily="34" charset="0"/>
              <a:buChar char="•"/>
              <a:defRPr sz="2000">
                <a:solidFill>
                  <a:srgbClr val="575757"/>
                </a:solidFill>
              </a:defRPr>
            </a:lvl2pPr>
            <a:lvl3pPr marL="649224" lvl="2" indent="-219456">
              <a:buClr>
                <a:srgbClr val="30B131"/>
              </a:buClr>
              <a:buSzPct val="100000"/>
              <a:buFont typeface="Trebuchet MS" panose="020B0603020202020204" pitchFamily="34" charset="0"/>
              <a:buChar char="–"/>
              <a:defRPr sz="2000">
                <a:solidFill>
                  <a:srgbClr val="575757"/>
                </a:solidFill>
              </a:defRPr>
            </a:lvl3pPr>
            <a:lvl4pPr marL="0" lvl="3">
              <a:buClr>
                <a:srgbClr val="30B131"/>
              </a:buClr>
              <a:buSzPct val="100000"/>
              <a:buFont typeface="Trebuchet MS" panose="020B0603020202020204" pitchFamily="34" charset="0"/>
              <a:buChar char="​"/>
              <a:defRPr sz="2400">
                <a:solidFill>
                  <a:srgbClr val="30B131"/>
                </a:solidFill>
              </a:defRPr>
            </a:lvl4pPr>
            <a:lvl5pPr marL="0" lvl="4">
              <a:buClr>
                <a:srgbClr val="30B131"/>
              </a:buClr>
              <a:buSzPct val="100000"/>
              <a:buFont typeface="Trebuchet MS" panose="020B0603020202020204" pitchFamily="34" charset="0"/>
              <a:buChar char="​"/>
              <a:defRPr sz="2400" b="1">
                <a:solidFill>
                  <a:srgbClr val="575757"/>
                </a:solidFill>
              </a:defRPr>
            </a:lvl5pPr>
            <a:lvl6pPr marL="320040" lvl="5" indent="-219456">
              <a:buClr>
                <a:srgbClr val="30B131"/>
              </a:buClr>
              <a:buSzPct val="100000"/>
              <a:buFont typeface="Trebuchet MS" panose="020B0603020202020204" pitchFamily="34" charset="0"/>
              <a:buChar char="•"/>
              <a:defRPr sz="2400">
                <a:solidFill>
                  <a:srgbClr val="575757"/>
                </a:solidFill>
              </a:defRPr>
            </a:lvl6pPr>
            <a:lvl7pPr marL="0" lvl="6">
              <a:buClr>
                <a:srgbClr val="30B131"/>
              </a:buClr>
              <a:buSzPct val="100000"/>
              <a:buFont typeface="Trebuchet MS" panose="020B0603020202020204" pitchFamily="34" charset="0"/>
              <a:buChar char="​"/>
              <a:defRPr sz="5400">
                <a:solidFill>
                  <a:srgbClr val="575757"/>
                </a:solidFill>
              </a:defRPr>
            </a:lvl7pPr>
            <a:lvl8pPr marL="0" lvl="7">
              <a:buClr>
                <a:srgbClr val="30B131"/>
              </a:buClr>
              <a:buSzPct val="100000"/>
              <a:buFont typeface="Trebuchet MS" panose="020B0603020202020204" pitchFamily="34" charset="0"/>
              <a:buChar char="​"/>
              <a:defRPr sz="6600">
                <a:solidFill>
                  <a:srgbClr val="30B131"/>
                </a:solidFill>
              </a:defRPr>
            </a:lvl8pPr>
            <a:lvl9pPr marL="0" lvl="8">
              <a:buClr>
                <a:srgbClr val="30B131"/>
              </a:buClr>
              <a:buSzPct val="100000"/>
              <a:buFont typeface="Trebuchet MS" panose="020B0603020202020204" pitchFamily="34" charset="0"/>
              <a:buChar char="​"/>
              <a:defRPr sz="4400">
                <a:solidFill>
                  <a:srgbClr val="30B131"/>
                </a:solidFill>
              </a:defRPr>
            </a:lvl9pPr>
          </a:lstStyle>
          <a:p>
            <a:pPr marL="0" marR="0" lvl="0" indent="0" algn="ctr" defTabSz="914400" eaLnBrk="1" fontAlgn="auto" latinLnBrk="0" hangingPunct="1">
              <a:lnSpc>
                <a:spcPct val="100000"/>
              </a:lnSpc>
              <a:spcBef>
                <a:spcPts val="0"/>
              </a:spcBef>
              <a:spcAft>
                <a:spcPts val="0"/>
              </a:spcAft>
              <a:buClr>
                <a:srgbClr val="30B131"/>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mployees need to be convinced </a:t>
            </a:r>
          </a:p>
          <a:p>
            <a:pPr marL="0" marR="0" lvl="0" indent="0" algn="ctr" defTabSz="914400" eaLnBrk="1" fontAlgn="auto" latinLnBrk="0" hangingPunct="1">
              <a:lnSpc>
                <a:spcPct val="100000"/>
              </a:lnSpc>
              <a:spcBef>
                <a:spcPts val="0"/>
              </a:spcBef>
              <a:spcAft>
                <a:spcPts val="0"/>
              </a:spcAft>
              <a:buClr>
                <a:srgbClr val="30B131"/>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o reskill</a:t>
            </a:r>
          </a:p>
        </p:txBody>
      </p:sp>
      <p:sp>
        <p:nvSpPr>
          <p:cNvPr id="8" name="Isosceles Triangle 7">
            <a:extLst>
              <a:ext uri="{FF2B5EF4-FFF2-40B4-BE49-F238E27FC236}">
                <a16:creationId xmlns:a16="http://schemas.microsoft.com/office/drawing/2014/main" id="{336F0727-8D90-F086-20A4-01F234D60C8E}"/>
              </a:ext>
            </a:extLst>
          </p:cNvPr>
          <p:cNvSpPr/>
          <p:nvPr/>
        </p:nvSpPr>
        <p:spPr>
          <a:xfrm rot="5400000">
            <a:off x="11218447" y="2088704"/>
            <a:ext cx="1135387" cy="275446"/>
          </a:xfrm>
          <a:prstGeom prst="triangle">
            <a:avLst/>
          </a:prstGeom>
          <a:solidFill>
            <a:srgbClr val="A4103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0" name="Rounded Rectangle 18">
            <a:extLst>
              <a:ext uri="{FF2B5EF4-FFF2-40B4-BE49-F238E27FC236}">
                <a16:creationId xmlns:a16="http://schemas.microsoft.com/office/drawing/2014/main" id="{DC04B573-BB99-9C28-705A-22F690E0CCBC}"/>
              </a:ext>
            </a:extLst>
          </p:cNvPr>
          <p:cNvSpPr/>
          <p:nvPr/>
        </p:nvSpPr>
        <p:spPr>
          <a:xfrm>
            <a:off x="2011441" y="1216775"/>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D PARADIGM</a:t>
            </a:r>
          </a:p>
        </p:txBody>
      </p:sp>
      <p:sp>
        <p:nvSpPr>
          <p:cNvPr id="12" name="Rounded Rectangle 19">
            <a:extLst>
              <a:ext uri="{FF2B5EF4-FFF2-40B4-BE49-F238E27FC236}">
                <a16:creationId xmlns:a16="http://schemas.microsoft.com/office/drawing/2014/main" id="{7074CF89-6723-B939-6BDA-56B97FB069E7}"/>
              </a:ext>
            </a:extLst>
          </p:cNvPr>
          <p:cNvSpPr/>
          <p:nvPr/>
        </p:nvSpPr>
        <p:spPr>
          <a:xfrm>
            <a:off x="7638812" y="1224167"/>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41034"/>
                </a:solidFill>
                <a:effectLst/>
                <a:uLnTx/>
                <a:uFillTx/>
                <a:latin typeface="Arial" panose="020B0604020202020204" pitchFamily="34" charset="0"/>
                <a:ea typeface="+mn-ea"/>
                <a:cs typeface="Arial" panose="020B0604020202020204" pitchFamily="34" charset="0"/>
              </a:rPr>
              <a:t>NEW PARADIGM</a:t>
            </a:r>
          </a:p>
        </p:txBody>
      </p:sp>
      <p:sp>
        <p:nvSpPr>
          <p:cNvPr id="13" name="Oval 20">
            <a:extLst>
              <a:ext uri="{FF2B5EF4-FFF2-40B4-BE49-F238E27FC236}">
                <a16:creationId xmlns:a16="http://schemas.microsoft.com/office/drawing/2014/main" id="{5EC4F144-B228-AA42-3B06-7B0694B9C306}"/>
              </a:ext>
            </a:extLst>
          </p:cNvPr>
          <p:cNvSpPr>
            <a:spLocks noChangeAspect="1" noChangeArrowheads="1"/>
          </p:cNvSpPr>
          <p:nvPr/>
        </p:nvSpPr>
        <p:spPr bwMode="auto">
          <a:xfrm>
            <a:off x="628650" y="1990900"/>
            <a:ext cx="464945" cy="464945"/>
          </a:xfrm>
          <a:prstGeom prst="ellipse">
            <a:avLst/>
          </a:prstGeom>
          <a:grpFill/>
          <a:ln w="19050">
            <a:gradFill flip="none" rotWithShape="1">
              <a:gsLst>
                <a:gs pos="0">
                  <a:srgbClr val="670F31"/>
                </a:gs>
                <a:gs pos="100000">
                  <a:srgbClr val="E71C5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a:t>
            </a:r>
          </a:p>
        </p:txBody>
      </p:sp>
      <p:grpSp>
        <p:nvGrpSpPr>
          <p:cNvPr id="14" name="Group 13">
            <a:extLst>
              <a:ext uri="{FF2B5EF4-FFF2-40B4-BE49-F238E27FC236}">
                <a16:creationId xmlns:a16="http://schemas.microsoft.com/office/drawing/2014/main" id="{A01715AB-97CA-60E1-8CA6-08E31D0F3973}"/>
              </a:ext>
            </a:extLst>
          </p:cNvPr>
          <p:cNvGrpSpPr/>
          <p:nvPr/>
        </p:nvGrpSpPr>
        <p:grpSpPr>
          <a:xfrm>
            <a:off x="703365" y="3636335"/>
            <a:ext cx="10785271" cy="1572686"/>
            <a:chOff x="703365" y="3005778"/>
            <a:chExt cx="10785271" cy="2258606"/>
          </a:xfrm>
        </p:grpSpPr>
        <p:sp>
          <p:nvSpPr>
            <p:cNvPr id="15" name="Rectangle: Rounded Corners 14">
              <a:extLst>
                <a:ext uri="{FF2B5EF4-FFF2-40B4-BE49-F238E27FC236}">
                  <a16:creationId xmlns:a16="http://schemas.microsoft.com/office/drawing/2014/main" id="{9142B256-923A-9F2E-962F-1A917ED73AA1}"/>
                </a:ext>
              </a:extLst>
            </p:cNvPr>
            <p:cNvSpPr/>
            <p:nvPr/>
          </p:nvSpPr>
          <p:spPr>
            <a:xfrm>
              <a:off x="703365" y="3005779"/>
              <a:ext cx="3261538" cy="2258605"/>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a:buClr>
                  <a:srgbClr val="A41034"/>
                </a:buClr>
              </a:pPr>
              <a:r>
                <a:rPr lang="en-US" sz="1400" dirty="0">
                  <a:solidFill>
                    <a:srgbClr val="575757"/>
                  </a:solidFill>
                  <a:latin typeface="Arial" panose="020B0604020202020204" pitchFamily="34" charset="0"/>
                  <a:cs typeface="Arial" panose="020B0604020202020204" pitchFamily="34" charset="0"/>
                </a:rPr>
                <a:t>Several companies strongly involve unions and workers councils in the design of reskilling strategy, or survey learners on their motivation and preferences regarding skilling.</a:t>
              </a:r>
            </a:p>
          </p:txBody>
        </p:sp>
        <p:sp>
          <p:nvSpPr>
            <p:cNvPr id="16" name="Rectangle: Rounded Corners 15">
              <a:extLst>
                <a:ext uri="{FF2B5EF4-FFF2-40B4-BE49-F238E27FC236}">
                  <a16:creationId xmlns:a16="http://schemas.microsoft.com/office/drawing/2014/main" id="{960DB52C-4F6B-E21E-12A8-A2A6C1E206E3}"/>
                </a:ext>
              </a:extLst>
            </p:cNvPr>
            <p:cNvSpPr/>
            <p:nvPr/>
          </p:nvSpPr>
          <p:spPr>
            <a:xfrm>
              <a:off x="4465232" y="3005778"/>
              <a:ext cx="3261538" cy="2246231"/>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
                  <a:srgbClr val="A41034"/>
                </a:buClr>
                <a:buSzTx/>
                <a:buFontTx/>
                <a:buNone/>
                <a:tabLst/>
                <a:defRPr/>
              </a:pPr>
              <a:r>
                <a:rPr lang="hu-HU" sz="1400" dirty="0">
                  <a:solidFill>
                    <a:srgbClr val="575757"/>
                  </a:solidFill>
                  <a:latin typeface="Arial" panose="020B0604020202020204" pitchFamily="34" charset="0"/>
                  <a:cs typeface="Arial" panose="020B0604020202020204" pitchFamily="34" charset="0"/>
                </a:rPr>
                <a:t>Being very clear on the outcome makes a difference. For example, "train in place" reskilling program models first guarantee the person the new job, then train the person once they are in the job. </a:t>
              </a:r>
              <a:endPar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endParaRPr>
            </a:p>
          </p:txBody>
        </p:sp>
        <p:sp>
          <p:nvSpPr>
            <p:cNvPr id="19" name="Rectangle: Rounded Corners 18">
              <a:extLst>
                <a:ext uri="{FF2B5EF4-FFF2-40B4-BE49-F238E27FC236}">
                  <a16:creationId xmlns:a16="http://schemas.microsoft.com/office/drawing/2014/main" id="{EFA83B48-AED2-4FE8-E814-2D0FC5CE924A}"/>
                </a:ext>
              </a:extLst>
            </p:cNvPr>
            <p:cNvSpPr/>
            <p:nvPr/>
          </p:nvSpPr>
          <p:spPr>
            <a:xfrm>
              <a:off x="8227098" y="3005779"/>
              <a:ext cx="3261538" cy="2222820"/>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
                  <a:srgbClr val="A41034"/>
                </a:buClr>
                <a:buSzTx/>
                <a:buFontTx/>
                <a:buNone/>
                <a:tabLst/>
                <a:defRPr/>
              </a:pP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Employees need space and time for skilling. As an example, m</a:t>
              </a:r>
              <a:r>
                <a:rPr kumimoji="0" lang="en-US" sz="1400" b="0" i="0" u="none" strike="noStrike" kern="1200" cap="none" spc="0" normalizeH="0" baseline="0" dirty="0">
                  <a:ln>
                    <a:noFill/>
                  </a:ln>
                  <a:solidFill>
                    <a:srgbClr val="575757"/>
                  </a:solidFill>
                  <a:effectLst/>
                  <a:uLnTx/>
                  <a:uFillTx/>
                  <a:latin typeface="Arial" panose="020B0604020202020204" pitchFamily="34" charset="0"/>
                  <a:ea typeface="+mn-ea"/>
                  <a:cs typeface="Arial" panose="020B0604020202020204" pitchFamily="34" charset="0"/>
                </a:rPr>
                <a:t>ultinational</a:t>
              </a: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 telecommunication company dedicates 4 days per year to employees for pursuing learning opportunities</a:t>
              </a:r>
            </a:p>
          </p:txBody>
        </p:sp>
      </p:grpSp>
      <p:sp>
        <p:nvSpPr>
          <p:cNvPr id="25" name="Rectangle 24">
            <a:extLst>
              <a:ext uri="{FF2B5EF4-FFF2-40B4-BE49-F238E27FC236}">
                <a16:creationId xmlns:a16="http://schemas.microsoft.com/office/drawing/2014/main" id="{C098D035-6DA6-8DE5-86E0-5D014A2BAB5E}"/>
              </a:ext>
            </a:extLst>
          </p:cNvPr>
          <p:cNvSpPr/>
          <p:nvPr/>
        </p:nvSpPr>
        <p:spPr>
          <a:xfrm>
            <a:off x="0" y="990600"/>
            <a:ext cx="11658601" cy="683297"/>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6" name="Rounded Rectangle 18">
            <a:extLst>
              <a:ext uri="{FF2B5EF4-FFF2-40B4-BE49-F238E27FC236}">
                <a16:creationId xmlns:a16="http://schemas.microsoft.com/office/drawing/2014/main" id="{72BD4C77-9FEE-5F07-7F1E-D2C7CA00E235}"/>
              </a:ext>
            </a:extLst>
          </p:cNvPr>
          <p:cNvSpPr/>
          <p:nvPr/>
        </p:nvSpPr>
        <p:spPr>
          <a:xfrm>
            <a:off x="2011441" y="1216775"/>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D PARADIGM</a:t>
            </a:r>
          </a:p>
        </p:txBody>
      </p:sp>
      <p:sp>
        <p:nvSpPr>
          <p:cNvPr id="27" name="Rounded Rectangle 19">
            <a:extLst>
              <a:ext uri="{FF2B5EF4-FFF2-40B4-BE49-F238E27FC236}">
                <a16:creationId xmlns:a16="http://schemas.microsoft.com/office/drawing/2014/main" id="{EB37E673-1D63-AAD5-B5FE-31CC8D31F347}"/>
              </a:ext>
            </a:extLst>
          </p:cNvPr>
          <p:cNvSpPr/>
          <p:nvPr/>
        </p:nvSpPr>
        <p:spPr>
          <a:xfrm>
            <a:off x="7638812" y="1224167"/>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41034"/>
                </a:solidFill>
                <a:effectLst/>
                <a:uLnTx/>
                <a:uFillTx/>
                <a:latin typeface="Arial" panose="020B0604020202020204" pitchFamily="34" charset="0"/>
                <a:ea typeface="+mn-ea"/>
                <a:cs typeface="Arial" panose="020B0604020202020204" pitchFamily="34" charset="0"/>
              </a:rPr>
              <a:t>NEW PARADIGM</a:t>
            </a:r>
          </a:p>
        </p:txBody>
      </p:sp>
      <p:sp>
        <p:nvSpPr>
          <p:cNvPr id="29" name="Isosceles Triangle 28">
            <a:extLst>
              <a:ext uri="{FF2B5EF4-FFF2-40B4-BE49-F238E27FC236}">
                <a16:creationId xmlns:a16="http://schemas.microsoft.com/office/drawing/2014/main" id="{C37E7D9F-3609-E86A-C045-8C95AD1D6639}"/>
              </a:ext>
            </a:extLst>
          </p:cNvPr>
          <p:cNvSpPr/>
          <p:nvPr/>
        </p:nvSpPr>
        <p:spPr>
          <a:xfrm rot="5400000">
            <a:off x="11449584" y="1199618"/>
            <a:ext cx="683295" cy="265263"/>
          </a:xfrm>
          <a:prstGeom prst="triangle">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1959850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E7CF61A-44B3-47B2-BF32-5B68C85B80AB}"/>
              </a:ext>
            </a:extLst>
          </p:cNvPr>
          <p:cNvGraphicFramePr>
            <a:graphicFrameLocks noChangeAspect="1"/>
          </p:cNvGraphicFramePr>
          <p:nvPr>
            <p:custDataLst>
              <p:tags r:id="rId1"/>
            </p:custDataLst>
            <p:extLst>
              <p:ext uri="{D42A27DB-BD31-4B8C-83A1-F6EECF244321}">
                <p14:modId xmlns:p14="http://schemas.microsoft.com/office/powerpoint/2010/main" val="191839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think-cell data - do not delete" hidden="1">
                        <a:extLst>
                          <a:ext uri="{FF2B5EF4-FFF2-40B4-BE49-F238E27FC236}">
                            <a16:creationId xmlns:a16="http://schemas.microsoft.com/office/drawing/2014/main" id="{FE7CF61A-44B3-47B2-BF32-5B68C85B80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1" name="Google Shape;11292;p43">
            <a:extLst>
              <a:ext uri="{FF2B5EF4-FFF2-40B4-BE49-F238E27FC236}">
                <a16:creationId xmlns:a16="http://schemas.microsoft.com/office/drawing/2014/main" id="{20F7A066-EA15-4F27-A5E9-6F18A4F9E4A6}"/>
              </a:ext>
            </a:extLst>
          </p:cNvPr>
          <p:cNvGrpSpPr/>
          <p:nvPr/>
        </p:nvGrpSpPr>
        <p:grpSpPr>
          <a:xfrm>
            <a:off x="0" y="6292596"/>
            <a:ext cx="12192000" cy="565405"/>
            <a:chOff x="0" y="6273800"/>
            <a:chExt cx="12192000" cy="584200"/>
          </a:xfrm>
        </p:grpSpPr>
        <p:sp>
          <p:nvSpPr>
            <p:cNvPr id="22" name="Google Shape;11293;p43">
              <a:extLst>
                <a:ext uri="{FF2B5EF4-FFF2-40B4-BE49-F238E27FC236}">
                  <a16:creationId xmlns:a16="http://schemas.microsoft.com/office/drawing/2014/main" id="{8B955D68-AC1D-4117-BA31-004182041166}"/>
                </a:ext>
              </a:extLst>
            </p:cNvPr>
            <p:cNvSpPr/>
            <p:nvPr/>
          </p:nvSpPr>
          <p:spPr>
            <a:xfrm>
              <a:off x="0" y="6273800"/>
              <a:ext cx="12192000" cy="5842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a:ea typeface="+mn-ea"/>
                <a:cs typeface="+mn-cs"/>
                <a:sym typeface="Arial"/>
              </a:endParaRPr>
            </a:p>
          </p:txBody>
        </p:sp>
        <p:pic>
          <p:nvPicPr>
            <p:cNvPr id="23" name="Google Shape;11294;p43">
              <a:extLst>
                <a:ext uri="{FF2B5EF4-FFF2-40B4-BE49-F238E27FC236}">
                  <a16:creationId xmlns:a16="http://schemas.microsoft.com/office/drawing/2014/main" id="{F18D99E3-1E2A-4E60-B902-4CFEC9C11853}"/>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9513888" y="6392994"/>
              <a:ext cx="2305050" cy="334291"/>
            </a:xfrm>
            <a:prstGeom prst="rect">
              <a:avLst/>
            </a:prstGeom>
            <a:noFill/>
            <a:ln>
              <a:noFill/>
            </a:ln>
          </p:spPr>
        </p:pic>
      </p:grpSp>
      <p:sp>
        <p:nvSpPr>
          <p:cNvPr id="2" name="Rectangle 1">
            <a:extLst>
              <a:ext uri="{FF2B5EF4-FFF2-40B4-BE49-F238E27FC236}">
                <a16:creationId xmlns:a16="http://schemas.microsoft.com/office/drawing/2014/main" id="{36E0FEC5-33DA-7012-ABC4-0FBBF3DE5F37}"/>
              </a:ext>
            </a:extLst>
          </p:cNvPr>
          <p:cNvSpPr/>
          <p:nvPr/>
        </p:nvSpPr>
        <p:spPr>
          <a:xfrm>
            <a:off x="0" y="1673897"/>
            <a:ext cx="11658601" cy="1135388"/>
          </a:xfrm>
          <a:prstGeom prst="rect">
            <a:avLst/>
          </a:prstGeom>
          <a:gradFill flip="none" rotWithShape="1">
            <a:gsLst>
              <a:gs pos="36000">
                <a:schemeClr val="accent5"/>
              </a:gs>
              <a:gs pos="100000">
                <a:srgbClr val="A41034"/>
              </a:gs>
            </a:gsLst>
            <a:lin ang="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 name="ee4pContent2">
            <a:extLst>
              <a:ext uri="{FF2B5EF4-FFF2-40B4-BE49-F238E27FC236}">
                <a16:creationId xmlns:a16="http://schemas.microsoft.com/office/drawing/2014/main" id="{8296261F-2FA1-91BD-F715-91F462044E13}"/>
              </a:ext>
            </a:extLst>
          </p:cNvPr>
          <p:cNvSpPr txBox="1"/>
          <p:nvPr/>
        </p:nvSpPr>
        <p:spPr>
          <a:xfrm>
            <a:off x="6256021" y="1979542"/>
            <a:ext cx="5307330" cy="49244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flat" cmpd="sng" algn="ctr">
                <a:solidFill>
                  <a:srgbClr val="EDFA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0">
            <a:noAutofit/>
          </a:bodyPr>
          <a:lstStyle>
            <a:defPPr>
              <a:defRPr lang="en-US"/>
            </a:defPPr>
            <a:lvl1pPr>
              <a:buClr>
                <a:srgbClr val="30B131"/>
              </a:buClr>
              <a:buSzPct val="100000"/>
              <a:buFont typeface="Trebuchet MS" panose="020B0603020202020204" pitchFamily="34" charset="0"/>
              <a:buChar char="​"/>
              <a:defRPr sz="2000">
                <a:solidFill>
                  <a:srgbClr val="575757"/>
                </a:solidFill>
              </a:defRPr>
            </a:lvl1pPr>
            <a:lvl2pPr marL="320040" lvl="1" indent="-219456">
              <a:buClr>
                <a:srgbClr val="30B131"/>
              </a:buClr>
              <a:buSzPct val="100000"/>
              <a:buFont typeface="Trebuchet MS" panose="020B0603020202020204" pitchFamily="34" charset="0"/>
              <a:buChar char="•"/>
              <a:defRPr sz="2000">
                <a:solidFill>
                  <a:srgbClr val="575757"/>
                </a:solidFill>
              </a:defRPr>
            </a:lvl2pPr>
            <a:lvl3pPr marL="649224" lvl="2" indent="-219456">
              <a:buClr>
                <a:srgbClr val="30B131"/>
              </a:buClr>
              <a:buSzPct val="100000"/>
              <a:buFont typeface="Trebuchet MS" panose="020B0603020202020204" pitchFamily="34" charset="0"/>
              <a:buChar char="–"/>
              <a:defRPr sz="2000">
                <a:solidFill>
                  <a:srgbClr val="575757"/>
                </a:solidFill>
              </a:defRPr>
            </a:lvl3pPr>
            <a:lvl4pPr marL="0" lvl="3">
              <a:buClr>
                <a:srgbClr val="30B131"/>
              </a:buClr>
              <a:buSzPct val="100000"/>
              <a:buFont typeface="Trebuchet MS" panose="020B0603020202020204" pitchFamily="34" charset="0"/>
              <a:buChar char="​"/>
              <a:defRPr sz="2400">
                <a:solidFill>
                  <a:srgbClr val="30B131"/>
                </a:solidFill>
              </a:defRPr>
            </a:lvl4pPr>
            <a:lvl5pPr marL="0" lvl="4">
              <a:buClr>
                <a:srgbClr val="30B131"/>
              </a:buClr>
              <a:buSzPct val="100000"/>
              <a:buFont typeface="Trebuchet MS" panose="020B0603020202020204" pitchFamily="34" charset="0"/>
              <a:buChar char="​"/>
              <a:defRPr sz="2400" b="1">
                <a:solidFill>
                  <a:srgbClr val="575757"/>
                </a:solidFill>
              </a:defRPr>
            </a:lvl5pPr>
            <a:lvl6pPr marL="320040" lvl="5" indent="-219456">
              <a:buClr>
                <a:srgbClr val="30B131"/>
              </a:buClr>
              <a:buSzPct val="100000"/>
              <a:buFont typeface="Trebuchet MS" panose="020B0603020202020204" pitchFamily="34" charset="0"/>
              <a:buChar char="•"/>
              <a:defRPr sz="2400">
                <a:solidFill>
                  <a:srgbClr val="575757"/>
                </a:solidFill>
              </a:defRPr>
            </a:lvl6pPr>
            <a:lvl7pPr marL="0" lvl="6">
              <a:buClr>
                <a:srgbClr val="30B131"/>
              </a:buClr>
              <a:buSzPct val="100000"/>
              <a:buFont typeface="Trebuchet MS" panose="020B0603020202020204" pitchFamily="34" charset="0"/>
              <a:buChar char="​"/>
              <a:defRPr sz="5400">
                <a:solidFill>
                  <a:srgbClr val="575757"/>
                </a:solidFill>
              </a:defRPr>
            </a:lvl7pPr>
            <a:lvl8pPr marL="0" lvl="7">
              <a:buClr>
                <a:srgbClr val="30B131"/>
              </a:buClr>
              <a:buSzPct val="100000"/>
              <a:buFont typeface="Trebuchet MS" panose="020B0603020202020204" pitchFamily="34" charset="0"/>
              <a:buChar char="​"/>
              <a:defRPr sz="6600">
                <a:solidFill>
                  <a:srgbClr val="30B131"/>
                </a:solidFill>
              </a:defRPr>
            </a:lvl8pPr>
            <a:lvl9pPr marL="0" lvl="8">
              <a:buClr>
                <a:srgbClr val="30B131"/>
              </a:buClr>
              <a:buSzPct val="100000"/>
              <a:buFont typeface="Trebuchet MS" panose="020B0603020202020204" pitchFamily="34" charset="0"/>
              <a:buChar char="​"/>
              <a:defRPr sz="4400">
                <a:solidFill>
                  <a:srgbClr val="30B131"/>
                </a:solidFill>
              </a:defRPr>
            </a:lvl9pPr>
          </a:lstStyle>
          <a:p>
            <a:pPr marL="0" marR="0" lvl="0" indent="0" algn="ctr" defTabSz="914400" eaLnBrk="1" fontAlgn="auto" latinLnBrk="0" hangingPunct="1">
              <a:lnSpc>
                <a:spcPct val="100000"/>
              </a:lnSpc>
              <a:spcBef>
                <a:spcPts val="0"/>
              </a:spcBef>
              <a:spcAft>
                <a:spcPts val="0"/>
              </a:spcAft>
              <a:buClr>
                <a:srgbClr val="30B131"/>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skilling is best addressed as part of an ecosystem</a:t>
            </a:r>
          </a:p>
        </p:txBody>
      </p:sp>
      <p:sp>
        <p:nvSpPr>
          <p:cNvPr id="5" name="ee4pContent2">
            <a:extLst>
              <a:ext uri="{FF2B5EF4-FFF2-40B4-BE49-F238E27FC236}">
                <a16:creationId xmlns:a16="http://schemas.microsoft.com/office/drawing/2014/main" id="{F8F1D4FE-E249-F047-0D38-1691717136F8}"/>
              </a:ext>
            </a:extLst>
          </p:cNvPr>
          <p:cNvSpPr txBox="1"/>
          <p:nvPr/>
        </p:nvSpPr>
        <p:spPr>
          <a:xfrm>
            <a:off x="788670" y="1979542"/>
            <a:ext cx="5307330" cy="49244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flat" cmpd="sng" algn="ctr">
                <a:solidFill>
                  <a:srgbClr val="EDFA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0">
            <a:noAutofit/>
          </a:bodyPr>
          <a:lstStyle>
            <a:defPPr>
              <a:defRPr lang="en-US"/>
            </a:defPPr>
            <a:lvl1pPr>
              <a:buClr>
                <a:srgbClr val="30B131"/>
              </a:buClr>
              <a:buSzPct val="100000"/>
              <a:buFont typeface="Trebuchet MS" panose="020B0603020202020204" pitchFamily="34" charset="0"/>
              <a:buChar char="​"/>
              <a:defRPr sz="2000">
                <a:solidFill>
                  <a:srgbClr val="575757"/>
                </a:solidFill>
              </a:defRPr>
            </a:lvl1pPr>
            <a:lvl2pPr marL="320040" lvl="1" indent="-219456">
              <a:buClr>
                <a:srgbClr val="30B131"/>
              </a:buClr>
              <a:buSzPct val="100000"/>
              <a:buFont typeface="Trebuchet MS" panose="020B0603020202020204" pitchFamily="34" charset="0"/>
              <a:buChar char="•"/>
              <a:defRPr sz="2000">
                <a:solidFill>
                  <a:srgbClr val="575757"/>
                </a:solidFill>
              </a:defRPr>
            </a:lvl2pPr>
            <a:lvl3pPr marL="649224" lvl="2" indent="-219456">
              <a:buClr>
                <a:srgbClr val="30B131"/>
              </a:buClr>
              <a:buSzPct val="100000"/>
              <a:buFont typeface="Trebuchet MS" panose="020B0603020202020204" pitchFamily="34" charset="0"/>
              <a:buChar char="–"/>
              <a:defRPr sz="2000">
                <a:solidFill>
                  <a:srgbClr val="575757"/>
                </a:solidFill>
              </a:defRPr>
            </a:lvl3pPr>
            <a:lvl4pPr marL="0" lvl="3">
              <a:buClr>
                <a:srgbClr val="30B131"/>
              </a:buClr>
              <a:buSzPct val="100000"/>
              <a:buFont typeface="Trebuchet MS" panose="020B0603020202020204" pitchFamily="34" charset="0"/>
              <a:buChar char="​"/>
              <a:defRPr sz="2400">
                <a:solidFill>
                  <a:srgbClr val="30B131"/>
                </a:solidFill>
              </a:defRPr>
            </a:lvl4pPr>
            <a:lvl5pPr marL="0" lvl="4">
              <a:buClr>
                <a:srgbClr val="30B131"/>
              </a:buClr>
              <a:buSzPct val="100000"/>
              <a:buFont typeface="Trebuchet MS" panose="020B0603020202020204" pitchFamily="34" charset="0"/>
              <a:buChar char="​"/>
              <a:defRPr sz="2400" b="1">
                <a:solidFill>
                  <a:srgbClr val="575757"/>
                </a:solidFill>
              </a:defRPr>
            </a:lvl5pPr>
            <a:lvl6pPr marL="320040" lvl="5" indent="-219456">
              <a:buClr>
                <a:srgbClr val="30B131"/>
              </a:buClr>
              <a:buSzPct val="100000"/>
              <a:buFont typeface="Trebuchet MS" panose="020B0603020202020204" pitchFamily="34" charset="0"/>
              <a:buChar char="•"/>
              <a:defRPr sz="2400">
                <a:solidFill>
                  <a:srgbClr val="575757"/>
                </a:solidFill>
              </a:defRPr>
            </a:lvl6pPr>
            <a:lvl7pPr marL="0" lvl="6">
              <a:buClr>
                <a:srgbClr val="30B131"/>
              </a:buClr>
              <a:buSzPct val="100000"/>
              <a:buFont typeface="Trebuchet MS" panose="020B0603020202020204" pitchFamily="34" charset="0"/>
              <a:buChar char="​"/>
              <a:defRPr sz="5400">
                <a:solidFill>
                  <a:srgbClr val="575757"/>
                </a:solidFill>
              </a:defRPr>
            </a:lvl7pPr>
            <a:lvl8pPr marL="0" lvl="7">
              <a:buClr>
                <a:srgbClr val="30B131"/>
              </a:buClr>
              <a:buSzPct val="100000"/>
              <a:buFont typeface="Trebuchet MS" panose="020B0603020202020204" pitchFamily="34" charset="0"/>
              <a:buChar char="​"/>
              <a:defRPr sz="6600">
                <a:solidFill>
                  <a:srgbClr val="30B131"/>
                </a:solidFill>
              </a:defRPr>
            </a:lvl8pPr>
            <a:lvl9pPr marL="0" lvl="8">
              <a:buClr>
                <a:srgbClr val="30B131"/>
              </a:buClr>
              <a:buSzPct val="100000"/>
              <a:buFont typeface="Trebuchet MS" panose="020B0603020202020204" pitchFamily="34" charset="0"/>
              <a:buChar char="​"/>
              <a:defRPr sz="4400">
                <a:solidFill>
                  <a:srgbClr val="30B131"/>
                </a:solidFill>
              </a:defRPr>
            </a:lvl9pPr>
          </a:lstStyle>
          <a:p>
            <a:pPr marL="0" marR="0" lvl="0" indent="0" algn="ctr" defTabSz="914400" eaLnBrk="1" fontAlgn="auto" latinLnBrk="0" hangingPunct="1">
              <a:lnSpc>
                <a:spcPct val="100000"/>
              </a:lnSpc>
              <a:spcBef>
                <a:spcPts val="0"/>
              </a:spcBef>
              <a:spcAft>
                <a:spcPts val="0"/>
              </a:spcAft>
              <a:buClr>
                <a:srgbClr val="30B131"/>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skilling is an individual firm problem</a:t>
            </a:r>
          </a:p>
        </p:txBody>
      </p:sp>
      <p:sp>
        <p:nvSpPr>
          <p:cNvPr id="7" name="Isosceles Triangle 6">
            <a:extLst>
              <a:ext uri="{FF2B5EF4-FFF2-40B4-BE49-F238E27FC236}">
                <a16:creationId xmlns:a16="http://schemas.microsoft.com/office/drawing/2014/main" id="{0CA9FD11-3FAA-55E7-9E2E-9749F5020142}"/>
              </a:ext>
            </a:extLst>
          </p:cNvPr>
          <p:cNvSpPr/>
          <p:nvPr/>
        </p:nvSpPr>
        <p:spPr>
          <a:xfrm rot="5400000">
            <a:off x="11218447" y="2088704"/>
            <a:ext cx="1135387" cy="275446"/>
          </a:xfrm>
          <a:prstGeom prst="triangle">
            <a:avLst/>
          </a:prstGeom>
          <a:solidFill>
            <a:srgbClr val="A4103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8" name="Rounded Rectangle 18">
            <a:extLst>
              <a:ext uri="{FF2B5EF4-FFF2-40B4-BE49-F238E27FC236}">
                <a16:creationId xmlns:a16="http://schemas.microsoft.com/office/drawing/2014/main" id="{49B9FA65-9505-98C1-1A31-03A3A7B5609A}"/>
              </a:ext>
            </a:extLst>
          </p:cNvPr>
          <p:cNvSpPr/>
          <p:nvPr/>
        </p:nvSpPr>
        <p:spPr>
          <a:xfrm>
            <a:off x="2011441" y="1216775"/>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D PARADIGM</a:t>
            </a:r>
          </a:p>
        </p:txBody>
      </p:sp>
      <p:sp>
        <p:nvSpPr>
          <p:cNvPr id="10" name="Rounded Rectangle 19">
            <a:extLst>
              <a:ext uri="{FF2B5EF4-FFF2-40B4-BE49-F238E27FC236}">
                <a16:creationId xmlns:a16="http://schemas.microsoft.com/office/drawing/2014/main" id="{D83400A3-7A11-3B96-2D93-A0AFA0EEB43D}"/>
              </a:ext>
            </a:extLst>
          </p:cNvPr>
          <p:cNvSpPr/>
          <p:nvPr/>
        </p:nvSpPr>
        <p:spPr>
          <a:xfrm>
            <a:off x="7638812" y="1224167"/>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41034"/>
                </a:solidFill>
                <a:effectLst/>
                <a:uLnTx/>
                <a:uFillTx/>
                <a:latin typeface="Arial" panose="020B0604020202020204" pitchFamily="34" charset="0"/>
                <a:ea typeface="+mn-ea"/>
                <a:cs typeface="Arial" panose="020B0604020202020204" pitchFamily="34" charset="0"/>
              </a:rPr>
              <a:t>NEW PARADIGM</a:t>
            </a:r>
          </a:p>
        </p:txBody>
      </p:sp>
      <p:sp>
        <p:nvSpPr>
          <p:cNvPr id="11" name="Oval 20">
            <a:extLst>
              <a:ext uri="{FF2B5EF4-FFF2-40B4-BE49-F238E27FC236}">
                <a16:creationId xmlns:a16="http://schemas.microsoft.com/office/drawing/2014/main" id="{A1B4E6EA-B062-B22D-A4F3-276EC7CB9C01}"/>
              </a:ext>
            </a:extLst>
          </p:cNvPr>
          <p:cNvSpPr>
            <a:spLocks noChangeAspect="1" noChangeArrowheads="1"/>
          </p:cNvSpPr>
          <p:nvPr/>
        </p:nvSpPr>
        <p:spPr bwMode="auto">
          <a:xfrm>
            <a:off x="628650" y="1990900"/>
            <a:ext cx="464945" cy="464945"/>
          </a:xfrm>
          <a:prstGeom prst="ellipse">
            <a:avLst/>
          </a:prstGeom>
          <a:grpFill/>
          <a:ln w="19050">
            <a:gradFill flip="none" rotWithShape="1">
              <a:gsLst>
                <a:gs pos="0">
                  <a:srgbClr val="670F31"/>
                </a:gs>
                <a:gs pos="100000">
                  <a:srgbClr val="E71C5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r>
              <a:rPr lang="en-US" sz="2800" kern="0" dirty="0">
                <a:solidFill>
                  <a:srgbClr val="FFFFFF"/>
                </a:solidFill>
                <a:latin typeface="Arial" panose="020B0604020202020204" pitchFamily="34" charset="0"/>
                <a:cs typeface="Arial" panose="020B0604020202020204" pitchFamily="34" charset="0"/>
              </a:rPr>
              <a:t>5</a:t>
            </a:r>
            <a:endParaRPr kumimoji="0" lang="en-US" sz="28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6" name="Group 15">
            <a:extLst>
              <a:ext uri="{FF2B5EF4-FFF2-40B4-BE49-F238E27FC236}">
                <a16:creationId xmlns:a16="http://schemas.microsoft.com/office/drawing/2014/main" id="{772C510F-EB54-762A-4FE8-0510EA52012F}"/>
              </a:ext>
            </a:extLst>
          </p:cNvPr>
          <p:cNvGrpSpPr/>
          <p:nvPr/>
        </p:nvGrpSpPr>
        <p:grpSpPr>
          <a:xfrm>
            <a:off x="703365" y="3636335"/>
            <a:ext cx="10785271" cy="1874128"/>
            <a:chOff x="703365" y="3005779"/>
            <a:chExt cx="10785271" cy="1909162"/>
          </a:xfrm>
        </p:grpSpPr>
        <p:sp>
          <p:nvSpPr>
            <p:cNvPr id="19" name="Rectangle: Rounded Corners 18">
              <a:extLst>
                <a:ext uri="{FF2B5EF4-FFF2-40B4-BE49-F238E27FC236}">
                  <a16:creationId xmlns:a16="http://schemas.microsoft.com/office/drawing/2014/main" id="{3A120F37-07FE-4DA2-B237-61B230398113}"/>
                </a:ext>
              </a:extLst>
            </p:cNvPr>
            <p:cNvSpPr/>
            <p:nvPr/>
          </p:nvSpPr>
          <p:spPr>
            <a:xfrm>
              <a:off x="703365" y="3005779"/>
              <a:ext cx="3261538" cy="1909162"/>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
                  <a:srgbClr val="A41034"/>
                </a:buClr>
                <a:buSzTx/>
                <a:buFontTx/>
                <a:buNone/>
                <a:tabLst/>
                <a:defRPr/>
              </a:pP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Pooling resources with competitors may help. The Technology in Finance Immersion Program, run by the Institute of Banking and Finance in Singapore, involves 30+ financial services companies to invest in reskilling finance talent for new roles as AI engineers</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endParaRPr>
            </a:p>
          </p:txBody>
        </p:sp>
        <p:sp>
          <p:nvSpPr>
            <p:cNvPr id="25" name="Rectangle: Rounded Corners 24">
              <a:extLst>
                <a:ext uri="{FF2B5EF4-FFF2-40B4-BE49-F238E27FC236}">
                  <a16:creationId xmlns:a16="http://schemas.microsoft.com/office/drawing/2014/main" id="{2211D2D4-7B21-D60E-9A1E-113AFCD24539}"/>
                </a:ext>
              </a:extLst>
            </p:cNvPr>
            <p:cNvSpPr/>
            <p:nvPr/>
          </p:nvSpPr>
          <p:spPr>
            <a:xfrm>
              <a:off x="4465232" y="3005780"/>
              <a:ext cx="3261538" cy="1898703"/>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
                  <a:srgbClr val="A41034"/>
                </a:buClr>
                <a:buSzTx/>
                <a:buFontTx/>
                <a:buNone/>
                <a:tabLst/>
                <a:defRPr/>
              </a:pP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NGOs can help access hidden talent pools. </a:t>
              </a:r>
              <a:r>
                <a:rPr kumimoji="0" lang="en-US" sz="1400" b="0" i="0" u="none" strike="noStrike" kern="1200" cap="none" spc="0" normalizeH="0" baseline="0" noProof="0" dirty="0" err="1">
                  <a:ln>
                    <a:noFill/>
                  </a:ln>
                  <a:solidFill>
                    <a:srgbClr val="575757"/>
                  </a:solidFill>
                  <a:effectLst/>
                  <a:uLnTx/>
                  <a:uFillTx/>
                  <a:latin typeface="Arial" panose="020B0604020202020204" pitchFamily="34" charset="0"/>
                  <a:ea typeface="+mn-ea"/>
                  <a:cs typeface="Arial" panose="020B0604020202020204" pitchFamily="34" charset="0"/>
                </a:rPr>
                <a:t>OneTen</a:t>
              </a: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 is a non-profit organization in the US that partners with corporations and training providers to aid innovative skilling of black workers – already placed 17,000 talent in corporate roles in just a few years' time</a:t>
              </a:r>
            </a:p>
          </p:txBody>
        </p:sp>
        <p:sp>
          <p:nvSpPr>
            <p:cNvPr id="26" name="Rectangle: Rounded Corners 25">
              <a:extLst>
                <a:ext uri="{FF2B5EF4-FFF2-40B4-BE49-F238E27FC236}">
                  <a16:creationId xmlns:a16="http://schemas.microsoft.com/office/drawing/2014/main" id="{5BA60298-A266-9B64-42E1-E3CECA16F00F}"/>
                </a:ext>
              </a:extLst>
            </p:cNvPr>
            <p:cNvSpPr/>
            <p:nvPr/>
          </p:nvSpPr>
          <p:spPr>
            <a:xfrm>
              <a:off x="8227098" y="3005779"/>
              <a:ext cx="3261538" cy="1878914"/>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L="0" marR="0" lvl="0" indent="0" algn="l" defTabSz="914400" eaLnBrk="1" fontAlgn="auto" latinLnBrk="0" hangingPunct="1">
                <a:lnSpc>
                  <a:spcPct val="100000"/>
                </a:lnSpc>
                <a:spcBef>
                  <a:spcPts val="0"/>
                </a:spcBef>
                <a:spcAft>
                  <a:spcPts val="0"/>
                </a:spcAft>
                <a:buClr>
                  <a:srgbClr val="A41034"/>
                </a:buClr>
                <a:buSzTx/>
                <a:buFontTx/>
                <a:buNone/>
                <a:tabLst/>
                <a:defRPr/>
              </a:pPr>
              <a:r>
                <a:rPr lang="en-US" sz="1400" dirty="0">
                  <a:solidFill>
                    <a:srgbClr val="575757"/>
                  </a:solidFill>
                  <a:latin typeface="Arial" panose="020B0604020202020204" pitchFamily="34" charset="0"/>
                  <a:cs typeface="Arial" panose="020B0604020202020204" pitchFamily="34" charset="0"/>
                </a:rPr>
                <a:t>New models of partnering with academia are worth exploring. </a:t>
              </a:r>
              <a:r>
                <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UK Institutes of Technology bring together colleges and major employers in a region to provide practical technical training for workers without tech backgrounds</a:t>
              </a:r>
              <a:r>
                <a:rPr lang="en-US" sz="1400" dirty="0">
                  <a:solidFill>
                    <a:srgbClr val="575757"/>
                  </a:solidFill>
                  <a:latin typeface="Arial" panose="020B0604020202020204" pitchFamily="34" charset="0"/>
                  <a:cs typeface="Arial" panose="020B0604020202020204" pitchFamily="34" charset="0"/>
                </a:rPr>
                <a:t>.</a:t>
              </a:r>
              <a:endParaRPr kumimoji="0" lang="en-US" sz="14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endParaRPr>
            </a:p>
          </p:txBody>
        </p:sp>
      </p:grpSp>
      <p:sp>
        <p:nvSpPr>
          <p:cNvPr id="27" name="Rectangle 26">
            <a:extLst>
              <a:ext uri="{FF2B5EF4-FFF2-40B4-BE49-F238E27FC236}">
                <a16:creationId xmlns:a16="http://schemas.microsoft.com/office/drawing/2014/main" id="{DFBC4206-3DE8-39CE-53AD-30A0EBEE5028}"/>
              </a:ext>
            </a:extLst>
          </p:cNvPr>
          <p:cNvSpPr/>
          <p:nvPr/>
        </p:nvSpPr>
        <p:spPr>
          <a:xfrm>
            <a:off x="0" y="990600"/>
            <a:ext cx="11658601" cy="683297"/>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9" name="Rounded Rectangle 18">
            <a:extLst>
              <a:ext uri="{FF2B5EF4-FFF2-40B4-BE49-F238E27FC236}">
                <a16:creationId xmlns:a16="http://schemas.microsoft.com/office/drawing/2014/main" id="{5091DE89-A03F-CD26-CD57-420370DEA7EC}"/>
              </a:ext>
            </a:extLst>
          </p:cNvPr>
          <p:cNvSpPr/>
          <p:nvPr/>
        </p:nvSpPr>
        <p:spPr>
          <a:xfrm>
            <a:off x="2011441" y="1216775"/>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LD PARADIGM</a:t>
            </a:r>
          </a:p>
        </p:txBody>
      </p:sp>
      <p:sp>
        <p:nvSpPr>
          <p:cNvPr id="30" name="Rounded Rectangle 19">
            <a:extLst>
              <a:ext uri="{FF2B5EF4-FFF2-40B4-BE49-F238E27FC236}">
                <a16:creationId xmlns:a16="http://schemas.microsoft.com/office/drawing/2014/main" id="{7AF744D8-DB17-74B2-21E9-70DFD0FE71B4}"/>
              </a:ext>
            </a:extLst>
          </p:cNvPr>
          <p:cNvSpPr/>
          <p:nvPr/>
        </p:nvSpPr>
        <p:spPr>
          <a:xfrm>
            <a:off x="7638812" y="1224167"/>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41034"/>
                </a:solidFill>
                <a:effectLst/>
                <a:uLnTx/>
                <a:uFillTx/>
                <a:latin typeface="Arial" panose="020B0604020202020204" pitchFamily="34" charset="0"/>
                <a:ea typeface="+mn-ea"/>
                <a:cs typeface="Arial" panose="020B0604020202020204" pitchFamily="34" charset="0"/>
              </a:rPr>
              <a:t>NEW PARADIGM</a:t>
            </a:r>
          </a:p>
        </p:txBody>
      </p:sp>
      <p:sp>
        <p:nvSpPr>
          <p:cNvPr id="33" name="Isosceles Triangle 32">
            <a:extLst>
              <a:ext uri="{FF2B5EF4-FFF2-40B4-BE49-F238E27FC236}">
                <a16:creationId xmlns:a16="http://schemas.microsoft.com/office/drawing/2014/main" id="{DBCB5AF9-C249-FC56-7B10-56AF4619B0D7}"/>
              </a:ext>
            </a:extLst>
          </p:cNvPr>
          <p:cNvSpPr/>
          <p:nvPr/>
        </p:nvSpPr>
        <p:spPr>
          <a:xfrm rot="5400000">
            <a:off x="11449584" y="1199618"/>
            <a:ext cx="683295" cy="265263"/>
          </a:xfrm>
          <a:prstGeom prst="triangle">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3835253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38C7FC-9A23-2437-F5CF-EB4658941205}"/>
              </a:ext>
            </a:extLst>
          </p:cNvPr>
          <p:cNvGraphicFramePr>
            <a:graphicFrameLocks noChangeAspect="1"/>
          </p:cNvGraphicFramePr>
          <p:nvPr>
            <p:custDataLst>
              <p:tags r:id="rId1"/>
            </p:custDataLst>
            <p:extLst>
              <p:ext uri="{D42A27DB-BD31-4B8C-83A1-F6EECF244321}">
                <p14:modId xmlns:p14="http://schemas.microsoft.com/office/powerpoint/2010/main" val="2862090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2038C7FC-9A23-2437-F5CF-EB46589412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8B90277-5A84-BE5B-95F2-091880270E0D}"/>
              </a:ext>
            </a:extLst>
          </p:cNvPr>
          <p:cNvSpPr/>
          <p:nvPr/>
        </p:nvSpPr>
        <p:spPr>
          <a:xfrm>
            <a:off x="664042" y="2538699"/>
            <a:ext cx="5182597" cy="830992"/>
          </a:xfrm>
          <a:prstGeom prst="rect">
            <a:avLst/>
          </a:prstGeom>
          <a:solidFill>
            <a:schemeClr val="accent5">
              <a:lumMod val="40000"/>
              <a:lumOff val="6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3684B9">
                    <a:lumMod val="50000"/>
                  </a:srgbClr>
                </a:solidFill>
                <a:effectLst/>
                <a:uLnTx/>
                <a:uFillTx/>
                <a:latin typeface="Arial"/>
                <a:ea typeface="+mn-ea"/>
                <a:cs typeface="+mn-cs"/>
                <a:sym typeface="Arial"/>
              </a:rPr>
              <a:t>Reskilling is an HR responsibility</a:t>
            </a:r>
          </a:p>
        </p:txBody>
      </p:sp>
      <p:sp>
        <p:nvSpPr>
          <p:cNvPr id="23" name="Rectangle 22">
            <a:extLst>
              <a:ext uri="{FF2B5EF4-FFF2-40B4-BE49-F238E27FC236}">
                <a16:creationId xmlns:a16="http://schemas.microsoft.com/office/drawing/2014/main" id="{18072104-6579-A590-6014-AB0E9AF6A902}"/>
              </a:ext>
            </a:extLst>
          </p:cNvPr>
          <p:cNvSpPr/>
          <p:nvPr/>
        </p:nvSpPr>
        <p:spPr>
          <a:xfrm>
            <a:off x="654054" y="4500935"/>
            <a:ext cx="5224828" cy="830992"/>
          </a:xfrm>
          <a:prstGeom prst="rect">
            <a:avLst/>
          </a:prstGeom>
          <a:solidFill>
            <a:schemeClr val="accent5">
              <a:lumMod val="40000"/>
              <a:lumOff val="6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3684B9">
                    <a:lumMod val="50000"/>
                  </a:srgbClr>
                </a:solidFill>
                <a:effectLst/>
                <a:uLnTx/>
                <a:uFillTx/>
                <a:latin typeface="Arial"/>
                <a:ea typeface="+mn-ea"/>
                <a:cs typeface="+mn-cs"/>
                <a:sym typeface="Arial"/>
              </a:rPr>
              <a:t>Employees need to be convinced to reskill</a:t>
            </a:r>
          </a:p>
        </p:txBody>
      </p:sp>
      <p:sp>
        <p:nvSpPr>
          <p:cNvPr id="22" name="Rectangle 21">
            <a:extLst>
              <a:ext uri="{FF2B5EF4-FFF2-40B4-BE49-F238E27FC236}">
                <a16:creationId xmlns:a16="http://schemas.microsoft.com/office/drawing/2014/main" id="{A3BF4A45-2479-B9B6-C965-A6DFA03BCC20}"/>
              </a:ext>
            </a:extLst>
          </p:cNvPr>
          <p:cNvSpPr/>
          <p:nvPr/>
        </p:nvSpPr>
        <p:spPr>
          <a:xfrm>
            <a:off x="664042" y="5487081"/>
            <a:ext cx="5214840" cy="830992"/>
          </a:xfrm>
          <a:prstGeom prst="rect">
            <a:avLst/>
          </a:prstGeom>
          <a:solidFill>
            <a:schemeClr val="accent5">
              <a:lumMod val="40000"/>
              <a:lumOff val="6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3684B9">
                    <a:lumMod val="50000"/>
                  </a:srgbClr>
                </a:solidFill>
                <a:effectLst/>
                <a:uLnTx/>
                <a:uFillTx/>
                <a:latin typeface="Arial"/>
                <a:ea typeface="+mn-ea"/>
                <a:cs typeface="+mn-cs"/>
                <a:sym typeface="Arial"/>
              </a:rPr>
              <a:t>Reskilling is an individual firm problem</a:t>
            </a:r>
          </a:p>
        </p:txBody>
      </p:sp>
      <p:sp>
        <p:nvSpPr>
          <p:cNvPr id="21" name="Rectangle 20">
            <a:extLst>
              <a:ext uri="{FF2B5EF4-FFF2-40B4-BE49-F238E27FC236}">
                <a16:creationId xmlns:a16="http://schemas.microsoft.com/office/drawing/2014/main" id="{2A3A3EAF-CE29-2F42-2DF9-1EDE0D086A8C}"/>
              </a:ext>
            </a:extLst>
          </p:cNvPr>
          <p:cNvSpPr/>
          <p:nvPr/>
        </p:nvSpPr>
        <p:spPr>
          <a:xfrm>
            <a:off x="664043" y="3512421"/>
            <a:ext cx="5195616" cy="830992"/>
          </a:xfrm>
          <a:prstGeom prst="rect">
            <a:avLst/>
          </a:prstGeom>
          <a:solidFill>
            <a:schemeClr val="accent5">
              <a:lumMod val="40000"/>
              <a:lumOff val="6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3684B9">
                    <a:lumMod val="50000"/>
                  </a:srgbClr>
                </a:solidFill>
                <a:effectLst/>
                <a:uLnTx/>
                <a:uFillTx/>
                <a:latin typeface="Arial"/>
                <a:ea typeface="+mn-ea"/>
                <a:cs typeface="+mn-cs"/>
                <a:sym typeface="Arial"/>
              </a:rPr>
              <a:t>Reskilling is a training initiative</a:t>
            </a:r>
          </a:p>
        </p:txBody>
      </p:sp>
      <p:sp>
        <p:nvSpPr>
          <p:cNvPr id="7" name="Rectangle 6">
            <a:extLst>
              <a:ext uri="{FF2B5EF4-FFF2-40B4-BE49-F238E27FC236}">
                <a16:creationId xmlns:a16="http://schemas.microsoft.com/office/drawing/2014/main" id="{ABF41F68-D906-31EB-8EF7-159A0F87F187}"/>
              </a:ext>
            </a:extLst>
          </p:cNvPr>
          <p:cNvSpPr/>
          <p:nvPr/>
        </p:nvSpPr>
        <p:spPr>
          <a:xfrm>
            <a:off x="654703" y="1580545"/>
            <a:ext cx="5191936" cy="830992"/>
          </a:xfrm>
          <a:prstGeom prst="rect">
            <a:avLst/>
          </a:prstGeom>
          <a:solidFill>
            <a:schemeClr val="accent5">
              <a:lumMod val="40000"/>
              <a:lumOff val="60000"/>
            </a:schemeClr>
          </a:solidFill>
          <a:ln w="3810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3684B9">
                    <a:lumMod val="50000"/>
                  </a:srgbClr>
                </a:solidFill>
                <a:effectLst/>
                <a:uLnTx/>
                <a:uFillTx/>
                <a:latin typeface="Arial"/>
                <a:ea typeface="+mn-ea"/>
                <a:cs typeface="+mn-cs"/>
                <a:sym typeface="Arial"/>
              </a:rPr>
              <a:t>Reskilling is a CSR or PR initiative to support displaced workers</a:t>
            </a:r>
            <a:endParaRPr kumimoji="0" lang="en-US" sz="16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3" name="Rectangle 32">
            <a:extLst>
              <a:ext uri="{FF2B5EF4-FFF2-40B4-BE49-F238E27FC236}">
                <a16:creationId xmlns:a16="http://schemas.microsoft.com/office/drawing/2014/main" id="{B0D14AD7-1AEA-CF66-D77E-C6351BFE0AD2}"/>
              </a:ext>
            </a:extLst>
          </p:cNvPr>
          <p:cNvSpPr/>
          <p:nvPr/>
        </p:nvSpPr>
        <p:spPr>
          <a:xfrm>
            <a:off x="6351567" y="4500935"/>
            <a:ext cx="5224826" cy="830992"/>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0" i="1" u="none" strike="noStrike" kern="0" cap="none" spc="0" normalizeH="0" baseline="0" noProof="0" dirty="0">
                <a:ln>
                  <a:noFill/>
                </a:ln>
                <a:solidFill>
                  <a:srgbClr val="FFFFFF"/>
                </a:solidFill>
                <a:effectLst/>
                <a:uLnTx/>
                <a:uFillTx/>
                <a:latin typeface="Arial"/>
                <a:ea typeface="+mn-ea"/>
                <a:cs typeface="+mn-cs"/>
                <a:sym typeface="Arial"/>
              </a:rPr>
              <a:t>Employees want to reskill – if the offer is good</a:t>
            </a:r>
          </a:p>
        </p:txBody>
      </p:sp>
      <p:sp>
        <p:nvSpPr>
          <p:cNvPr id="32" name="Rectangle 31">
            <a:extLst>
              <a:ext uri="{FF2B5EF4-FFF2-40B4-BE49-F238E27FC236}">
                <a16:creationId xmlns:a16="http://schemas.microsoft.com/office/drawing/2014/main" id="{666CE989-AA44-5B77-CD2C-1AB9CF778EFD}"/>
              </a:ext>
            </a:extLst>
          </p:cNvPr>
          <p:cNvSpPr/>
          <p:nvPr/>
        </p:nvSpPr>
        <p:spPr>
          <a:xfrm>
            <a:off x="6351570" y="5487081"/>
            <a:ext cx="5214838" cy="847808"/>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0" i="1" u="none" strike="noStrike" kern="0" cap="none" spc="0" normalizeH="0" baseline="0" noProof="0" dirty="0">
                <a:ln>
                  <a:noFill/>
                </a:ln>
                <a:solidFill>
                  <a:srgbClr val="FFFFFF"/>
                </a:solidFill>
                <a:effectLst/>
                <a:uLnTx/>
                <a:uFillTx/>
                <a:latin typeface="Arial"/>
                <a:ea typeface="+mn-ea"/>
                <a:cs typeface="+mn-cs"/>
                <a:sym typeface="Arial"/>
              </a:rPr>
              <a:t>Reskilling is best addressed as part of an ecosystem</a:t>
            </a:r>
          </a:p>
        </p:txBody>
      </p:sp>
      <p:sp>
        <p:nvSpPr>
          <p:cNvPr id="26" name="Rectangle 25">
            <a:extLst>
              <a:ext uri="{FF2B5EF4-FFF2-40B4-BE49-F238E27FC236}">
                <a16:creationId xmlns:a16="http://schemas.microsoft.com/office/drawing/2014/main" id="{657F4C14-DF9A-B4DC-853F-D11A14A7DCD7}"/>
              </a:ext>
            </a:extLst>
          </p:cNvPr>
          <p:cNvSpPr/>
          <p:nvPr/>
        </p:nvSpPr>
        <p:spPr>
          <a:xfrm>
            <a:off x="6332344" y="3510914"/>
            <a:ext cx="5214840" cy="832499"/>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0" i="1" u="none" strike="noStrike" kern="0" cap="none" spc="0" normalizeH="0" baseline="0" noProof="0" dirty="0">
                <a:ln>
                  <a:noFill/>
                </a:ln>
                <a:solidFill>
                  <a:srgbClr val="FFFFFF"/>
                </a:solidFill>
                <a:effectLst/>
                <a:uLnTx/>
                <a:uFillTx/>
                <a:latin typeface="Arial"/>
                <a:ea typeface="+mn-ea"/>
                <a:cs typeface="+mn-cs"/>
                <a:sym typeface="Arial"/>
              </a:rPr>
              <a:t>Reskilling is a change management initiative</a:t>
            </a:r>
            <a:endParaRPr kumimoji="0" lang="en-US" sz="16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25" name="Rectangle 24">
            <a:extLst>
              <a:ext uri="{FF2B5EF4-FFF2-40B4-BE49-F238E27FC236}">
                <a16:creationId xmlns:a16="http://schemas.microsoft.com/office/drawing/2014/main" id="{FED7C29C-A46E-A1C5-C3DA-BBA4446D74AF}"/>
              </a:ext>
            </a:extLst>
          </p:cNvPr>
          <p:cNvSpPr/>
          <p:nvPr/>
        </p:nvSpPr>
        <p:spPr>
          <a:xfrm>
            <a:off x="6332345" y="2538699"/>
            <a:ext cx="5214840" cy="841120"/>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0" i="1" u="none" strike="noStrike" kern="0" cap="none" spc="0" normalizeH="0" baseline="0" noProof="0" dirty="0">
                <a:ln>
                  <a:noFill/>
                </a:ln>
                <a:solidFill>
                  <a:srgbClr val="FFFFFF"/>
                </a:solidFill>
                <a:effectLst/>
                <a:uLnTx/>
                <a:uFillTx/>
                <a:latin typeface="Arial"/>
                <a:ea typeface="+mn-ea"/>
                <a:cs typeface="+mn-cs"/>
                <a:sym typeface="Arial"/>
              </a:rPr>
              <a:t>Reskilling is every leader’s and manager’s responsibility</a:t>
            </a:r>
            <a:endParaRPr kumimoji="0" lang="en-US" sz="16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24" name="Rectangle 23">
            <a:extLst>
              <a:ext uri="{FF2B5EF4-FFF2-40B4-BE49-F238E27FC236}">
                <a16:creationId xmlns:a16="http://schemas.microsoft.com/office/drawing/2014/main" id="{DB7E8269-B6E7-78D3-F810-9CCC9D01513F}"/>
              </a:ext>
            </a:extLst>
          </p:cNvPr>
          <p:cNvSpPr/>
          <p:nvPr/>
        </p:nvSpPr>
        <p:spPr>
          <a:xfrm>
            <a:off x="6322457" y="1574771"/>
            <a:ext cx="5214840" cy="838517"/>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0" i="1" u="none" strike="noStrike" kern="0" cap="none" spc="0" normalizeH="0" baseline="0" noProof="0" dirty="0">
                <a:ln>
                  <a:noFill/>
                </a:ln>
                <a:solidFill>
                  <a:srgbClr val="FFFFFF"/>
                </a:solidFill>
                <a:effectLst/>
                <a:uLnTx/>
                <a:uFillTx/>
                <a:latin typeface="Arial"/>
                <a:ea typeface="+mn-ea"/>
                <a:cs typeface="+mn-cs"/>
                <a:sym typeface="Arial"/>
              </a:rPr>
              <a:t>Reskilling is a key strategic initiative</a:t>
            </a:r>
            <a:endParaRPr kumimoji="0" lang="en-US" sz="1600" b="0" i="0" u="none" strike="noStrike" kern="0" cap="none" spc="0" normalizeH="0" baseline="0" noProof="0" dirty="0">
              <a:ln>
                <a:noFill/>
              </a:ln>
              <a:solidFill>
                <a:srgbClr val="FFFFFF"/>
              </a:solidFill>
              <a:effectLst/>
              <a:uLnTx/>
              <a:uFillTx/>
              <a:latin typeface="Arial"/>
              <a:ea typeface="+mn-ea"/>
              <a:cs typeface="+mn-cs"/>
              <a:sym typeface="Arial"/>
            </a:endParaRPr>
          </a:p>
        </p:txBody>
      </p:sp>
      <p:grpSp>
        <p:nvGrpSpPr>
          <p:cNvPr id="8" name="Group 26">
            <a:extLst>
              <a:ext uri="{FF2B5EF4-FFF2-40B4-BE49-F238E27FC236}">
                <a16:creationId xmlns:a16="http://schemas.microsoft.com/office/drawing/2014/main" id="{039CC5C0-1E4C-2B45-4798-57CFB6B08CA8}"/>
              </a:ext>
            </a:extLst>
          </p:cNvPr>
          <p:cNvGrpSpPr/>
          <p:nvPr/>
        </p:nvGrpSpPr>
        <p:grpSpPr>
          <a:xfrm>
            <a:off x="358927" y="1"/>
            <a:ext cx="4565999" cy="1017988"/>
            <a:chOff x="359843" y="0"/>
            <a:chExt cx="3182418" cy="760708"/>
          </a:xfrm>
        </p:grpSpPr>
        <p:sp>
          <p:nvSpPr>
            <p:cNvPr id="9" name="Rectangle 27">
              <a:extLst>
                <a:ext uri="{FF2B5EF4-FFF2-40B4-BE49-F238E27FC236}">
                  <a16:creationId xmlns:a16="http://schemas.microsoft.com/office/drawing/2014/main" id="{90D001CD-E6E5-9D7B-FDF4-70E09D16770E}"/>
                </a:ext>
              </a:extLst>
            </p:cNvPr>
            <p:cNvSpPr/>
            <p:nvPr/>
          </p:nvSpPr>
          <p:spPr>
            <a:xfrm>
              <a:off x="361950" y="0"/>
              <a:ext cx="3180311" cy="7607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10" name="Rectangle 29">
              <a:extLst>
                <a:ext uri="{FF2B5EF4-FFF2-40B4-BE49-F238E27FC236}">
                  <a16:creationId xmlns:a16="http://schemas.microsoft.com/office/drawing/2014/main" id="{A6517DA4-06A5-05DD-052A-2EB4E62D31A6}"/>
                </a:ext>
              </a:extLst>
            </p:cNvPr>
            <p:cNvSpPr/>
            <p:nvPr/>
          </p:nvSpPr>
          <p:spPr>
            <a:xfrm>
              <a:off x="359843" y="367618"/>
              <a:ext cx="3180311" cy="344986"/>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2400" kern="0" dirty="0">
                  <a:solidFill>
                    <a:srgbClr val="FFFFFF"/>
                  </a:solidFill>
                  <a:latin typeface="Arial"/>
                  <a:ea typeface="+mn-ea"/>
                  <a:cs typeface="Arial"/>
                  <a:sym typeface="Arial"/>
                </a:rPr>
                <a:t>Summary</a:t>
              </a:r>
              <a:endParaRPr kumimoji="0" lang="en-US" sz="2400" b="0" i="0" u="none" strike="noStrike" kern="1200" cap="none" spc="0" normalizeH="0" baseline="0" noProof="0" dirty="0">
                <a:ln>
                  <a:noFill/>
                </a:ln>
                <a:solidFill>
                  <a:srgbClr val="FFFFFF"/>
                </a:solidFill>
                <a:effectLst/>
                <a:uLnTx/>
                <a:uFillTx/>
                <a:latin typeface="Arial"/>
                <a:ea typeface="+mn-ea"/>
                <a:cs typeface="Arial"/>
                <a:sym typeface="Arial"/>
              </a:endParaRPr>
            </a:p>
          </p:txBody>
        </p:sp>
      </p:grpSp>
      <p:sp>
        <p:nvSpPr>
          <p:cNvPr id="19" name="Rounded Rectangle 18">
            <a:extLst>
              <a:ext uri="{FF2B5EF4-FFF2-40B4-BE49-F238E27FC236}">
                <a16:creationId xmlns:a16="http://schemas.microsoft.com/office/drawing/2014/main" id="{1B9D27C6-14E1-9CCE-C853-788E86C3AAE0}"/>
              </a:ext>
            </a:extLst>
          </p:cNvPr>
          <p:cNvSpPr/>
          <p:nvPr/>
        </p:nvSpPr>
        <p:spPr>
          <a:xfrm>
            <a:off x="644817" y="1060581"/>
            <a:ext cx="5460522" cy="655772"/>
          </a:xfrm>
          <a:prstGeom prst="roundRect">
            <a:avLst>
              <a:gd name="adj" fmla="val 10000"/>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0000"/>
                </a:solidFill>
                <a:effectLst/>
                <a:uLnTx/>
                <a:uFillTx/>
                <a:latin typeface="Arial"/>
                <a:ea typeface="+mn-ea"/>
                <a:cs typeface="Arial"/>
                <a:sym typeface="Arial"/>
              </a:rPr>
              <a:t>“OLD” PARADIGM</a:t>
            </a:r>
          </a:p>
        </p:txBody>
      </p:sp>
      <p:sp>
        <p:nvSpPr>
          <p:cNvPr id="20" name="Rounded Rectangle 19">
            <a:extLst>
              <a:ext uri="{FF2B5EF4-FFF2-40B4-BE49-F238E27FC236}">
                <a16:creationId xmlns:a16="http://schemas.microsoft.com/office/drawing/2014/main" id="{B508A027-11FD-BF7C-222D-826DFFF0BF8A}"/>
              </a:ext>
            </a:extLst>
          </p:cNvPr>
          <p:cNvSpPr/>
          <p:nvPr/>
        </p:nvSpPr>
        <p:spPr>
          <a:xfrm>
            <a:off x="6244102" y="1067974"/>
            <a:ext cx="5400979" cy="655771"/>
          </a:xfrm>
          <a:prstGeom prst="roundRect">
            <a:avLst>
              <a:gd name="adj" fmla="val 10000"/>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0000"/>
                </a:solidFill>
                <a:effectLst/>
                <a:uLnTx/>
                <a:uFillTx/>
                <a:latin typeface="Arial"/>
                <a:ea typeface="+mn-ea"/>
                <a:cs typeface="Arial"/>
                <a:sym typeface="Arial"/>
              </a:rPr>
              <a:t>“NEW” PARADIGM</a:t>
            </a:r>
          </a:p>
        </p:txBody>
      </p:sp>
      <p:sp>
        <p:nvSpPr>
          <p:cNvPr id="28" name="Right Arrow 27">
            <a:extLst>
              <a:ext uri="{FF2B5EF4-FFF2-40B4-BE49-F238E27FC236}">
                <a16:creationId xmlns:a16="http://schemas.microsoft.com/office/drawing/2014/main" id="{49529033-F02F-4151-7446-F3752F1187B9}"/>
              </a:ext>
            </a:extLst>
          </p:cNvPr>
          <p:cNvSpPr/>
          <p:nvPr/>
        </p:nvSpPr>
        <p:spPr>
          <a:xfrm>
            <a:off x="5716812" y="1833956"/>
            <a:ext cx="702205" cy="484632"/>
          </a:xfrm>
          <a:prstGeom prst="rightArrow">
            <a:avLst/>
          </a:prstGeom>
          <a:solidFill>
            <a:schemeClr val="accent5">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2" name="Straight Connector 37">
            <a:extLst>
              <a:ext uri="{FF2B5EF4-FFF2-40B4-BE49-F238E27FC236}">
                <a16:creationId xmlns:a16="http://schemas.microsoft.com/office/drawing/2014/main" id="{EC09DA76-C5DB-3C15-89CC-6DE9D6837654}"/>
              </a:ext>
            </a:extLst>
          </p:cNvPr>
          <p:cNvCxnSpPr>
            <a:cxnSpLocks/>
          </p:cNvCxnSpPr>
          <p:nvPr/>
        </p:nvCxnSpPr>
        <p:spPr>
          <a:xfrm>
            <a:off x="2301253" y="1477661"/>
            <a:ext cx="2291137"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 name="Straight Connector 37">
            <a:extLst>
              <a:ext uri="{FF2B5EF4-FFF2-40B4-BE49-F238E27FC236}">
                <a16:creationId xmlns:a16="http://schemas.microsoft.com/office/drawing/2014/main" id="{4C83AA8F-9B89-947E-FA55-FA5FE02AE686}"/>
              </a:ext>
            </a:extLst>
          </p:cNvPr>
          <p:cNvCxnSpPr>
            <a:cxnSpLocks/>
          </p:cNvCxnSpPr>
          <p:nvPr/>
        </p:nvCxnSpPr>
        <p:spPr>
          <a:xfrm>
            <a:off x="7797487" y="1477661"/>
            <a:ext cx="2404153"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Right Arrow 33">
            <a:extLst>
              <a:ext uri="{FF2B5EF4-FFF2-40B4-BE49-F238E27FC236}">
                <a16:creationId xmlns:a16="http://schemas.microsoft.com/office/drawing/2014/main" id="{164CAC26-29E8-0A8E-238F-7C3347E699E7}"/>
              </a:ext>
            </a:extLst>
          </p:cNvPr>
          <p:cNvSpPr/>
          <p:nvPr/>
        </p:nvSpPr>
        <p:spPr>
          <a:xfrm>
            <a:off x="5716814" y="2737445"/>
            <a:ext cx="702205" cy="484632"/>
          </a:xfrm>
          <a:prstGeom prst="rightArrow">
            <a:avLst/>
          </a:prstGeom>
          <a:solidFill>
            <a:schemeClr val="accent5">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5" name="Right Arrow 34">
            <a:extLst>
              <a:ext uri="{FF2B5EF4-FFF2-40B4-BE49-F238E27FC236}">
                <a16:creationId xmlns:a16="http://schemas.microsoft.com/office/drawing/2014/main" id="{E64A42F7-9A4B-AFE3-B0D7-29D2198DCBE2}"/>
              </a:ext>
            </a:extLst>
          </p:cNvPr>
          <p:cNvSpPr/>
          <p:nvPr/>
        </p:nvSpPr>
        <p:spPr>
          <a:xfrm>
            <a:off x="5716813" y="3678835"/>
            <a:ext cx="702205" cy="484632"/>
          </a:xfrm>
          <a:prstGeom prst="rightArrow">
            <a:avLst/>
          </a:prstGeom>
          <a:solidFill>
            <a:schemeClr val="accent5">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6" name="Right Arrow 35">
            <a:extLst>
              <a:ext uri="{FF2B5EF4-FFF2-40B4-BE49-F238E27FC236}">
                <a16:creationId xmlns:a16="http://schemas.microsoft.com/office/drawing/2014/main" id="{7EFD4C40-4C6F-3FE6-C71D-07F7A570F06D}"/>
              </a:ext>
            </a:extLst>
          </p:cNvPr>
          <p:cNvSpPr/>
          <p:nvPr/>
        </p:nvSpPr>
        <p:spPr>
          <a:xfrm>
            <a:off x="5723822" y="5702346"/>
            <a:ext cx="702205" cy="484632"/>
          </a:xfrm>
          <a:prstGeom prst="rightArrow">
            <a:avLst/>
          </a:prstGeom>
          <a:solidFill>
            <a:schemeClr val="accent5">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7" name="Right Arrow 36">
            <a:extLst>
              <a:ext uri="{FF2B5EF4-FFF2-40B4-BE49-F238E27FC236}">
                <a16:creationId xmlns:a16="http://schemas.microsoft.com/office/drawing/2014/main" id="{6F4A2371-87BA-CFAF-30B7-52DD845AA5D5}"/>
              </a:ext>
            </a:extLst>
          </p:cNvPr>
          <p:cNvSpPr/>
          <p:nvPr/>
        </p:nvSpPr>
        <p:spPr>
          <a:xfrm>
            <a:off x="5723818" y="4729034"/>
            <a:ext cx="702205" cy="484632"/>
          </a:xfrm>
          <a:prstGeom prst="rightArrow">
            <a:avLst/>
          </a:prstGeom>
          <a:solidFill>
            <a:schemeClr val="accent5">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78651025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347703A-1F98-EC96-7571-1A3B38400F75}"/>
              </a:ext>
            </a:extLst>
          </p:cNvPr>
          <p:cNvSpPr>
            <a:spLocks noGrp="1"/>
          </p:cNvSpPr>
          <p:nvPr>
            <p:ph type="sldNum" idx="12"/>
          </p:nvPr>
        </p:nvSpPr>
        <p:spPr/>
        <p:txBody>
          <a:bodyPr/>
          <a:lstStyle/>
          <a:p>
            <a:fld id="{00000000-1234-1234-1234-123412341234}" type="slidenum">
              <a:rPr lang="en-US" smtClean="0"/>
              <a:pPr/>
              <a:t>14</a:t>
            </a:fld>
            <a:endParaRPr lang="en-US" dirty="0"/>
          </a:p>
        </p:txBody>
      </p:sp>
      <p:pic>
        <p:nvPicPr>
          <p:cNvPr id="5" name="Picture Placeholder 4" descr="Graphical user interface&#10;&#10;Description automatically generated with medium confidence">
            <a:extLst>
              <a:ext uri="{FF2B5EF4-FFF2-40B4-BE49-F238E27FC236}">
                <a16:creationId xmlns:a16="http://schemas.microsoft.com/office/drawing/2014/main" id="{3529181C-FB32-E1F3-2A88-1651EE21DF73}"/>
              </a:ext>
            </a:extLst>
          </p:cNvPr>
          <p:cNvPicPr>
            <a:picLocks noGrp="1" noChangeAspect="1"/>
          </p:cNvPicPr>
          <p:nvPr>
            <p:ph type="pic" idx="2"/>
          </p:nvPr>
        </p:nvPicPr>
        <p:blipFill>
          <a:blip r:embed="rId2"/>
          <a:srcRect t="4188" b="4188"/>
          <a:stretch>
            <a:fillRect/>
          </a:stretch>
        </p:blipFill>
        <p:spPr/>
      </p:pic>
      <p:sp>
        <p:nvSpPr>
          <p:cNvPr id="3" name="Oval 2">
            <a:extLst>
              <a:ext uri="{FF2B5EF4-FFF2-40B4-BE49-F238E27FC236}">
                <a16:creationId xmlns:a16="http://schemas.microsoft.com/office/drawing/2014/main" id="{1656E4CD-0845-CCBD-98D7-8DD6B5AF63E4}"/>
              </a:ext>
            </a:extLst>
          </p:cNvPr>
          <p:cNvSpPr/>
          <p:nvPr/>
        </p:nvSpPr>
        <p:spPr>
          <a:xfrm>
            <a:off x="2584174" y="2604052"/>
            <a:ext cx="5625548" cy="824948"/>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921679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029"/>
        <p:cNvGrpSpPr/>
        <p:nvPr/>
      </p:nvGrpSpPr>
      <p:grpSpPr>
        <a:xfrm>
          <a:off x="0" y="0"/>
          <a:ext cx="0" cy="0"/>
          <a:chOff x="0" y="0"/>
          <a:chExt cx="0" cy="0"/>
        </a:xfrm>
      </p:grpSpPr>
      <p:grpSp>
        <p:nvGrpSpPr>
          <p:cNvPr id="11030" name="Google Shape;11030;p43"/>
          <p:cNvGrpSpPr/>
          <p:nvPr/>
        </p:nvGrpSpPr>
        <p:grpSpPr>
          <a:xfrm>
            <a:off x="8062912" y="1196975"/>
            <a:ext cx="3767138" cy="5106354"/>
            <a:chOff x="8062912" y="1196975"/>
            <a:chExt cx="3767138" cy="5106354"/>
          </a:xfrm>
        </p:grpSpPr>
        <p:sp>
          <p:nvSpPr>
            <p:cNvPr id="11031" name="Google Shape;11031;p43"/>
            <p:cNvSpPr/>
            <p:nvPr/>
          </p:nvSpPr>
          <p:spPr>
            <a:xfrm>
              <a:off x="8062912" y="1196975"/>
              <a:ext cx="3767138" cy="5106354"/>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11032" name="Google Shape;11032;p43"/>
            <p:cNvGrpSpPr/>
            <p:nvPr/>
          </p:nvGrpSpPr>
          <p:grpSpPr>
            <a:xfrm>
              <a:off x="8128461" y="4516135"/>
              <a:ext cx="3657085" cy="1719241"/>
              <a:chOff x="-9147673" y="647657"/>
              <a:chExt cx="3886544" cy="1827113"/>
            </a:xfrm>
          </p:grpSpPr>
          <p:sp>
            <p:nvSpPr>
              <p:cNvPr id="11033" name="Google Shape;11033;p43"/>
              <p:cNvSpPr/>
              <p:nvPr/>
            </p:nvSpPr>
            <p:spPr>
              <a:xfrm>
                <a:off x="-9147673"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4" name="Google Shape;11034;p43"/>
              <p:cNvSpPr/>
              <p:nvPr/>
            </p:nvSpPr>
            <p:spPr>
              <a:xfrm>
                <a:off x="-8976029"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5" name="Google Shape;11035;p43"/>
              <p:cNvSpPr/>
              <p:nvPr/>
            </p:nvSpPr>
            <p:spPr>
              <a:xfrm>
                <a:off x="-8804428"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6" name="Google Shape;11036;p43"/>
              <p:cNvSpPr/>
              <p:nvPr/>
            </p:nvSpPr>
            <p:spPr>
              <a:xfrm>
                <a:off x="-8632783"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7" name="Google Shape;11037;p43"/>
              <p:cNvSpPr/>
              <p:nvPr/>
            </p:nvSpPr>
            <p:spPr>
              <a:xfrm>
                <a:off x="-8461182"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8" name="Google Shape;11038;p43"/>
              <p:cNvSpPr/>
              <p:nvPr/>
            </p:nvSpPr>
            <p:spPr>
              <a:xfrm>
                <a:off x="-7946292"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9" name="Google Shape;11039;p43"/>
              <p:cNvSpPr/>
              <p:nvPr/>
            </p:nvSpPr>
            <p:spPr>
              <a:xfrm>
                <a:off x="-6401708"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0" name="Google Shape;11040;p43"/>
              <p:cNvSpPr/>
              <p:nvPr/>
            </p:nvSpPr>
            <p:spPr>
              <a:xfrm>
                <a:off x="-7774691"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1" name="Google Shape;11041;p43"/>
              <p:cNvSpPr/>
              <p:nvPr/>
            </p:nvSpPr>
            <p:spPr>
              <a:xfrm>
                <a:off x="-6916555"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2" name="Google Shape;11042;p43"/>
              <p:cNvSpPr/>
              <p:nvPr/>
            </p:nvSpPr>
            <p:spPr>
              <a:xfrm>
                <a:off x="-6744954"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3" name="Google Shape;11043;p43"/>
              <p:cNvSpPr/>
              <p:nvPr/>
            </p:nvSpPr>
            <p:spPr>
              <a:xfrm>
                <a:off x="-7431445"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4" name="Google Shape;11044;p43"/>
              <p:cNvSpPr/>
              <p:nvPr/>
            </p:nvSpPr>
            <p:spPr>
              <a:xfrm>
                <a:off x="-6573309"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5" name="Google Shape;11045;p43"/>
              <p:cNvSpPr/>
              <p:nvPr/>
            </p:nvSpPr>
            <p:spPr>
              <a:xfrm>
                <a:off x="-6230064"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6" name="Google Shape;11046;p43"/>
              <p:cNvSpPr/>
              <p:nvPr/>
            </p:nvSpPr>
            <p:spPr>
              <a:xfrm>
                <a:off x="-5886818"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7" name="Google Shape;11047;p43"/>
              <p:cNvSpPr/>
              <p:nvPr/>
            </p:nvSpPr>
            <p:spPr>
              <a:xfrm>
                <a:off x="-5715217"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8" name="Google Shape;11048;p43"/>
              <p:cNvSpPr/>
              <p:nvPr/>
            </p:nvSpPr>
            <p:spPr>
              <a:xfrm>
                <a:off x="-5371971"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9" name="Google Shape;11049;p43"/>
              <p:cNvSpPr/>
              <p:nvPr/>
            </p:nvSpPr>
            <p:spPr>
              <a:xfrm rot="-5400000">
                <a:off x="-9147673" y="2192284"/>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0" name="Google Shape;11050;p43"/>
              <p:cNvSpPr/>
              <p:nvPr/>
            </p:nvSpPr>
            <p:spPr>
              <a:xfrm rot="-5400000">
                <a:off x="-9147673" y="1849038"/>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1" name="Google Shape;11051;p43"/>
              <p:cNvSpPr/>
              <p:nvPr/>
            </p:nvSpPr>
            <p:spPr>
              <a:xfrm rot="-5400000">
                <a:off x="-9147673" y="1677437"/>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2" name="Google Shape;11052;p43"/>
              <p:cNvSpPr/>
              <p:nvPr/>
            </p:nvSpPr>
            <p:spPr>
              <a:xfrm rot="-5400000">
                <a:off x="-9147673" y="1505792"/>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3" name="Google Shape;11053;p43"/>
              <p:cNvSpPr/>
              <p:nvPr/>
            </p:nvSpPr>
            <p:spPr>
              <a:xfrm rot="-5400000">
                <a:off x="-9147673" y="1334191"/>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4" name="Google Shape;11054;p43"/>
              <p:cNvSpPr/>
              <p:nvPr/>
            </p:nvSpPr>
            <p:spPr>
              <a:xfrm rot="-5400000">
                <a:off x="-9147673" y="1162546"/>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5" name="Google Shape;11055;p43"/>
              <p:cNvSpPr/>
              <p:nvPr/>
            </p:nvSpPr>
            <p:spPr>
              <a:xfrm rot="-5400000">
                <a:off x="-9147673" y="647700"/>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6" name="Google Shape;11056;p43"/>
              <p:cNvSpPr/>
              <p:nvPr/>
            </p:nvSpPr>
            <p:spPr>
              <a:xfrm rot="-5400000">
                <a:off x="-8976029" y="2192327"/>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7" name="Google Shape;11057;p43"/>
              <p:cNvSpPr/>
              <p:nvPr/>
            </p:nvSpPr>
            <p:spPr>
              <a:xfrm rot="-5400000">
                <a:off x="-8975943" y="2020682"/>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8" name="Google Shape;11058;p43"/>
              <p:cNvSpPr/>
              <p:nvPr/>
            </p:nvSpPr>
            <p:spPr>
              <a:xfrm rot="-5400000">
                <a:off x="-8976029" y="1849081"/>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9" name="Google Shape;11059;p43"/>
              <p:cNvSpPr/>
              <p:nvPr/>
            </p:nvSpPr>
            <p:spPr>
              <a:xfrm rot="-5400000">
                <a:off x="-8976072" y="1677437"/>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0" name="Google Shape;11060;p43"/>
              <p:cNvSpPr/>
              <p:nvPr/>
            </p:nvSpPr>
            <p:spPr>
              <a:xfrm rot="-5400000">
                <a:off x="-8976029" y="1162590"/>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1" name="Google Shape;11061;p43"/>
              <p:cNvSpPr/>
              <p:nvPr/>
            </p:nvSpPr>
            <p:spPr>
              <a:xfrm rot="-5400000">
                <a:off x="-8804428" y="2192284"/>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2" name="Google Shape;11062;p43"/>
              <p:cNvSpPr/>
              <p:nvPr/>
            </p:nvSpPr>
            <p:spPr>
              <a:xfrm rot="-5400000">
                <a:off x="-8804428" y="1849038"/>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3" name="Google Shape;11063;p43"/>
              <p:cNvSpPr/>
              <p:nvPr/>
            </p:nvSpPr>
            <p:spPr>
              <a:xfrm rot="-5400000">
                <a:off x="-8804341" y="1677437"/>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4" name="Google Shape;11064;p43"/>
              <p:cNvSpPr/>
              <p:nvPr/>
            </p:nvSpPr>
            <p:spPr>
              <a:xfrm rot="-5400000">
                <a:off x="-8804428" y="1334191"/>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5" name="Google Shape;11065;p43"/>
              <p:cNvSpPr/>
              <p:nvPr/>
            </p:nvSpPr>
            <p:spPr>
              <a:xfrm rot="-5400000">
                <a:off x="-8804428" y="1162546"/>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6" name="Google Shape;11066;p43"/>
              <p:cNvSpPr/>
              <p:nvPr/>
            </p:nvSpPr>
            <p:spPr>
              <a:xfrm rot="-5400000">
                <a:off x="-8804428" y="819301"/>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7" name="Google Shape;11067;p43"/>
              <p:cNvSpPr/>
              <p:nvPr/>
            </p:nvSpPr>
            <p:spPr>
              <a:xfrm rot="-5400000">
                <a:off x="-8632783" y="2192327"/>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8" name="Google Shape;11068;p43"/>
              <p:cNvSpPr/>
              <p:nvPr/>
            </p:nvSpPr>
            <p:spPr>
              <a:xfrm rot="-5400000">
                <a:off x="-8632827" y="2020639"/>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9" name="Google Shape;11069;p43"/>
              <p:cNvSpPr/>
              <p:nvPr/>
            </p:nvSpPr>
            <p:spPr>
              <a:xfrm rot="-5400000">
                <a:off x="-8632783" y="1849038"/>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0" name="Google Shape;11070;p43"/>
              <p:cNvSpPr/>
              <p:nvPr/>
            </p:nvSpPr>
            <p:spPr>
              <a:xfrm rot="-5400000">
                <a:off x="-8632783" y="1162546"/>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1" name="Google Shape;11071;p43"/>
              <p:cNvSpPr/>
              <p:nvPr/>
            </p:nvSpPr>
            <p:spPr>
              <a:xfrm rot="-5400000">
                <a:off x="-8632827" y="990902"/>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2" name="Google Shape;11072;p43"/>
              <p:cNvSpPr/>
              <p:nvPr/>
            </p:nvSpPr>
            <p:spPr>
              <a:xfrm rot="-5400000">
                <a:off x="-8632827" y="647657"/>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3" name="Google Shape;11073;p43"/>
              <p:cNvSpPr/>
              <p:nvPr/>
            </p:nvSpPr>
            <p:spPr>
              <a:xfrm rot="-5400000">
                <a:off x="-8461182" y="2192284"/>
                <a:ext cx="110842" cy="110842"/>
              </a:xfrm>
              <a:custGeom>
                <a:avLst/>
                <a:gdLst/>
                <a:ahLst/>
                <a:cxnLst/>
                <a:rect l="l" t="t" r="r" b="b"/>
                <a:pathLst>
                  <a:path w="110842" h="110842" extrusionOk="0">
                    <a:moveTo>
                      <a:pt x="6356" y="588"/>
                    </a:moveTo>
                    <a:lnTo>
                      <a:pt x="117199" y="588"/>
                    </a:lnTo>
                    <a:lnTo>
                      <a:pt x="117199"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4" name="Google Shape;11074;p43"/>
              <p:cNvSpPr/>
              <p:nvPr/>
            </p:nvSpPr>
            <p:spPr>
              <a:xfrm rot="-5400000">
                <a:off x="-8461182" y="1677437"/>
                <a:ext cx="110842" cy="110842"/>
              </a:xfrm>
              <a:custGeom>
                <a:avLst/>
                <a:gdLst/>
                <a:ahLst/>
                <a:cxnLst/>
                <a:rect l="l" t="t" r="r" b="b"/>
                <a:pathLst>
                  <a:path w="110842" h="110842" extrusionOk="0">
                    <a:moveTo>
                      <a:pt x="6356" y="588"/>
                    </a:moveTo>
                    <a:lnTo>
                      <a:pt x="117199" y="588"/>
                    </a:lnTo>
                    <a:lnTo>
                      <a:pt x="117199"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5" name="Google Shape;11075;p43"/>
              <p:cNvSpPr/>
              <p:nvPr/>
            </p:nvSpPr>
            <p:spPr>
              <a:xfrm rot="-5400000">
                <a:off x="-8461182" y="1334191"/>
                <a:ext cx="110842" cy="110842"/>
              </a:xfrm>
              <a:custGeom>
                <a:avLst/>
                <a:gdLst/>
                <a:ahLst/>
                <a:cxnLst/>
                <a:rect l="l" t="t" r="r" b="b"/>
                <a:pathLst>
                  <a:path w="110842" h="110842" extrusionOk="0">
                    <a:moveTo>
                      <a:pt x="6356" y="588"/>
                    </a:moveTo>
                    <a:lnTo>
                      <a:pt x="117199" y="588"/>
                    </a:lnTo>
                    <a:lnTo>
                      <a:pt x="117199"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6" name="Google Shape;11076;p43"/>
              <p:cNvSpPr/>
              <p:nvPr/>
            </p:nvSpPr>
            <p:spPr>
              <a:xfrm rot="-5400000">
                <a:off x="-8461052" y="1162546"/>
                <a:ext cx="110842" cy="110842"/>
              </a:xfrm>
              <a:custGeom>
                <a:avLst/>
                <a:gdLst/>
                <a:ahLst/>
                <a:cxnLst/>
                <a:rect l="l" t="t" r="r" b="b"/>
                <a:pathLst>
                  <a:path w="110842" h="110842" extrusionOk="0">
                    <a:moveTo>
                      <a:pt x="6356" y="588"/>
                    </a:moveTo>
                    <a:lnTo>
                      <a:pt x="117199" y="588"/>
                    </a:lnTo>
                    <a:lnTo>
                      <a:pt x="117199"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7" name="Google Shape;11077;p43"/>
              <p:cNvSpPr/>
              <p:nvPr/>
            </p:nvSpPr>
            <p:spPr>
              <a:xfrm rot="-5400000">
                <a:off x="-8289538" y="1849038"/>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8" name="Google Shape;11078;p43"/>
              <p:cNvSpPr/>
              <p:nvPr/>
            </p:nvSpPr>
            <p:spPr>
              <a:xfrm rot="-5400000">
                <a:off x="-8289581" y="1677393"/>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9" name="Google Shape;11079;p43"/>
              <p:cNvSpPr/>
              <p:nvPr/>
            </p:nvSpPr>
            <p:spPr>
              <a:xfrm rot="-5400000">
                <a:off x="-8289581" y="1334148"/>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0" name="Google Shape;11080;p43"/>
              <p:cNvSpPr/>
              <p:nvPr/>
            </p:nvSpPr>
            <p:spPr>
              <a:xfrm rot="-5400000">
                <a:off x="-8117936" y="2020682"/>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1" name="Google Shape;11081;p43"/>
              <p:cNvSpPr/>
              <p:nvPr/>
            </p:nvSpPr>
            <p:spPr>
              <a:xfrm rot="-5400000">
                <a:off x="-8117936" y="1334191"/>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2" name="Google Shape;11082;p43"/>
              <p:cNvSpPr/>
              <p:nvPr/>
            </p:nvSpPr>
            <p:spPr>
              <a:xfrm rot="-5400000">
                <a:off x="-7946292" y="2192284"/>
                <a:ext cx="110842" cy="110842"/>
              </a:xfrm>
              <a:custGeom>
                <a:avLst/>
                <a:gdLst/>
                <a:ahLst/>
                <a:cxnLst/>
                <a:rect l="l" t="t" r="r" b="b"/>
                <a:pathLst>
                  <a:path w="110842" h="110842" extrusionOk="0">
                    <a:moveTo>
                      <a:pt x="6356" y="588"/>
                    </a:moveTo>
                    <a:lnTo>
                      <a:pt x="117198" y="588"/>
                    </a:lnTo>
                    <a:lnTo>
                      <a:pt x="117198"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3" name="Google Shape;11083;p43"/>
              <p:cNvSpPr/>
              <p:nvPr/>
            </p:nvSpPr>
            <p:spPr>
              <a:xfrm rot="-5400000">
                <a:off x="-7946335" y="2020639"/>
                <a:ext cx="110842" cy="110842"/>
              </a:xfrm>
              <a:custGeom>
                <a:avLst/>
                <a:gdLst/>
                <a:ahLst/>
                <a:cxnLst/>
                <a:rect l="l" t="t" r="r" b="b"/>
                <a:pathLst>
                  <a:path w="110842" h="110842" extrusionOk="0">
                    <a:moveTo>
                      <a:pt x="6356" y="588"/>
                    </a:moveTo>
                    <a:lnTo>
                      <a:pt x="117198" y="588"/>
                    </a:lnTo>
                    <a:lnTo>
                      <a:pt x="117198"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4" name="Google Shape;11084;p43"/>
              <p:cNvSpPr/>
              <p:nvPr/>
            </p:nvSpPr>
            <p:spPr>
              <a:xfrm rot="-5400000">
                <a:off x="-7774691" y="2020682"/>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5" name="Google Shape;11085;p43"/>
              <p:cNvSpPr/>
              <p:nvPr/>
            </p:nvSpPr>
            <p:spPr>
              <a:xfrm rot="-5400000">
                <a:off x="-7774691" y="1505792"/>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6" name="Google Shape;11086;p43"/>
              <p:cNvSpPr/>
              <p:nvPr/>
            </p:nvSpPr>
            <p:spPr>
              <a:xfrm rot="-5400000">
                <a:off x="-7774691" y="1334191"/>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7" name="Google Shape;11087;p43"/>
              <p:cNvSpPr/>
              <p:nvPr/>
            </p:nvSpPr>
            <p:spPr>
              <a:xfrm rot="-5400000">
                <a:off x="-7774691" y="990945"/>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8" name="Google Shape;11088;p43"/>
              <p:cNvSpPr/>
              <p:nvPr/>
            </p:nvSpPr>
            <p:spPr>
              <a:xfrm rot="-5400000">
                <a:off x="-7602960" y="2192284"/>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9" name="Google Shape;11089;p43"/>
              <p:cNvSpPr/>
              <p:nvPr/>
            </p:nvSpPr>
            <p:spPr>
              <a:xfrm rot="-5400000">
                <a:off x="-7603090" y="2020639"/>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0" name="Google Shape;11090;p43"/>
              <p:cNvSpPr/>
              <p:nvPr/>
            </p:nvSpPr>
            <p:spPr>
              <a:xfrm rot="-5400000">
                <a:off x="-7431445" y="2020682"/>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1" name="Google Shape;11091;p43"/>
              <p:cNvSpPr/>
              <p:nvPr/>
            </p:nvSpPr>
            <p:spPr>
              <a:xfrm rot="-5400000">
                <a:off x="-7431445" y="1334191"/>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2" name="Google Shape;11092;p43"/>
              <p:cNvSpPr/>
              <p:nvPr/>
            </p:nvSpPr>
            <p:spPr>
              <a:xfrm rot="-5400000">
                <a:off x="-7431445" y="1162546"/>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3" name="Google Shape;11093;p43"/>
              <p:cNvSpPr/>
              <p:nvPr/>
            </p:nvSpPr>
            <p:spPr>
              <a:xfrm rot="-5400000">
                <a:off x="-7259801" y="2192284"/>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4" name="Google Shape;11094;p43"/>
              <p:cNvSpPr/>
              <p:nvPr/>
            </p:nvSpPr>
            <p:spPr>
              <a:xfrm rot="-5400000">
                <a:off x="-7088199" y="2192284"/>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5" name="Google Shape;11095;p43"/>
              <p:cNvSpPr/>
              <p:nvPr/>
            </p:nvSpPr>
            <p:spPr>
              <a:xfrm rot="-5400000">
                <a:off x="-7088199" y="2020682"/>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6" name="Google Shape;11096;p43"/>
              <p:cNvSpPr/>
              <p:nvPr/>
            </p:nvSpPr>
            <p:spPr>
              <a:xfrm rot="-5400000">
                <a:off x="-7088199" y="1849038"/>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7" name="Google Shape;11097;p43"/>
              <p:cNvSpPr/>
              <p:nvPr/>
            </p:nvSpPr>
            <p:spPr>
              <a:xfrm rot="-5400000">
                <a:off x="-7088199" y="1677437"/>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8" name="Google Shape;11098;p43"/>
              <p:cNvSpPr/>
              <p:nvPr/>
            </p:nvSpPr>
            <p:spPr>
              <a:xfrm rot="-5400000">
                <a:off x="-7088199" y="1505792"/>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9" name="Google Shape;11099;p43"/>
              <p:cNvSpPr/>
              <p:nvPr/>
            </p:nvSpPr>
            <p:spPr>
              <a:xfrm rot="-5400000">
                <a:off x="-6916555" y="1849038"/>
                <a:ext cx="110842" cy="110842"/>
              </a:xfrm>
              <a:custGeom>
                <a:avLst/>
                <a:gdLst/>
                <a:ahLst/>
                <a:cxnLst/>
                <a:rect l="l" t="t" r="r" b="b"/>
                <a:pathLst>
                  <a:path w="110842" h="110842" extrusionOk="0">
                    <a:moveTo>
                      <a:pt x="6356" y="588"/>
                    </a:moveTo>
                    <a:lnTo>
                      <a:pt x="117198" y="588"/>
                    </a:lnTo>
                    <a:lnTo>
                      <a:pt x="117198"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00" name="Google Shape;11100;p43"/>
              <p:cNvSpPr/>
              <p:nvPr/>
            </p:nvSpPr>
            <p:spPr>
              <a:xfrm rot="-5400000">
                <a:off x="-6744954" y="1849038"/>
                <a:ext cx="110842" cy="110842"/>
              </a:xfrm>
              <a:custGeom>
                <a:avLst/>
                <a:gdLst/>
                <a:ahLst/>
                <a:cxnLst/>
                <a:rect l="l" t="t" r="r" b="b"/>
                <a:pathLst>
                  <a:path w="110842" h="110842" extrusionOk="0">
                    <a:moveTo>
                      <a:pt x="6356" y="588"/>
                    </a:moveTo>
                    <a:lnTo>
                      <a:pt x="117198" y="588"/>
                    </a:lnTo>
                    <a:lnTo>
                      <a:pt x="117198"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01" name="Google Shape;11101;p43"/>
              <p:cNvSpPr/>
              <p:nvPr/>
            </p:nvSpPr>
            <p:spPr>
              <a:xfrm rot="-5400000">
                <a:off x="-6401708" y="2020682"/>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cxnSp>
        <p:nvCxnSpPr>
          <p:cNvPr id="11102" name="Google Shape;11102;p43"/>
          <p:cNvCxnSpPr/>
          <p:nvPr/>
        </p:nvCxnSpPr>
        <p:spPr>
          <a:xfrm>
            <a:off x="8054340" y="2437708"/>
            <a:ext cx="3403835" cy="0"/>
          </a:xfrm>
          <a:prstGeom prst="straightConnector1">
            <a:avLst/>
          </a:prstGeom>
          <a:noFill/>
          <a:ln w="9525" cap="flat" cmpd="sng">
            <a:solidFill>
              <a:schemeClr val="lt1"/>
            </a:solidFill>
            <a:prstDash val="solid"/>
            <a:miter lim="800000"/>
            <a:headEnd type="none" w="sm" len="sm"/>
            <a:tailEnd type="none" w="sm" len="sm"/>
          </a:ln>
        </p:spPr>
      </p:cxnSp>
      <p:grpSp>
        <p:nvGrpSpPr>
          <p:cNvPr id="11103" name="Google Shape;11103;p43"/>
          <p:cNvGrpSpPr/>
          <p:nvPr/>
        </p:nvGrpSpPr>
        <p:grpSpPr>
          <a:xfrm>
            <a:off x="4198938" y="1196975"/>
            <a:ext cx="3767138" cy="5106354"/>
            <a:chOff x="4198938" y="1196975"/>
            <a:chExt cx="3767138" cy="5106354"/>
          </a:xfrm>
        </p:grpSpPr>
        <p:sp>
          <p:nvSpPr>
            <p:cNvPr id="11104" name="Google Shape;11104;p43"/>
            <p:cNvSpPr/>
            <p:nvPr/>
          </p:nvSpPr>
          <p:spPr>
            <a:xfrm>
              <a:off x="4198938" y="1196975"/>
              <a:ext cx="3767138" cy="5106354"/>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11105" name="Google Shape;11105;p43"/>
            <p:cNvGrpSpPr/>
            <p:nvPr/>
          </p:nvGrpSpPr>
          <p:grpSpPr>
            <a:xfrm>
              <a:off x="4284794" y="5000625"/>
              <a:ext cx="3495615" cy="1234751"/>
              <a:chOff x="-9147673" y="3421624"/>
              <a:chExt cx="3714943" cy="1312224"/>
            </a:xfrm>
          </p:grpSpPr>
          <p:sp>
            <p:nvSpPr>
              <p:cNvPr id="11106" name="Google Shape;11106;p43"/>
              <p:cNvSpPr/>
              <p:nvPr/>
            </p:nvSpPr>
            <p:spPr>
              <a:xfrm rot="-5400000">
                <a:off x="-8976029" y="4622963"/>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07" name="Google Shape;11107;p43"/>
              <p:cNvSpPr/>
              <p:nvPr/>
            </p:nvSpPr>
            <p:spPr>
              <a:xfrm rot="-5400000">
                <a:off x="-8976072" y="4451318"/>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08" name="Google Shape;11108;p43"/>
              <p:cNvSpPr/>
              <p:nvPr/>
            </p:nvSpPr>
            <p:spPr>
              <a:xfrm rot="-5400000">
                <a:off x="-8976029" y="4279717"/>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09" name="Google Shape;11109;p43"/>
              <p:cNvSpPr/>
              <p:nvPr/>
            </p:nvSpPr>
            <p:spPr>
              <a:xfrm rot="-5400000">
                <a:off x="-8976072" y="3764827"/>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0" name="Google Shape;11110;p43"/>
              <p:cNvSpPr/>
              <p:nvPr/>
            </p:nvSpPr>
            <p:spPr>
              <a:xfrm rot="-5400000">
                <a:off x="-8976072" y="3421624"/>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1" name="Google Shape;11111;p43"/>
              <p:cNvSpPr/>
              <p:nvPr/>
            </p:nvSpPr>
            <p:spPr>
              <a:xfrm>
                <a:off x="-8804428"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2" name="Google Shape;11112;p43"/>
              <p:cNvSpPr/>
              <p:nvPr/>
            </p:nvSpPr>
            <p:spPr>
              <a:xfrm>
                <a:off x="-8632783"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3" name="Google Shape;11113;p43"/>
              <p:cNvSpPr/>
              <p:nvPr/>
            </p:nvSpPr>
            <p:spPr>
              <a:xfrm>
                <a:off x="-8461182"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4" name="Google Shape;11114;p43"/>
              <p:cNvSpPr/>
              <p:nvPr/>
            </p:nvSpPr>
            <p:spPr>
              <a:xfrm>
                <a:off x="-8289538"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5" name="Google Shape;11115;p43"/>
              <p:cNvSpPr/>
              <p:nvPr/>
            </p:nvSpPr>
            <p:spPr>
              <a:xfrm>
                <a:off x="-8117936"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6" name="Google Shape;11116;p43"/>
              <p:cNvSpPr/>
              <p:nvPr/>
            </p:nvSpPr>
            <p:spPr>
              <a:xfrm>
                <a:off x="-7946292"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7" name="Google Shape;11117;p43"/>
              <p:cNvSpPr/>
              <p:nvPr/>
            </p:nvSpPr>
            <p:spPr>
              <a:xfrm>
                <a:off x="-7774691"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8" name="Google Shape;11118;p43"/>
              <p:cNvSpPr/>
              <p:nvPr/>
            </p:nvSpPr>
            <p:spPr>
              <a:xfrm>
                <a:off x="-7603046"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9" name="Google Shape;11119;p43"/>
              <p:cNvSpPr/>
              <p:nvPr/>
            </p:nvSpPr>
            <p:spPr>
              <a:xfrm>
                <a:off x="-8804428"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0" name="Google Shape;11120;p43"/>
              <p:cNvSpPr/>
              <p:nvPr/>
            </p:nvSpPr>
            <p:spPr>
              <a:xfrm>
                <a:off x="-8632783"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1" name="Google Shape;11121;p43"/>
              <p:cNvSpPr/>
              <p:nvPr/>
            </p:nvSpPr>
            <p:spPr>
              <a:xfrm>
                <a:off x="-8461182"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2" name="Google Shape;11122;p43"/>
              <p:cNvSpPr/>
              <p:nvPr/>
            </p:nvSpPr>
            <p:spPr>
              <a:xfrm>
                <a:off x="-8117936"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3" name="Google Shape;11123;p43"/>
              <p:cNvSpPr/>
              <p:nvPr/>
            </p:nvSpPr>
            <p:spPr>
              <a:xfrm>
                <a:off x="-7774691"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4" name="Google Shape;11124;p43"/>
              <p:cNvSpPr/>
              <p:nvPr/>
            </p:nvSpPr>
            <p:spPr>
              <a:xfrm>
                <a:off x="-7603046"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5" name="Google Shape;11125;p43"/>
              <p:cNvSpPr/>
              <p:nvPr/>
            </p:nvSpPr>
            <p:spPr>
              <a:xfrm>
                <a:off x="-7431445"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6" name="Google Shape;11126;p43"/>
              <p:cNvSpPr/>
              <p:nvPr/>
            </p:nvSpPr>
            <p:spPr>
              <a:xfrm>
                <a:off x="-8804428"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7" name="Google Shape;11127;p43"/>
              <p:cNvSpPr/>
              <p:nvPr/>
            </p:nvSpPr>
            <p:spPr>
              <a:xfrm>
                <a:off x="-8632783"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8" name="Google Shape;11128;p43"/>
              <p:cNvSpPr/>
              <p:nvPr/>
            </p:nvSpPr>
            <p:spPr>
              <a:xfrm>
                <a:off x="-8289538"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9" name="Google Shape;11129;p43"/>
              <p:cNvSpPr/>
              <p:nvPr/>
            </p:nvSpPr>
            <p:spPr>
              <a:xfrm>
                <a:off x="-8804428"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0" name="Google Shape;11130;p43"/>
              <p:cNvSpPr/>
              <p:nvPr/>
            </p:nvSpPr>
            <p:spPr>
              <a:xfrm>
                <a:off x="-8632783"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1" name="Google Shape;11131;p43"/>
              <p:cNvSpPr/>
              <p:nvPr/>
            </p:nvSpPr>
            <p:spPr>
              <a:xfrm>
                <a:off x="-8289538"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2" name="Google Shape;11132;p43"/>
              <p:cNvSpPr/>
              <p:nvPr/>
            </p:nvSpPr>
            <p:spPr>
              <a:xfrm>
                <a:off x="-8632783" y="393651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3" name="Google Shape;11133;p43"/>
              <p:cNvSpPr/>
              <p:nvPr/>
            </p:nvSpPr>
            <p:spPr>
              <a:xfrm>
                <a:off x="-8632783" y="376487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4" name="Google Shape;11134;p43"/>
              <p:cNvSpPr/>
              <p:nvPr/>
            </p:nvSpPr>
            <p:spPr>
              <a:xfrm>
                <a:off x="-8461182" y="376487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5" name="Google Shape;11135;p43"/>
              <p:cNvSpPr/>
              <p:nvPr/>
            </p:nvSpPr>
            <p:spPr>
              <a:xfrm>
                <a:off x="-8289538" y="376487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6" name="Google Shape;11136;p43"/>
              <p:cNvSpPr/>
              <p:nvPr/>
            </p:nvSpPr>
            <p:spPr>
              <a:xfrm>
                <a:off x="-8289538" y="342162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7" name="Google Shape;11137;p43"/>
              <p:cNvSpPr/>
              <p:nvPr/>
            </p:nvSpPr>
            <p:spPr>
              <a:xfrm>
                <a:off x="-9147673"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8" name="Google Shape;11138;p43"/>
              <p:cNvSpPr/>
              <p:nvPr/>
            </p:nvSpPr>
            <p:spPr>
              <a:xfrm>
                <a:off x="-9147673"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9" name="Google Shape;11139;p43"/>
              <p:cNvSpPr/>
              <p:nvPr/>
            </p:nvSpPr>
            <p:spPr>
              <a:xfrm>
                <a:off x="-9147673"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0" name="Google Shape;11140;p43"/>
              <p:cNvSpPr/>
              <p:nvPr/>
            </p:nvSpPr>
            <p:spPr>
              <a:xfrm>
                <a:off x="-9147673"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1" name="Google Shape;11141;p43"/>
              <p:cNvSpPr/>
              <p:nvPr/>
            </p:nvSpPr>
            <p:spPr>
              <a:xfrm>
                <a:off x="-9147673" y="393651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2" name="Google Shape;11142;p43"/>
              <p:cNvSpPr/>
              <p:nvPr/>
            </p:nvSpPr>
            <p:spPr>
              <a:xfrm rot="-5400000">
                <a:off x="-6916555" y="4622963"/>
                <a:ext cx="110842" cy="110842"/>
              </a:xfrm>
              <a:custGeom>
                <a:avLst/>
                <a:gdLst/>
                <a:ahLst/>
                <a:cxnLst/>
                <a:rect l="l" t="t" r="r" b="b"/>
                <a:pathLst>
                  <a:path w="110842" h="110842" extrusionOk="0">
                    <a:moveTo>
                      <a:pt x="6356" y="588"/>
                    </a:moveTo>
                    <a:lnTo>
                      <a:pt x="117198" y="588"/>
                    </a:lnTo>
                    <a:lnTo>
                      <a:pt x="117198" y="111431"/>
                    </a:lnTo>
                    <a:lnTo>
                      <a:pt x="6356"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3" name="Google Shape;11143;p43"/>
              <p:cNvSpPr/>
              <p:nvPr/>
            </p:nvSpPr>
            <p:spPr>
              <a:xfrm>
                <a:off x="-6744954"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4" name="Google Shape;11144;p43"/>
              <p:cNvSpPr/>
              <p:nvPr/>
            </p:nvSpPr>
            <p:spPr>
              <a:xfrm>
                <a:off x="-6573309"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5" name="Google Shape;11145;p43"/>
              <p:cNvSpPr/>
              <p:nvPr/>
            </p:nvSpPr>
            <p:spPr>
              <a:xfrm>
                <a:off x="-6401708"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6" name="Google Shape;11146;p43"/>
              <p:cNvSpPr/>
              <p:nvPr/>
            </p:nvSpPr>
            <p:spPr>
              <a:xfrm>
                <a:off x="-6230064"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7" name="Google Shape;11147;p43"/>
              <p:cNvSpPr/>
              <p:nvPr/>
            </p:nvSpPr>
            <p:spPr>
              <a:xfrm>
                <a:off x="-6058462"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8" name="Google Shape;11148;p43"/>
              <p:cNvSpPr/>
              <p:nvPr/>
            </p:nvSpPr>
            <p:spPr>
              <a:xfrm>
                <a:off x="-5886818"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9" name="Google Shape;11149;p43"/>
              <p:cNvSpPr/>
              <p:nvPr/>
            </p:nvSpPr>
            <p:spPr>
              <a:xfrm>
                <a:off x="-5543572"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0" name="Google Shape;11150;p43"/>
              <p:cNvSpPr/>
              <p:nvPr/>
            </p:nvSpPr>
            <p:spPr>
              <a:xfrm>
                <a:off x="-6744954"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1" name="Google Shape;11151;p43"/>
              <p:cNvSpPr/>
              <p:nvPr/>
            </p:nvSpPr>
            <p:spPr>
              <a:xfrm>
                <a:off x="-6401708"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2" name="Google Shape;11152;p43"/>
              <p:cNvSpPr/>
              <p:nvPr/>
            </p:nvSpPr>
            <p:spPr>
              <a:xfrm>
                <a:off x="-6573309"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3" name="Google Shape;11153;p43"/>
              <p:cNvSpPr/>
              <p:nvPr/>
            </p:nvSpPr>
            <p:spPr>
              <a:xfrm>
                <a:off x="-7259801"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4" name="Google Shape;11154;p43"/>
              <p:cNvSpPr/>
              <p:nvPr/>
            </p:nvSpPr>
            <p:spPr>
              <a:xfrm>
                <a:off x="-7088199"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5" name="Google Shape;11155;p43"/>
              <p:cNvSpPr/>
              <p:nvPr/>
            </p:nvSpPr>
            <p:spPr>
              <a:xfrm>
                <a:off x="-7088199"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6" name="Google Shape;11156;p43"/>
              <p:cNvSpPr/>
              <p:nvPr/>
            </p:nvSpPr>
            <p:spPr>
              <a:xfrm>
                <a:off x="-7088199"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7" name="Google Shape;11157;p43"/>
              <p:cNvSpPr/>
              <p:nvPr/>
            </p:nvSpPr>
            <p:spPr>
              <a:xfrm>
                <a:off x="-7259801"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8" name="Google Shape;11158;p43"/>
              <p:cNvSpPr/>
              <p:nvPr/>
            </p:nvSpPr>
            <p:spPr>
              <a:xfrm>
                <a:off x="-7774691"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9" name="Google Shape;11159;p43"/>
              <p:cNvSpPr/>
              <p:nvPr/>
            </p:nvSpPr>
            <p:spPr>
              <a:xfrm>
                <a:off x="-7774691" y="393651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60" name="Google Shape;11160;p43"/>
              <p:cNvSpPr/>
              <p:nvPr/>
            </p:nvSpPr>
            <p:spPr>
              <a:xfrm>
                <a:off x="-7088199" y="393651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61" name="Google Shape;11161;p43"/>
              <p:cNvSpPr/>
              <p:nvPr/>
            </p:nvSpPr>
            <p:spPr>
              <a:xfrm>
                <a:off x="-9147673" y="376487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cxnSp>
        <p:nvCxnSpPr>
          <p:cNvPr id="11162" name="Google Shape;11162;p43"/>
          <p:cNvCxnSpPr/>
          <p:nvPr/>
        </p:nvCxnSpPr>
        <p:spPr>
          <a:xfrm>
            <a:off x="4199860" y="2437708"/>
            <a:ext cx="3351811" cy="0"/>
          </a:xfrm>
          <a:prstGeom prst="straightConnector1">
            <a:avLst/>
          </a:prstGeom>
          <a:noFill/>
          <a:ln w="9525" cap="flat" cmpd="sng">
            <a:solidFill>
              <a:schemeClr val="accent1"/>
            </a:solidFill>
            <a:prstDash val="solid"/>
            <a:miter lim="800000"/>
            <a:headEnd type="none" w="sm" len="sm"/>
            <a:tailEnd type="none" w="sm" len="sm"/>
          </a:ln>
        </p:spPr>
      </p:cxnSp>
      <p:grpSp>
        <p:nvGrpSpPr>
          <p:cNvPr id="11163" name="Google Shape;11163;p43"/>
          <p:cNvGrpSpPr/>
          <p:nvPr/>
        </p:nvGrpSpPr>
        <p:grpSpPr>
          <a:xfrm>
            <a:off x="334963" y="1196976"/>
            <a:ext cx="3767138" cy="5106354"/>
            <a:chOff x="334963" y="1196976"/>
            <a:chExt cx="3767138" cy="5106354"/>
          </a:xfrm>
        </p:grpSpPr>
        <p:sp>
          <p:nvSpPr>
            <p:cNvPr id="11164" name="Google Shape;11164;p43"/>
            <p:cNvSpPr/>
            <p:nvPr/>
          </p:nvSpPr>
          <p:spPr>
            <a:xfrm>
              <a:off x="334963" y="1196976"/>
              <a:ext cx="3767138" cy="5106354"/>
            </a:xfrm>
            <a:prstGeom prst="rect">
              <a:avLst/>
            </a:prstGeom>
            <a:solidFill>
              <a:srgbClr val="AACD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11165" name="Google Shape;11165;p43"/>
            <p:cNvGrpSpPr/>
            <p:nvPr/>
          </p:nvGrpSpPr>
          <p:grpSpPr>
            <a:xfrm>
              <a:off x="407936" y="4516175"/>
              <a:ext cx="3657125" cy="1719201"/>
              <a:chOff x="-9142315" y="5680184"/>
              <a:chExt cx="3886588" cy="1827070"/>
            </a:xfrm>
          </p:grpSpPr>
          <p:sp>
            <p:nvSpPr>
              <p:cNvPr id="11166" name="Google Shape;11166;p43"/>
              <p:cNvSpPr/>
              <p:nvPr/>
            </p:nvSpPr>
            <p:spPr>
              <a:xfrm rot="-5400000">
                <a:off x="-6053104" y="6709878"/>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67" name="Google Shape;11167;p43"/>
              <p:cNvSpPr/>
              <p:nvPr/>
            </p:nvSpPr>
            <p:spPr>
              <a:xfrm rot="-5400000">
                <a:off x="-6053061" y="6538276"/>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68" name="Google Shape;11168;p43"/>
              <p:cNvSpPr/>
              <p:nvPr/>
            </p:nvSpPr>
            <p:spPr>
              <a:xfrm>
                <a:off x="-5366569"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69" name="Google Shape;11169;p43"/>
              <p:cNvSpPr/>
              <p:nvPr/>
            </p:nvSpPr>
            <p:spPr>
              <a:xfrm>
                <a:off x="-5538214"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0" name="Google Shape;11170;p43"/>
              <p:cNvSpPr/>
              <p:nvPr/>
            </p:nvSpPr>
            <p:spPr>
              <a:xfrm>
                <a:off x="-9142272"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1" name="Google Shape;11171;p43"/>
              <p:cNvSpPr/>
              <p:nvPr/>
            </p:nvSpPr>
            <p:spPr>
              <a:xfrm>
                <a:off x="-8970671"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2" name="Google Shape;11172;p43"/>
              <p:cNvSpPr/>
              <p:nvPr/>
            </p:nvSpPr>
            <p:spPr>
              <a:xfrm>
                <a:off x="-8799026"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3" name="Google Shape;11173;p43"/>
              <p:cNvSpPr/>
              <p:nvPr/>
            </p:nvSpPr>
            <p:spPr>
              <a:xfrm>
                <a:off x="-8627425"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4" name="Google Shape;11174;p43"/>
              <p:cNvSpPr/>
              <p:nvPr/>
            </p:nvSpPr>
            <p:spPr>
              <a:xfrm>
                <a:off x="-8455780"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5" name="Google Shape;11175;p43"/>
              <p:cNvSpPr/>
              <p:nvPr/>
            </p:nvSpPr>
            <p:spPr>
              <a:xfrm>
                <a:off x="-8284179"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6" name="Google Shape;11176;p43"/>
              <p:cNvSpPr/>
              <p:nvPr/>
            </p:nvSpPr>
            <p:spPr>
              <a:xfrm>
                <a:off x="-8112535"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7" name="Google Shape;11177;p43"/>
              <p:cNvSpPr/>
              <p:nvPr/>
            </p:nvSpPr>
            <p:spPr>
              <a:xfrm>
                <a:off x="-7940934"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8" name="Google Shape;11178;p43"/>
              <p:cNvSpPr/>
              <p:nvPr/>
            </p:nvSpPr>
            <p:spPr>
              <a:xfrm>
                <a:off x="-7769289"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9" name="Google Shape;11179;p43"/>
              <p:cNvSpPr/>
              <p:nvPr/>
            </p:nvSpPr>
            <p:spPr>
              <a:xfrm>
                <a:off x="-7597688"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0" name="Google Shape;11180;p43"/>
              <p:cNvSpPr/>
              <p:nvPr/>
            </p:nvSpPr>
            <p:spPr>
              <a:xfrm>
                <a:off x="-7426043"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1" name="Google Shape;11181;p43"/>
              <p:cNvSpPr/>
              <p:nvPr/>
            </p:nvSpPr>
            <p:spPr>
              <a:xfrm>
                <a:off x="-7254442"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2" name="Google Shape;11182;p43"/>
              <p:cNvSpPr/>
              <p:nvPr/>
            </p:nvSpPr>
            <p:spPr>
              <a:xfrm>
                <a:off x="-7082798"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3" name="Google Shape;11183;p43"/>
              <p:cNvSpPr/>
              <p:nvPr/>
            </p:nvSpPr>
            <p:spPr>
              <a:xfrm>
                <a:off x="-6911196"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4" name="Google Shape;11184;p43"/>
              <p:cNvSpPr/>
              <p:nvPr/>
            </p:nvSpPr>
            <p:spPr>
              <a:xfrm>
                <a:off x="-6396306"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5" name="Google Shape;11185;p43"/>
              <p:cNvSpPr/>
              <p:nvPr/>
            </p:nvSpPr>
            <p:spPr>
              <a:xfrm>
                <a:off x="-9142272"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6" name="Google Shape;11186;p43"/>
              <p:cNvSpPr/>
              <p:nvPr/>
            </p:nvSpPr>
            <p:spPr>
              <a:xfrm>
                <a:off x="-8970671"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7" name="Google Shape;11187;p43"/>
              <p:cNvSpPr/>
              <p:nvPr/>
            </p:nvSpPr>
            <p:spPr>
              <a:xfrm>
                <a:off x="-8799026"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8" name="Google Shape;11188;p43"/>
              <p:cNvSpPr/>
              <p:nvPr/>
            </p:nvSpPr>
            <p:spPr>
              <a:xfrm>
                <a:off x="-8627425"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9" name="Google Shape;11189;p43"/>
              <p:cNvSpPr/>
              <p:nvPr/>
            </p:nvSpPr>
            <p:spPr>
              <a:xfrm>
                <a:off x="-8455780"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0" name="Google Shape;11190;p43"/>
              <p:cNvSpPr/>
              <p:nvPr/>
            </p:nvSpPr>
            <p:spPr>
              <a:xfrm>
                <a:off x="-8284179"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1" name="Google Shape;11191;p43"/>
              <p:cNvSpPr/>
              <p:nvPr/>
            </p:nvSpPr>
            <p:spPr>
              <a:xfrm>
                <a:off x="-8112535"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2" name="Google Shape;11192;p43"/>
              <p:cNvSpPr/>
              <p:nvPr/>
            </p:nvSpPr>
            <p:spPr>
              <a:xfrm>
                <a:off x="-7940934"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3" name="Google Shape;11193;p43"/>
              <p:cNvSpPr/>
              <p:nvPr/>
            </p:nvSpPr>
            <p:spPr>
              <a:xfrm>
                <a:off x="-7769289"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4" name="Google Shape;11194;p43"/>
              <p:cNvSpPr/>
              <p:nvPr/>
            </p:nvSpPr>
            <p:spPr>
              <a:xfrm>
                <a:off x="-7597688"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5" name="Google Shape;11195;p43"/>
              <p:cNvSpPr/>
              <p:nvPr/>
            </p:nvSpPr>
            <p:spPr>
              <a:xfrm>
                <a:off x="-7426043"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6" name="Google Shape;11196;p43"/>
              <p:cNvSpPr/>
              <p:nvPr/>
            </p:nvSpPr>
            <p:spPr>
              <a:xfrm>
                <a:off x="-7254442"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7" name="Google Shape;11197;p43"/>
              <p:cNvSpPr/>
              <p:nvPr/>
            </p:nvSpPr>
            <p:spPr>
              <a:xfrm>
                <a:off x="-7082798"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8" name="Google Shape;11198;p43"/>
              <p:cNvSpPr/>
              <p:nvPr/>
            </p:nvSpPr>
            <p:spPr>
              <a:xfrm>
                <a:off x="-6911196"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9" name="Google Shape;11199;p43"/>
              <p:cNvSpPr/>
              <p:nvPr/>
            </p:nvSpPr>
            <p:spPr>
              <a:xfrm>
                <a:off x="-6739552"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0" name="Google Shape;11200;p43"/>
              <p:cNvSpPr/>
              <p:nvPr/>
            </p:nvSpPr>
            <p:spPr>
              <a:xfrm>
                <a:off x="-6567951"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1" name="Google Shape;11201;p43"/>
              <p:cNvSpPr/>
              <p:nvPr/>
            </p:nvSpPr>
            <p:spPr>
              <a:xfrm>
                <a:off x="-6396306"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2" name="Google Shape;11202;p43"/>
              <p:cNvSpPr/>
              <p:nvPr/>
            </p:nvSpPr>
            <p:spPr>
              <a:xfrm>
                <a:off x="-6224705"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3" name="Google Shape;11203;p43"/>
              <p:cNvSpPr/>
              <p:nvPr/>
            </p:nvSpPr>
            <p:spPr>
              <a:xfrm>
                <a:off x="-9142272"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4" name="Google Shape;11204;p43"/>
              <p:cNvSpPr/>
              <p:nvPr/>
            </p:nvSpPr>
            <p:spPr>
              <a:xfrm>
                <a:off x="-8970671"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5" name="Google Shape;11205;p43"/>
              <p:cNvSpPr/>
              <p:nvPr/>
            </p:nvSpPr>
            <p:spPr>
              <a:xfrm>
                <a:off x="-8799026"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6" name="Google Shape;11206;p43"/>
              <p:cNvSpPr/>
              <p:nvPr/>
            </p:nvSpPr>
            <p:spPr>
              <a:xfrm>
                <a:off x="-8627425"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7" name="Google Shape;11207;p43"/>
              <p:cNvSpPr/>
              <p:nvPr/>
            </p:nvSpPr>
            <p:spPr>
              <a:xfrm>
                <a:off x="-8455780"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8" name="Google Shape;11208;p43"/>
              <p:cNvSpPr/>
              <p:nvPr/>
            </p:nvSpPr>
            <p:spPr>
              <a:xfrm>
                <a:off x="-8284179"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9" name="Google Shape;11209;p43"/>
              <p:cNvSpPr/>
              <p:nvPr/>
            </p:nvSpPr>
            <p:spPr>
              <a:xfrm>
                <a:off x="-8112535"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0" name="Google Shape;11210;p43"/>
              <p:cNvSpPr/>
              <p:nvPr/>
            </p:nvSpPr>
            <p:spPr>
              <a:xfrm>
                <a:off x="-7940934"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1" name="Google Shape;11211;p43"/>
              <p:cNvSpPr/>
              <p:nvPr/>
            </p:nvSpPr>
            <p:spPr>
              <a:xfrm>
                <a:off x="-7769289"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2" name="Google Shape;11212;p43"/>
              <p:cNvSpPr/>
              <p:nvPr/>
            </p:nvSpPr>
            <p:spPr>
              <a:xfrm>
                <a:off x="-7426043"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3" name="Google Shape;11213;p43"/>
              <p:cNvSpPr/>
              <p:nvPr/>
            </p:nvSpPr>
            <p:spPr>
              <a:xfrm>
                <a:off x="-6567951"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4" name="Google Shape;11214;p43"/>
              <p:cNvSpPr/>
              <p:nvPr/>
            </p:nvSpPr>
            <p:spPr>
              <a:xfrm>
                <a:off x="-6224705"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5" name="Google Shape;11215;p43"/>
              <p:cNvSpPr/>
              <p:nvPr/>
            </p:nvSpPr>
            <p:spPr>
              <a:xfrm>
                <a:off x="-9142272"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6" name="Google Shape;11216;p43"/>
              <p:cNvSpPr/>
              <p:nvPr/>
            </p:nvSpPr>
            <p:spPr>
              <a:xfrm>
                <a:off x="-8970671"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7" name="Google Shape;11217;p43"/>
              <p:cNvSpPr/>
              <p:nvPr/>
            </p:nvSpPr>
            <p:spPr>
              <a:xfrm>
                <a:off x="-8799026"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8" name="Google Shape;11218;p43"/>
              <p:cNvSpPr/>
              <p:nvPr/>
            </p:nvSpPr>
            <p:spPr>
              <a:xfrm>
                <a:off x="-8455780"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9" name="Google Shape;11219;p43"/>
              <p:cNvSpPr/>
              <p:nvPr/>
            </p:nvSpPr>
            <p:spPr>
              <a:xfrm>
                <a:off x="-8284179"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0" name="Google Shape;11220;p43"/>
              <p:cNvSpPr/>
              <p:nvPr/>
            </p:nvSpPr>
            <p:spPr>
              <a:xfrm>
                <a:off x="-7940934"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1" name="Google Shape;11221;p43"/>
              <p:cNvSpPr/>
              <p:nvPr/>
            </p:nvSpPr>
            <p:spPr>
              <a:xfrm>
                <a:off x="-7769289"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2" name="Google Shape;11222;p43"/>
              <p:cNvSpPr/>
              <p:nvPr/>
            </p:nvSpPr>
            <p:spPr>
              <a:xfrm>
                <a:off x="-7082798"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3" name="Google Shape;11223;p43"/>
              <p:cNvSpPr/>
              <p:nvPr/>
            </p:nvSpPr>
            <p:spPr>
              <a:xfrm>
                <a:off x="-6739552"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4" name="Google Shape;11224;p43"/>
              <p:cNvSpPr/>
              <p:nvPr/>
            </p:nvSpPr>
            <p:spPr>
              <a:xfrm>
                <a:off x="-9142272"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5" name="Google Shape;11225;p43"/>
              <p:cNvSpPr/>
              <p:nvPr/>
            </p:nvSpPr>
            <p:spPr>
              <a:xfrm>
                <a:off x="-8970671"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6" name="Google Shape;11226;p43"/>
              <p:cNvSpPr/>
              <p:nvPr/>
            </p:nvSpPr>
            <p:spPr>
              <a:xfrm>
                <a:off x="-8799026"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7" name="Google Shape;11227;p43"/>
              <p:cNvSpPr/>
              <p:nvPr/>
            </p:nvSpPr>
            <p:spPr>
              <a:xfrm>
                <a:off x="-8627425"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8" name="Google Shape;11228;p43"/>
              <p:cNvSpPr/>
              <p:nvPr/>
            </p:nvSpPr>
            <p:spPr>
              <a:xfrm>
                <a:off x="-8455780"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9" name="Google Shape;11229;p43"/>
              <p:cNvSpPr/>
              <p:nvPr/>
            </p:nvSpPr>
            <p:spPr>
              <a:xfrm>
                <a:off x="-8284179"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0" name="Google Shape;11230;p43"/>
              <p:cNvSpPr/>
              <p:nvPr/>
            </p:nvSpPr>
            <p:spPr>
              <a:xfrm>
                <a:off x="-8112535"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1" name="Google Shape;11231;p43"/>
              <p:cNvSpPr/>
              <p:nvPr/>
            </p:nvSpPr>
            <p:spPr>
              <a:xfrm>
                <a:off x="-7940934"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2" name="Google Shape;11232;p43"/>
              <p:cNvSpPr/>
              <p:nvPr/>
            </p:nvSpPr>
            <p:spPr>
              <a:xfrm>
                <a:off x="-7597688"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3" name="Google Shape;11233;p43"/>
              <p:cNvSpPr/>
              <p:nvPr/>
            </p:nvSpPr>
            <p:spPr>
              <a:xfrm>
                <a:off x="-6567951"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4" name="Google Shape;11234;p43"/>
              <p:cNvSpPr/>
              <p:nvPr/>
            </p:nvSpPr>
            <p:spPr>
              <a:xfrm>
                <a:off x="-9142272"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5" name="Google Shape;11235;p43"/>
              <p:cNvSpPr/>
              <p:nvPr/>
            </p:nvSpPr>
            <p:spPr>
              <a:xfrm>
                <a:off x="-8970671"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6" name="Google Shape;11236;p43"/>
              <p:cNvSpPr/>
              <p:nvPr/>
            </p:nvSpPr>
            <p:spPr>
              <a:xfrm>
                <a:off x="-8799026"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7" name="Google Shape;11237;p43"/>
              <p:cNvSpPr/>
              <p:nvPr/>
            </p:nvSpPr>
            <p:spPr>
              <a:xfrm>
                <a:off x="-8627425"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8" name="Google Shape;11238;p43"/>
              <p:cNvSpPr/>
              <p:nvPr/>
            </p:nvSpPr>
            <p:spPr>
              <a:xfrm>
                <a:off x="-8455780"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9" name="Google Shape;11239;p43"/>
              <p:cNvSpPr/>
              <p:nvPr/>
            </p:nvSpPr>
            <p:spPr>
              <a:xfrm>
                <a:off x="-8284179"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0" name="Google Shape;11240;p43"/>
              <p:cNvSpPr/>
              <p:nvPr/>
            </p:nvSpPr>
            <p:spPr>
              <a:xfrm>
                <a:off x="-8112535"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1" name="Google Shape;11241;p43"/>
              <p:cNvSpPr/>
              <p:nvPr/>
            </p:nvSpPr>
            <p:spPr>
              <a:xfrm>
                <a:off x="-7426043"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2" name="Google Shape;11242;p43"/>
              <p:cNvSpPr/>
              <p:nvPr/>
            </p:nvSpPr>
            <p:spPr>
              <a:xfrm>
                <a:off x="-9142315"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3" name="Google Shape;11243;p43"/>
              <p:cNvSpPr/>
              <p:nvPr/>
            </p:nvSpPr>
            <p:spPr>
              <a:xfrm>
                <a:off x="-8970671"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4" name="Google Shape;11244;p43"/>
              <p:cNvSpPr/>
              <p:nvPr/>
            </p:nvSpPr>
            <p:spPr>
              <a:xfrm>
                <a:off x="-8799026"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5" name="Google Shape;11245;p43"/>
              <p:cNvSpPr/>
              <p:nvPr/>
            </p:nvSpPr>
            <p:spPr>
              <a:xfrm>
                <a:off x="-8455780"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6" name="Google Shape;11246;p43"/>
              <p:cNvSpPr/>
              <p:nvPr/>
            </p:nvSpPr>
            <p:spPr>
              <a:xfrm>
                <a:off x="-8284179"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7" name="Google Shape;11247;p43"/>
              <p:cNvSpPr/>
              <p:nvPr/>
            </p:nvSpPr>
            <p:spPr>
              <a:xfrm>
                <a:off x="-8112535"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8" name="Google Shape;11248;p43"/>
              <p:cNvSpPr/>
              <p:nvPr/>
            </p:nvSpPr>
            <p:spPr>
              <a:xfrm>
                <a:off x="-7940934"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9" name="Google Shape;11249;p43"/>
              <p:cNvSpPr/>
              <p:nvPr/>
            </p:nvSpPr>
            <p:spPr>
              <a:xfrm>
                <a:off x="-7769289"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0" name="Google Shape;11250;p43"/>
              <p:cNvSpPr/>
              <p:nvPr/>
            </p:nvSpPr>
            <p:spPr>
              <a:xfrm>
                <a:off x="-7082798"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1" name="Google Shape;11251;p43"/>
              <p:cNvSpPr/>
              <p:nvPr/>
            </p:nvSpPr>
            <p:spPr>
              <a:xfrm>
                <a:off x="-6911196"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2" name="Google Shape;11252;p43"/>
              <p:cNvSpPr/>
              <p:nvPr/>
            </p:nvSpPr>
            <p:spPr>
              <a:xfrm>
                <a:off x="-6739552"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3" name="Google Shape;11253;p43"/>
              <p:cNvSpPr/>
              <p:nvPr/>
            </p:nvSpPr>
            <p:spPr>
              <a:xfrm>
                <a:off x="-8970671"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4" name="Google Shape;11254;p43"/>
              <p:cNvSpPr/>
              <p:nvPr/>
            </p:nvSpPr>
            <p:spPr>
              <a:xfrm>
                <a:off x="-8799026"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5" name="Google Shape;11255;p43"/>
              <p:cNvSpPr/>
              <p:nvPr/>
            </p:nvSpPr>
            <p:spPr>
              <a:xfrm>
                <a:off x="-8627425"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6" name="Google Shape;11256;p43"/>
              <p:cNvSpPr/>
              <p:nvPr/>
            </p:nvSpPr>
            <p:spPr>
              <a:xfrm>
                <a:off x="-8455780"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7" name="Google Shape;11257;p43"/>
              <p:cNvSpPr/>
              <p:nvPr/>
            </p:nvSpPr>
            <p:spPr>
              <a:xfrm>
                <a:off x="-8112535"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8" name="Google Shape;11258;p43"/>
              <p:cNvSpPr/>
              <p:nvPr/>
            </p:nvSpPr>
            <p:spPr>
              <a:xfrm>
                <a:off x="-7940934"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9" name="Google Shape;11259;p43"/>
              <p:cNvSpPr/>
              <p:nvPr/>
            </p:nvSpPr>
            <p:spPr>
              <a:xfrm>
                <a:off x="-9142315"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0" name="Google Shape;11260;p43"/>
              <p:cNvSpPr/>
              <p:nvPr/>
            </p:nvSpPr>
            <p:spPr>
              <a:xfrm>
                <a:off x="-8970671"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1" name="Google Shape;11261;p43"/>
              <p:cNvSpPr/>
              <p:nvPr/>
            </p:nvSpPr>
            <p:spPr>
              <a:xfrm>
                <a:off x="-8799026"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2" name="Google Shape;11262;p43"/>
              <p:cNvSpPr/>
              <p:nvPr/>
            </p:nvSpPr>
            <p:spPr>
              <a:xfrm>
                <a:off x="-8627425"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3" name="Google Shape;11263;p43"/>
              <p:cNvSpPr/>
              <p:nvPr/>
            </p:nvSpPr>
            <p:spPr>
              <a:xfrm>
                <a:off x="-8455780"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4" name="Google Shape;11264;p43"/>
              <p:cNvSpPr/>
              <p:nvPr/>
            </p:nvSpPr>
            <p:spPr>
              <a:xfrm>
                <a:off x="-8284179"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5" name="Google Shape;11265;p43"/>
              <p:cNvSpPr/>
              <p:nvPr/>
            </p:nvSpPr>
            <p:spPr>
              <a:xfrm>
                <a:off x="-7426043"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6" name="Google Shape;11266;p43"/>
              <p:cNvSpPr/>
              <p:nvPr/>
            </p:nvSpPr>
            <p:spPr>
              <a:xfrm>
                <a:off x="-6911196"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7" name="Google Shape;11267;p43"/>
              <p:cNvSpPr/>
              <p:nvPr/>
            </p:nvSpPr>
            <p:spPr>
              <a:xfrm>
                <a:off x="-9142315"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8" name="Google Shape;11268;p43"/>
              <p:cNvSpPr/>
              <p:nvPr/>
            </p:nvSpPr>
            <p:spPr>
              <a:xfrm>
                <a:off x="-8970671"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9" name="Google Shape;11269;p43"/>
              <p:cNvSpPr/>
              <p:nvPr/>
            </p:nvSpPr>
            <p:spPr>
              <a:xfrm>
                <a:off x="-8627425"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0" name="Google Shape;11270;p43"/>
              <p:cNvSpPr/>
              <p:nvPr/>
            </p:nvSpPr>
            <p:spPr>
              <a:xfrm>
                <a:off x="-8112535"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1" name="Google Shape;11271;p43"/>
              <p:cNvSpPr/>
              <p:nvPr/>
            </p:nvSpPr>
            <p:spPr>
              <a:xfrm>
                <a:off x="-7597688"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2" name="Google Shape;11272;p43"/>
              <p:cNvSpPr/>
              <p:nvPr/>
            </p:nvSpPr>
            <p:spPr>
              <a:xfrm>
                <a:off x="-7254442"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3" name="Google Shape;11273;p43"/>
              <p:cNvSpPr/>
              <p:nvPr/>
            </p:nvSpPr>
            <p:spPr>
              <a:xfrm>
                <a:off x="-7082798"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4" name="Google Shape;11274;p43"/>
              <p:cNvSpPr/>
              <p:nvPr/>
            </p:nvSpPr>
            <p:spPr>
              <a:xfrm>
                <a:off x="-6739552"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5" name="Google Shape;11275;p43"/>
              <p:cNvSpPr/>
              <p:nvPr/>
            </p:nvSpPr>
            <p:spPr>
              <a:xfrm>
                <a:off x="-6567951"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6" name="Google Shape;11276;p43"/>
              <p:cNvSpPr/>
              <p:nvPr/>
            </p:nvSpPr>
            <p:spPr>
              <a:xfrm>
                <a:off x="-9142315"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7" name="Google Shape;11277;p43"/>
              <p:cNvSpPr/>
              <p:nvPr/>
            </p:nvSpPr>
            <p:spPr>
              <a:xfrm>
                <a:off x="-8970671"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8" name="Google Shape;11278;p43"/>
              <p:cNvSpPr/>
              <p:nvPr/>
            </p:nvSpPr>
            <p:spPr>
              <a:xfrm>
                <a:off x="-8799026"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9" name="Google Shape;11279;p43"/>
              <p:cNvSpPr/>
              <p:nvPr/>
            </p:nvSpPr>
            <p:spPr>
              <a:xfrm>
                <a:off x="-8627425"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80" name="Google Shape;11280;p43"/>
              <p:cNvSpPr/>
              <p:nvPr/>
            </p:nvSpPr>
            <p:spPr>
              <a:xfrm>
                <a:off x="-7940934"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81" name="Google Shape;11281;p43"/>
              <p:cNvSpPr/>
              <p:nvPr/>
            </p:nvSpPr>
            <p:spPr>
              <a:xfrm>
                <a:off x="-7597688"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82" name="Google Shape;11282;p43"/>
              <p:cNvSpPr/>
              <p:nvPr/>
            </p:nvSpPr>
            <p:spPr>
              <a:xfrm>
                <a:off x="-7426043"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83" name="Google Shape;11283;p43"/>
              <p:cNvSpPr/>
              <p:nvPr/>
            </p:nvSpPr>
            <p:spPr>
              <a:xfrm>
                <a:off x="-6567951"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cxnSp>
        <p:nvCxnSpPr>
          <p:cNvPr id="11284" name="Google Shape;11284;p43"/>
          <p:cNvCxnSpPr/>
          <p:nvPr/>
        </p:nvCxnSpPr>
        <p:spPr>
          <a:xfrm>
            <a:off x="329609" y="2437708"/>
            <a:ext cx="3400618" cy="0"/>
          </a:xfrm>
          <a:prstGeom prst="straightConnector1">
            <a:avLst/>
          </a:prstGeom>
          <a:noFill/>
          <a:ln w="9525" cap="flat" cmpd="sng">
            <a:solidFill>
              <a:srgbClr val="1A425C"/>
            </a:solidFill>
            <a:prstDash val="solid"/>
            <a:miter lim="800000"/>
            <a:headEnd type="none" w="sm" len="sm"/>
            <a:tailEnd type="none" w="sm" len="sm"/>
          </a:ln>
        </p:spPr>
      </p:cxnSp>
      <p:sp>
        <p:nvSpPr>
          <p:cNvPr id="11285" name="Google Shape;11285;p43"/>
          <p:cNvSpPr txBox="1">
            <a:spLocks noGrp="1"/>
          </p:cNvSpPr>
          <p:nvPr>
            <p:ph type="title"/>
          </p:nvPr>
        </p:nvSpPr>
        <p:spPr>
          <a:xfrm>
            <a:off x="334963" y="0"/>
            <a:ext cx="4545012" cy="1018096"/>
          </a:xfrm>
          <a:prstGeom prst="rect">
            <a:avLst/>
          </a:prstGeom>
          <a:solidFill>
            <a:schemeClr val="accent1"/>
          </a:solidFill>
          <a:ln>
            <a:noFill/>
          </a:ln>
        </p:spPr>
        <p:txBody>
          <a:bodyPr spcFirstLastPara="1" wrap="square" lIns="180000" tIns="540000" rIns="72000" bIns="180000" anchor="b" anchorCtr="0">
            <a:noAutofit/>
          </a:bodyPr>
          <a:lstStyle/>
          <a:p>
            <a:pPr marL="0" lvl="0" indent="0" algn="l" rtl="0">
              <a:lnSpc>
                <a:spcPct val="90000"/>
              </a:lnSpc>
              <a:spcBef>
                <a:spcPts val="0"/>
              </a:spcBef>
              <a:spcAft>
                <a:spcPts val="0"/>
              </a:spcAft>
              <a:buClr>
                <a:schemeClr val="lt1"/>
              </a:buClr>
              <a:buSzPts val="2000"/>
              <a:buFont typeface="Arial"/>
              <a:buNone/>
            </a:pPr>
            <a:r>
              <a:rPr lang="en-GB" sz="2400" dirty="0"/>
              <a:t>Deep dive 1: Talent Hoarding</a:t>
            </a:r>
            <a:endParaRPr sz="2400" dirty="0"/>
          </a:p>
        </p:txBody>
      </p:sp>
      <p:sp>
        <p:nvSpPr>
          <p:cNvPr id="11286" name="Google Shape;11286;p43"/>
          <p:cNvSpPr txBox="1"/>
          <p:nvPr/>
        </p:nvSpPr>
        <p:spPr>
          <a:xfrm>
            <a:off x="348951" y="2657141"/>
            <a:ext cx="3598408" cy="3112408"/>
          </a:xfrm>
          <a:prstGeom prst="rect">
            <a:avLst/>
          </a:prstGeom>
          <a:noFill/>
          <a:ln>
            <a:noFill/>
          </a:ln>
        </p:spPr>
        <p:txBody>
          <a:bodyPr spcFirstLastPara="1" wrap="square" lIns="180000" tIns="45700" rIns="91425" bIns="45700" anchor="t" anchorCtr="0">
            <a:normAutofit lnSpcReduction="10000"/>
          </a:bodyPr>
          <a:lstStyle/>
          <a:p>
            <a:pPr lvl="0"/>
            <a:r>
              <a:rPr lang="en-GB" sz="1600" dirty="0">
                <a:solidFill>
                  <a:srgbClr val="1A425C"/>
                </a:solidFill>
              </a:rPr>
              <a:t>Most organizations rely on managers to identify talented workers for promotions</a:t>
            </a:r>
          </a:p>
          <a:p>
            <a:pPr lvl="0"/>
            <a:endParaRPr lang="en-GB" sz="1600" dirty="0">
              <a:solidFill>
                <a:srgbClr val="1A425C"/>
              </a:solidFill>
            </a:endParaRPr>
          </a:p>
          <a:p>
            <a:pPr lvl="0"/>
            <a:r>
              <a:rPr lang="en-GB" sz="1600" dirty="0">
                <a:solidFill>
                  <a:srgbClr val="1A425C"/>
                </a:solidFill>
              </a:rPr>
              <a:t>But managers have an </a:t>
            </a:r>
            <a:r>
              <a:rPr lang="en-GB" sz="1600" b="1" dirty="0">
                <a:solidFill>
                  <a:srgbClr val="1A425C"/>
                </a:solidFill>
              </a:rPr>
              <a:t>incentive to hoard talent </a:t>
            </a:r>
            <a:r>
              <a:rPr lang="en-GB" sz="1600" dirty="0">
                <a:solidFill>
                  <a:srgbClr val="1A425C"/>
                </a:solidFill>
              </a:rPr>
              <a:t>(</a:t>
            </a:r>
            <a:r>
              <a:rPr lang="en-GB" sz="1600" dirty="0" err="1">
                <a:solidFill>
                  <a:srgbClr val="1A425C"/>
                </a:solidFill>
              </a:rPr>
              <a:t>Heagele</a:t>
            </a:r>
            <a:r>
              <a:rPr lang="en-GB" sz="1600" dirty="0">
                <a:solidFill>
                  <a:srgbClr val="1A425C"/>
                </a:solidFill>
              </a:rPr>
              <a:t>, 2022): when a talented worker leaves their team for a promotion, team performance suffers</a:t>
            </a:r>
          </a:p>
          <a:p>
            <a:pPr lvl="0"/>
            <a:endParaRPr lang="en-GB" sz="1600" dirty="0">
              <a:solidFill>
                <a:srgbClr val="1A425C"/>
              </a:solidFill>
            </a:endParaRPr>
          </a:p>
          <a:p>
            <a:pPr lvl="0"/>
            <a:r>
              <a:rPr lang="en-GB" sz="1600" b="1" dirty="0">
                <a:solidFill>
                  <a:srgbClr val="1A425C"/>
                </a:solidFill>
              </a:rPr>
              <a:t>Do middle managers affect workers’ participation in training programs?</a:t>
            </a:r>
          </a:p>
          <a:p>
            <a:pPr lvl="0"/>
            <a:endParaRPr lang="en-GB" sz="1600" b="1" dirty="0">
              <a:solidFill>
                <a:srgbClr val="1A425C"/>
              </a:solidFill>
            </a:endParaRPr>
          </a:p>
          <a:p>
            <a:pPr lvl="0"/>
            <a:endParaRPr lang="en-GB" sz="1600" dirty="0">
              <a:solidFill>
                <a:srgbClr val="1A425C"/>
              </a:solidFill>
            </a:endParaRPr>
          </a:p>
          <a:p>
            <a:pPr lvl="0"/>
            <a:endParaRPr lang="en-GB" sz="1600" dirty="0">
              <a:solidFill>
                <a:srgbClr val="1A425C"/>
              </a:solidFill>
            </a:endParaRPr>
          </a:p>
          <a:p>
            <a:pPr marL="0" marR="0" lvl="0" indent="0" algn="l" rtl="0">
              <a:spcBef>
                <a:spcPts val="0"/>
              </a:spcBef>
              <a:spcAft>
                <a:spcPts val="0"/>
              </a:spcAft>
              <a:buNone/>
            </a:pPr>
            <a:endParaRPr sz="1600" dirty="0">
              <a:solidFill>
                <a:srgbClr val="1A425C"/>
              </a:solidFill>
              <a:latin typeface="Arial"/>
              <a:ea typeface="Arial"/>
              <a:cs typeface="Arial"/>
              <a:sym typeface="Arial"/>
            </a:endParaRPr>
          </a:p>
        </p:txBody>
      </p:sp>
      <p:sp>
        <p:nvSpPr>
          <p:cNvPr id="11287" name="Google Shape;11287;p43"/>
          <p:cNvSpPr txBox="1"/>
          <p:nvPr/>
        </p:nvSpPr>
        <p:spPr>
          <a:xfrm>
            <a:off x="334963" y="1666696"/>
            <a:ext cx="3395264" cy="428804"/>
          </a:xfrm>
          <a:prstGeom prst="rect">
            <a:avLst/>
          </a:prstGeom>
          <a:noFill/>
          <a:ln>
            <a:noFill/>
          </a:ln>
        </p:spPr>
        <p:txBody>
          <a:bodyPr spcFirstLastPara="1" wrap="square" lIns="180000" tIns="45700" rIns="91425" bIns="45700" anchor="t" anchorCtr="0">
            <a:normAutofit/>
          </a:bodyPr>
          <a:lstStyle/>
          <a:p>
            <a:pPr marL="0" marR="0" lvl="0" indent="0" algn="l" rtl="0">
              <a:spcBef>
                <a:spcPts val="0"/>
              </a:spcBef>
              <a:spcAft>
                <a:spcPts val="0"/>
              </a:spcAft>
              <a:buNone/>
            </a:pPr>
            <a:r>
              <a:rPr lang="en-GB" sz="2000" b="1" dirty="0">
                <a:solidFill>
                  <a:srgbClr val="1A425C"/>
                </a:solidFill>
                <a:latin typeface="Arial"/>
                <a:ea typeface="Arial"/>
                <a:cs typeface="Arial"/>
                <a:sym typeface="Arial"/>
              </a:rPr>
              <a:t>RESEARCH QUESTION</a:t>
            </a:r>
            <a:endParaRPr dirty="0"/>
          </a:p>
        </p:txBody>
      </p:sp>
      <p:sp>
        <p:nvSpPr>
          <p:cNvPr id="11288" name="Google Shape;11288;p43"/>
          <p:cNvSpPr txBox="1"/>
          <p:nvPr/>
        </p:nvSpPr>
        <p:spPr>
          <a:xfrm>
            <a:off x="4204791" y="2657141"/>
            <a:ext cx="3598408" cy="3112408"/>
          </a:xfrm>
          <a:prstGeom prst="rect">
            <a:avLst/>
          </a:prstGeom>
          <a:noFill/>
          <a:ln>
            <a:noFill/>
          </a:ln>
        </p:spPr>
        <p:txBody>
          <a:bodyPr spcFirstLastPara="1" wrap="square" lIns="180000" tIns="45700" rIns="91425" bIns="45700" anchor="t" anchorCtr="0">
            <a:normAutofit/>
          </a:bodyPr>
          <a:lstStyle/>
          <a:p>
            <a:pPr lvl="0"/>
            <a:r>
              <a:rPr lang="en-GB" sz="1600" b="1" dirty="0">
                <a:solidFill>
                  <a:schemeClr val="accent1"/>
                </a:solidFill>
              </a:rPr>
              <a:t>Detailed personnel records </a:t>
            </a:r>
            <a:r>
              <a:rPr lang="en-GB" sz="1600" dirty="0">
                <a:solidFill>
                  <a:schemeClr val="accent1"/>
                </a:solidFill>
              </a:rPr>
              <a:t>from a large retailer, a fast food, and a car company (100,000 employees overall, 5 years of data, 3m observations)</a:t>
            </a:r>
          </a:p>
          <a:p>
            <a:pPr lvl="0"/>
            <a:endParaRPr lang="en-GB" sz="1600" dirty="0">
              <a:solidFill>
                <a:schemeClr val="accent1"/>
              </a:solidFill>
            </a:endParaRPr>
          </a:p>
          <a:p>
            <a:pPr lvl="0"/>
            <a:r>
              <a:rPr lang="en-GB" sz="1600" dirty="0">
                <a:solidFill>
                  <a:schemeClr val="accent1"/>
                </a:solidFill>
              </a:rPr>
              <a:t>Estimate </a:t>
            </a:r>
            <a:r>
              <a:rPr lang="en-GB" sz="1600" b="1" dirty="0">
                <a:solidFill>
                  <a:schemeClr val="accent1"/>
                </a:solidFill>
              </a:rPr>
              <a:t>manager-specific “value added”</a:t>
            </a:r>
            <a:r>
              <a:rPr lang="en-GB" sz="1600" dirty="0">
                <a:solidFill>
                  <a:schemeClr val="accent1"/>
                </a:solidFill>
              </a:rPr>
              <a:t> (differences in team performance systematically attributable to individuals) for a variety of HR metrics, including </a:t>
            </a:r>
            <a:r>
              <a:rPr lang="en-GB" sz="1600" b="1" dirty="0">
                <a:solidFill>
                  <a:schemeClr val="accent1"/>
                </a:solidFill>
              </a:rPr>
              <a:t>participation in training</a:t>
            </a:r>
          </a:p>
          <a:p>
            <a:pPr lvl="0"/>
            <a:endParaRPr lang="en-GB" sz="1600" dirty="0">
              <a:solidFill>
                <a:schemeClr val="accent1"/>
              </a:solidFill>
            </a:endParaRPr>
          </a:p>
          <a:p>
            <a:pPr marL="0" marR="0" lvl="0" indent="0" algn="l" rtl="0">
              <a:spcBef>
                <a:spcPts val="0"/>
              </a:spcBef>
              <a:spcAft>
                <a:spcPts val="0"/>
              </a:spcAft>
              <a:buNone/>
            </a:pPr>
            <a:endParaRPr sz="1600" dirty="0">
              <a:solidFill>
                <a:schemeClr val="accent1"/>
              </a:solidFill>
              <a:latin typeface="Arial"/>
              <a:ea typeface="Arial"/>
              <a:cs typeface="Arial"/>
              <a:sym typeface="Arial"/>
            </a:endParaRPr>
          </a:p>
          <a:p>
            <a:pPr marL="0" marR="0" lvl="0" indent="0" algn="l" rtl="0">
              <a:spcBef>
                <a:spcPts val="0"/>
              </a:spcBef>
              <a:spcAft>
                <a:spcPts val="0"/>
              </a:spcAft>
              <a:buNone/>
            </a:pPr>
            <a:endParaRPr sz="1600" dirty="0">
              <a:solidFill>
                <a:schemeClr val="accent1"/>
              </a:solidFill>
              <a:latin typeface="Arial"/>
              <a:ea typeface="Arial"/>
              <a:cs typeface="Arial"/>
              <a:sym typeface="Arial"/>
            </a:endParaRPr>
          </a:p>
        </p:txBody>
      </p:sp>
      <p:sp>
        <p:nvSpPr>
          <p:cNvPr id="11289" name="Google Shape;11289;p43"/>
          <p:cNvSpPr txBox="1"/>
          <p:nvPr/>
        </p:nvSpPr>
        <p:spPr>
          <a:xfrm>
            <a:off x="4198938" y="1666696"/>
            <a:ext cx="3351810" cy="428804"/>
          </a:xfrm>
          <a:prstGeom prst="rect">
            <a:avLst/>
          </a:prstGeom>
          <a:noFill/>
          <a:ln>
            <a:noFill/>
          </a:ln>
        </p:spPr>
        <p:txBody>
          <a:bodyPr spcFirstLastPara="1" wrap="square" lIns="180000" tIns="45700" rIns="91425" bIns="45700" anchor="t" anchorCtr="0">
            <a:normAutofit/>
          </a:bodyPr>
          <a:lstStyle/>
          <a:p>
            <a:pPr marL="0" marR="0" lvl="0" indent="0" algn="l" rtl="0">
              <a:spcBef>
                <a:spcPts val="0"/>
              </a:spcBef>
              <a:spcAft>
                <a:spcPts val="0"/>
              </a:spcAft>
              <a:buNone/>
            </a:pPr>
            <a:r>
              <a:rPr lang="en-GB" sz="2000" b="1" dirty="0">
                <a:solidFill>
                  <a:schemeClr val="accent1"/>
                </a:solidFill>
                <a:latin typeface="Arial"/>
                <a:ea typeface="Arial"/>
                <a:cs typeface="Arial"/>
                <a:sym typeface="Arial"/>
              </a:rPr>
              <a:t>APPROACH</a:t>
            </a:r>
            <a:endParaRPr dirty="0"/>
          </a:p>
        </p:txBody>
      </p:sp>
      <p:sp>
        <p:nvSpPr>
          <p:cNvPr id="11290" name="Google Shape;11290;p43"/>
          <p:cNvSpPr txBox="1"/>
          <p:nvPr/>
        </p:nvSpPr>
        <p:spPr>
          <a:xfrm>
            <a:off x="8062911" y="2657689"/>
            <a:ext cx="3598408" cy="3473348"/>
          </a:xfrm>
          <a:prstGeom prst="rect">
            <a:avLst/>
          </a:prstGeom>
          <a:noFill/>
          <a:ln>
            <a:noFill/>
          </a:ln>
        </p:spPr>
        <p:txBody>
          <a:bodyPr spcFirstLastPara="1" wrap="square" lIns="180000" tIns="45700" rIns="91425" bIns="45700" anchor="t" anchorCtr="0">
            <a:normAutofit lnSpcReduction="10000"/>
          </a:bodyPr>
          <a:lstStyle/>
          <a:p>
            <a:pPr lvl="0"/>
            <a:r>
              <a:rPr lang="en-GB" sz="1600" b="1" dirty="0">
                <a:solidFill>
                  <a:schemeClr val="lt1"/>
                </a:solidFill>
              </a:rPr>
              <a:t>“Good” managers train more</a:t>
            </a:r>
            <a:r>
              <a:rPr lang="en-GB" sz="1600" dirty="0">
                <a:solidFill>
                  <a:schemeClr val="lt1"/>
                </a:solidFill>
              </a:rPr>
              <a:t>, promote more, and as a result have lower turnover and absenteeism, and </a:t>
            </a:r>
            <a:r>
              <a:rPr lang="en-GB" sz="1600" b="1" dirty="0">
                <a:solidFill>
                  <a:schemeClr val="lt1"/>
                </a:solidFill>
              </a:rPr>
              <a:t>higher likelihood of adjusting to technology shocks</a:t>
            </a:r>
          </a:p>
          <a:p>
            <a:pPr lvl="0"/>
            <a:endParaRPr lang="en-GB" sz="1600" dirty="0">
              <a:solidFill>
                <a:schemeClr val="lt1"/>
              </a:solidFill>
            </a:endParaRPr>
          </a:p>
          <a:p>
            <a:pPr lvl="0"/>
            <a:r>
              <a:rPr lang="en-GB" sz="1600" dirty="0">
                <a:solidFill>
                  <a:schemeClr val="lt1"/>
                </a:solidFill>
              </a:rPr>
              <a:t>Reskilling programs need to:</a:t>
            </a:r>
          </a:p>
          <a:p>
            <a:pPr marL="285750" lvl="0" indent="-285750">
              <a:buFontTx/>
              <a:buChar char="-"/>
            </a:pPr>
            <a:r>
              <a:rPr lang="en-GB" sz="1600" b="1" dirty="0">
                <a:solidFill>
                  <a:schemeClr val="lt1"/>
                </a:solidFill>
              </a:rPr>
              <a:t>Develop the right organizational context</a:t>
            </a:r>
            <a:r>
              <a:rPr lang="en-GB" sz="1600" dirty="0">
                <a:solidFill>
                  <a:schemeClr val="lt1"/>
                </a:solidFill>
              </a:rPr>
              <a:t>, including appropriate culture and incentives</a:t>
            </a:r>
          </a:p>
          <a:p>
            <a:pPr marL="285750" lvl="0" indent="-285750">
              <a:buFontTx/>
              <a:buChar char="-"/>
            </a:pPr>
            <a:r>
              <a:rPr lang="en-GB" sz="1600" dirty="0">
                <a:solidFill>
                  <a:schemeClr val="lt1"/>
                </a:solidFill>
              </a:rPr>
              <a:t>Quickly identify and counteract internal resistance</a:t>
            </a:r>
          </a:p>
          <a:p>
            <a:pPr marL="285750" lvl="0" indent="-285750">
              <a:buFontTx/>
              <a:buChar char="-"/>
            </a:pPr>
            <a:r>
              <a:rPr lang="en-GB" sz="1600" dirty="0">
                <a:solidFill>
                  <a:schemeClr val="lt1"/>
                </a:solidFill>
              </a:rPr>
              <a:t>Reward/Leverage congruent behaviour</a:t>
            </a:r>
          </a:p>
          <a:p>
            <a:pPr marL="285750" lvl="0" indent="-285750">
              <a:buFontTx/>
              <a:buChar char="-"/>
            </a:pPr>
            <a:endParaRPr lang="en-GB" sz="1600" dirty="0">
              <a:solidFill>
                <a:schemeClr val="lt1"/>
              </a:solidFill>
            </a:endParaRPr>
          </a:p>
          <a:p>
            <a:pPr lvl="0"/>
            <a:endParaRPr lang="en-GB" sz="1600" dirty="0">
              <a:solidFill>
                <a:schemeClr val="lt1"/>
              </a:solidFill>
            </a:endParaRPr>
          </a:p>
          <a:p>
            <a:pPr lvl="0"/>
            <a:endParaRPr lang="en-GB" sz="1600" dirty="0">
              <a:solidFill>
                <a:schemeClr val="lt1"/>
              </a:solidFill>
            </a:endParaRPr>
          </a:p>
          <a:p>
            <a:pPr lvl="0"/>
            <a:endParaRPr lang="en-GB" sz="1600" dirty="0">
              <a:solidFill>
                <a:schemeClr val="lt1"/>
              </a:solidFill>
            </a:endParaRPr>
          </a:p>
          <a:p>
            <a:pPr lvl="0"/>
            <a:endParaRPr lang="en-GB" sz="1600" dirty="0">
              <a:solidFill>
                <a:schemeClr val="lt1"/>
              </a:solidFill>
            </a:endParaRPr>
          </a:p>
          <a:p>
            <a:pPr lvl="0"/>
            <a:endParaRPr lang="en-GB" sz="1600" dirty="0">
              <a:solidFill>
                <a:schemeClr val="lt1"/>
              </a:solidFill>
            </a:endParaRPr>
          </a:p>
          <a:p>
            <a:pPr marL="0" marR="0" lvl="0" indent="0" algn="l" rtl="0">
              <a:spcBef>
                <a:spcPts val="0"/>
              </a:spcBef>
              <a:spcAft>
                <a:spcPts val="0"/>
              </a:spcAft>
              <a:buNone/>
            </a:pPr>
            <a:endParaRPr sz="1600" dirty="0">
              <a:solidFill>
                <a:schemeClr val="lt1"/>
              </a:solidFill>
              <a:latin typeface="Arial"/>
              <a:ea typeface="Arial"/>
              <a:cs typeface="Arial"/>
              <a:sym typeface="Arial"/>
            </a:endParaRPr>
          </a:p>
          <a:p>
            <a:pPr marL="0" marR="0" lvl="0" indent="0" algn="l" rtl="0">
              <a:spcBef>
                <a:spcPts val="0"/>
              </a:spcBef>
              <a:spcAft>
                <a:spcPts val="0"/>
              </a:spcAft>
              <a:buNone/>
            </a:pPr>
            <a:endParaRPr sz="1600" dirty="0">
              <a:solidFill>
                <a:schemeClr val="lt1"/>
              </a:solidFill>
              <a:latin typeface="Arial"/>
              <a:ea typeface="Arial"/>
              <a:cs typeface="Arial"/>
              <a:sym typeface="Arial"/>
            </a:endParaRPr>
          </a:p>
        </p:txBody>
      </p:sp>
      <p:sp>
        <p:nvSpPr>
          <p:cNvPr id="11291" name="Google Shape;11291;p43"/>
          <p:cNvSpPr txBox="1"/>
          <p:nvPr/>
        </p:nvSpPr>
        <p:spPr>
          <a:xfrm>
            <a:off x="8062911" y="1666696"/>
            <a:ext cx="3395263" cy="732588"/>
          </a:xfrm>
          <a:prstGeom prst="rect">
            <a:avLst/>
          </a:prstGeom>
          <a:noFill/>
          <a:ln>
            <a:noFill/>
          </a:ln>
        </p:spPr>
        <p:txBody>
          <a:bodyPr spcFirstLastPara="1" wrap="square" lIns="180000" tIns="45700" rIns="91425" bIns="45700" anchor="t" anchorCtr="0">
            <a:normAutofit/>
          </a:bodyPr>
          <a:lstStyle/>
          <a:p>
            <a:pPr marL="0" marR="0" lvl="0" indent="0" algn="l" rtl="0">
              <a:spcBef>
                <a:spcPts val="0"/>
              </a:spcBef>
              <a:spcAft>
                <a:spcPts val="0"/>
              </a:spcAft>
              <a:buNone/>
            </a:pPr>
            <a:r>
              <a:rPr lang="en-GB" sz="2000" b="1" dirty="0">
                <a:solidFill>
                  <a:schemeClr val="lt1"/>
                </a:solidFill>
                <a:latin typeface="Arial"/>
                <a:ea typeface="Arial"/>
                <a:cs typeface="Arial"/>
                <a:sym typeface="Arial"/>
              </a:rPr>
              <a:t>RESULTS AND IMPLICATIONS</a:t>
            </a:r>
            <a:endParaRPr dirty="0"/>
          </a:p>
        </p:txBody>
      </p:sp>
      <p:grpSp>
        <p:nvGrpSpPr>
          <p:cNvPr id="11292" name="Google Shape;11292;p43"/>
          <p:cNvGrpSpPr/>
          <p:nvPr/>
        </p:nvGrpSpPr>
        <p:grpSpPr>
          <a:xfrm>
            <a:off x="0" y="6273800"/>
            <a:ext cx="12192000" cy="584200"/>
            <a:chOff x="0" y="6273800"/>
            <a:chExt cx="12192000" cy="584200"/>
          </a:xfrm>
        </p:grpSpPr>
        <p:sp>
          <p:nvSpPr>
            <p:cNvPr id="11293" name="Google Shape;11293;p43"/>
            <p:cNvSpPr/>
            <p:nvPr/>
          </p:nvSpPr>
          <p:spPr>
            <a:xfrm>
              <a:off x="0" y="6273800"/>
              <a:ext cx="12192000" cy="5842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1294" name="Google Shape;11294;p43"/>
            <p:cNvPicPr preferRelativeResize="0"/>
            <p:nvPr/>
          </p:nvPicPr>
          <p:blipFill rotWithShape="1">
            <a:blip r:embed="rId3">
              <a:alphaModFix/>
            </a:blip>
            <a:srcRect/>
            <a:stretch/>
          </p:blipFill>
          <p:spPr>
            <a:xfrm>
              <a:off x="9513888" y="6392994"/>
              <a:ext cx="2305050" cy="334291"/>
            </a:xfrm>
            <a:prstGeom prst="rect">
              <a:avLst/>
            </a:prstGeom>
            <a:noFill/>
            <a:ln>
              <a:noFill/>
            </a:ln>
          </p:spPr>
        </p:pic>
      </p:grpSp>
      <p:sp>
        <p:nvSpPr>
          <p:cNvPr id="11295" name="Google Shape;11295;p43"/>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fld id="{00000000-1234-1234-1234-123412341234}" type="slidenum">
              <a:rPr lang="en-GB"/>
              <a:t>15</a:t>
            </a:fld>
            <a:endParaRPr/>
          </a:p>
        </p:txBody>
      </p:sp>
    </p:spTree>
    <p:extLst>
      <p:ext uri="{BB962C8B-B14F-4D97-AF65-F5344CB8AC3E}">
        <p14:creationId xmlns:p14="http://schemas.microsoft.com/office/powerpoint/2010/main" val="199449323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1163"/>
                                        </p:tgtEl>
                                        <p:attrNameLst>
                                          <p:attrName>style.visibility</p:attrName>
                                        </p:attrNameLst>
                                      </p:cBhvr>
                                      <p:to>
                                        <p:strVal val="visible"/>
                                      </p:to>
                                    </p:set>
                                    <p:anim calcmode="lin" valueType="num">
                                      <p:cBhvr additive="base">
                                        <p:cTn id="7" dur="500"/>
                                        <p:tgtEl>
                                          <p:spTgt spid="11163"/>
                                        </p:tgtEl>
                                        <p:attrNameLst>
                                          <p:attrName>ppt_y</p:attrName>
                                        </p:attrNameLst>
                                      </p:cBhvr>
                                      <p:tavLst>
                                        <p:tav tm="0">
                                          <p:val>
                                            <p:strVal val="#ppt_y+1"/>
                                          </p:val>
                                        </p:tav>
                                        <p:tav tm="100000">
                                          <p:val>
                                            <p:strVal val="#ppt_y"/>
                                          </p:val>
                                        </p:tav>
                                      </p:tavLst>
                                    </p:anim>
                                  </p:childTnLst>
                                </p:cTn>
                              </p:par>
                              <p:par>
                                <p:cTn id="8" presetID="10" presetClass="entr" presetSubtype="0" fill="hold" nodeType="withEffect">
                                  <p:stCondLst>
                                    <p:cond delay="250"/>
                                  </p:stCondLst>
                                  <p:childTnLst>
                                    <p:set>
                                      <p:cBhvr>
                                        <p:cTn id="9" dur="1" fill="hold">
                                          <p:stCondLst>
                                            <p:cond delay="0"/>
                                          </p:stCondLst>
                                        </p:cTn>
                                        <p:tgtEl>
                                          <p:spTgt spid="11284"/>
                                        </p:tgtEl>
                                        <p:attrNameLst>
                                          <p:attrName>style.visibility</p:attrName>
                                        </p:attrNameLst>
                                      </p:cBhvr>
                                      <p:to>
                                        <p:strVal val="visible"/>
                                      </p:to>
                                    </p:set>
                                    <p:animEffect transition="in" filter="fade">
                                      <p:cBhvr>
                                        <p:cTn id="10" dur="500"/>
                                        <p:tgtEl>
                                          <p:spTgt spid="11284"/>
                                        </p:tgtEl>
                                      </p:cBhvr>
                                    </p:animEffect>
                                  </p:childTnLst>
                                </p:cTn>
                              </p:par>
                              <p:par>
                                <p:cTn id="11" presetID="10" presetClass="entr" presetSubtype="0" fill="hold" nodeType="withEffect">
                                  <p:stCondLst>
                                    <p:cond delay="250"/>
                                  </p:stCondLst>
                                  <p:childTnLst>
                                    <p:set>
                                      <p:cBhvr>
                                        <p:cTn id="12" dur="1" fill="hold">
                                          <p:stCondLst>
                                            <p:cond delay="0"/>
                                          </p:stCondLst>
                                        </p:cTn>
                                        <p:tgtEl>
                                          <p:spTgt spid="11287"/>
                                        </p:tgtEl>
                                        <p:attrNameLst>
                                          <p:attrName>style.visibility</p:attrName>
                                        </p:attrNameLst>
                                      </p:cBhvr>
                                      <p:to>
                                        <p:strVal val="visible"/>
                                      </p:to>
                                    </p:set>
                                    <p:animEffect transition="in" filter="fade">
                                      <p:cBhvr>
                                        <p:cTn id="13" dur="250"/>
                                        <p:tgtEl>
                                          <p:spTgt spid="11287"/>
                                        </p:tgtEl>
                                      </p:cBhvr>
                                    </p:animEffect>
                                  </p:childTnLst>
                                </p:cTn>
                              </p:par>
                            </p:childTnLst>
                          </p:cTn>
                        </p:par>
                        <p:par>
                          <p:cTn id="14" fill="hold">
                            <p:stCondLst>
                              <p:cond delay="500"/>
                            </p:stCondLst>
                            <p:childTnLst>
                              <p:par>
                                <p:cTn id="15" presetID="10" presetClass="entr" presetSubtype="0" fill="hold" nodeType="afterEffect">
                                  <p:stCondLst>
                                    <p:cond delay="250"/>
                                  </p:stCondLst>
                                  <p:childTnLst>
                                    <p:set>
                                      <p:cBhvr>
                                        <p:cTn id="16" dur="1" fill="hold">
                                          <p:stCondLst>
                                            <p:cond delay="0"/>
                                          </p:stCondLst>
                                        </p:cTn>
                                        <p:tgtEl>
                                          <p:spTgt spid="11286"/>
                                        </p:tgtEl>
                                        <p:attrNameLst>
                                          <p:attrName>style.visibility</p:attrName>
                                        </p:attrNameLst>
                                      </p:cBhvr>
                                      <p:to>
                                        <p:strVal val="visible"/>
                                      </p:to>
                                    </p:set>
                                    <p:animEffect transition="in" filter="fade">
                                      <p:cBhvr>
                                        <p:cTn id="17" dur="250"/>
                                        <p:tgtEl>
                                          <p:spTgt spid="11286"/>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11103"/>
                                        </p:tgtEl>
                                        <p:attrNameLst>
                                          <p:attrName>style.visibility</p:attrName>
                                        </p:attrNameLst>
                                      </p:cBhvr>
                                      <p:to>
                                        <p:strVal val="visible"/>
                                      </p:to>
                                    </p:set>
                                    <p:anim calcmode="lin" valueType="num">
                                      <p:cBhvr additive="base">
                                        <p:cTn id="22" dur="500"/>
                                        <p:tgtEl>
                                          <p:spTgt spid="11103"/>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750"/>
                                  </p:stCondLst>
                                  <p:childTnLst>
                                    <p:set>
                                      <p:cBhvr>
                                        <p:cTn id="24" dur="1" fill="hold">
                                          <p:stCondLst>
                                            <p:cond delay="0"/>
                                          </p:stCondLst>
                                        </p:cTn>
                                        <p:tgtEl>
                                          <p:spTgt spid="11162"/>
                                        </p:tgtEl>
                                        <p:attrNameLst>
                                          <p:attrName>style.visibility</p:attrName>
                                        </p:attrNameLst>
                                      </p:cBhvr>
                                      <p:to>
                                        <p:strVal val="visible"/>
                                      </p:to>
                                    </p:set>
                                    <p:animEffect transition="in" filter="fade">
                                      <p:cBhvr>
                                        <p:cTn id="25" dur="500"/>
                                        <p:tgtEl>
                                          <p:spTgt spid="11162"/>
                                        </p:tgtEl>
                                      </p:cBhvr>
                                    </p:animEffect>
                                  </p:childTnLst>
                                </p:cTn>
                              </p:par>
                              <p:par>
                                <p:cTn id="26" presetID="10" presetClass="entr" presetSubtype="0" fill="hold" nodeType="withEffect">
                                  <p:stCondLst>
                                    <p:cond delay="0"/>
                                  </p:stCondLst>
                                  <p:childTnLst>
                                    <p:set>
                                      <p:cBhvr>
                                        <p:cTn id="27" dur="1" fill="hold">
                                          <p:stCondLst>
                                            <p:cond delay="0"/>
                                          </p:stCondLst>
                                        </p:cTn>
                                        <p:tgtEl>
                                          <p:spTgt spid="11289"/>
                                        </p:tgtEl>
                                        <p:attrNameLst>
                                          <p:attrName>style.visibility</p:attrName>
                                        </p:attrNameLst>
                                      </p:cBhvr>
                                      <p:to>
                                        <p:strVal val="visible"/>
                                      </p:to>
                                    </p:set>
                                    <p:animEffect transition="in" filter="fade">
                                      <p:cBhvr>
                                        <p:cTn id="28" dur="250"/>
                                        <p:tgtEl>
                                          <p:spTgt spid="11289"/>
                                        </p:tgtEl>
                                      </p:cBhvr>
                                    </p:animEffect>
                                  </p:childTnLst>
                                </p:cTn>
                              </p:par>
                            </p:childTnLst>
                          </p:cTn>
                        </p:par>
                        <p:par>
                          <p:cTn id="29" fill="hold">
                            <p:stCondLst>
                              <p:cond delay="1250"/>
                            </p:stCondLst>
                            <p:childTnLst>
                              <p:par>
                                <p:cTn id="30" presetID="10" presetClass="entr" presetSubtype="0" fill="hold" nodeType="afterEffect">
                                  <p:stCondLst>
                                    <p:cond delay="250"/>
                                  </p:stCondLst>
                                  <p:childTnLst>
                                    <p:set>
                                      <p:cBhvr>
                                        <p:cTn id="31" dur="1" fill="hold">
                                          <p:stCondLst>
                                            <p:cond delay="0"/>
                                          </p:stCondLst>
                                        </p:cTn>
                                        <p:tgtEl>
                                          <p:spTgt spid="11288"/>
                                        </p:tgtEl>
                                        <p:attrNameLst>
                                          <p:attrName>style.visibility</p:attrName>
                                        </p:attrNameLst>
                                      </p:cBhvr>
                                      <p:to>
                                        <p:strVal val="visible"/>
                                      </p:to>
                                    </p:set>
                                    <p:animEffect transition="in" filter="fade">
                                      <p:cBhvr>
                                        <p:cTn id="32" dur="250"/>
                                        <p:tgtEl>
                                          <p:spTgt spid="11288"/>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1030"/>
                                        </p:tgtEl>
                                        <p:attrNameLst>
                                          <p:attrName>style.visibility</p:attrName>
                                        </p:attrNameLst>
                                      </p:cBhvr>
                                      <p:to>
                                        <p:strVal val="visible"/>
                                      </p:to>
                                    </p:set>
                                    <p:anim calcmode="lin" valueType="num">
                                      <p:cBhvr additive="base">
                                        <p:cTn id="37" dur="500"/>
                                        <p:tgtEl>
                                          <p:spTgt spid="11030"/>
                                        </p:tgtEl>
                                        <p:attrNameLst>
                                          <p:attrName>ppt_y</p:attrName>
                                        </p:attrNameLst>
                                      </p:cBhvr>
                                      <p:tavLst>
                                        <p:tav tm="0">
                                          <p:val>
                                            <p:strVal val="#ppt_y+1"/>
                                          </p:val>
                                        </p:tav>
                                        <p:tav tm="100000">
                                          <p:val>
                                            <p:strVal val="#ppt_y"/>
                                          </p:val>
                                        </p:tav>
                                      </p:tavLst>
                                    </p:anim>
                                  </p:childTnLst>
                                </p:cTn>
                              </p:par>
                              <p:par>
                                <p:cTn id="38" presetID="10" presetClass="entr" presetSubtype="0" fill="hold" nodeType="withEffect">
                                  <p:stCondLst>
                                    <p:cond delay="1250"/>
                                  </p:stCondLst>
                                  <p:childTnLst>
                                    <p:set>
                                      <p:cBhvr>
                                        <p:cTn id="39" dur="1" fill="hold">
                                          <p:stCondLst>
                                            <p:cond delay="0"/>
                                          </p:stCondLst>
                                        </p:cTn>
                                        <p:tgtEl>
                                          <p:spTgt spid="11102"/>
                                        </p:tgtEl>
                                        <p:attrNameLst>
                                          <p:attrName>style.visibility</p:attrName>
                                        </p:attrNameLst>
                                      </p:cBhvr>
                                      <p:to>
                                        <p:strVal val="visible"/>
                                      </p:to>
                                    </p:set>
                                    <p:animEffect transition="in" filter="fade">
                                      <p:cBhvr>
                                        <p:cTn id="40" dur="500"/>
                                        <p:tgtEl>
                                          <p:spTgt spid="11102"/>
                                        </p:tgtEl>
                                      </p:cBhvr>
                                    </p:animEffect>
                                  </p:childTnLst>
                                </p:cTn>
                              </p:par>
                              <p:par>
                                <p:cTn id="41" presetID="10" presetClass="entr" presetSubtype="0" fill="hold" nodeType="withEffect">
                                  <p:stCondLst>
                                    <p:cond delay="0"/>
                                  </p:stCondLst>
                                  <p:childTnLst>
                                    <p:set>
                                      <p:cBhvr>
                                        <p:cTn id="42" dur="1" fill="hold">
                                          <p:stCondLst>
                                            <p:cond delay="0"/>
                                          </p:stCondLst>
                                        </p:cTn>
                                        <p:tgtEl>
                                          <p:spTgt spid="11291"/>
                                        </p:tgtEl>
                                        <p:attrNameLst>
                                          <p:attrName>style.visibility</p:attrName>
                                        </p:attrNameLst>
                                      </p:cBhvr>
                                      <p:to>
                                        <p:strVal val="visible"/>
                                      </p:to>
                                    </p:set>
                                    <p:animEffect transition="in" filter="fade">
                                      <p:cBhvr>
                                        <p:cTn id="43" dur="250"/>
                                        <p:tgtEl>
                                          <p:spTgt spid="11291"/>
                                        </p:tgtEl>
                                      </p:cBhvr>
                                    </p:animEffect>
                                  </p:childTnLst>
                                </p:cTn>
                              </p:par>
                              <p:par>
                                <p:cTn id="44" presetID="10" presetClass="entr" presetSubtype="0" fill="hold" nodeType="withEffect">
                                  <p:stCondLst>
                                    <p:cond delay="0"/>
                                  </p:stCondLst>
                                  <p:childTnLst>
                                    <p:set>
                                      <p:cBhvr>
                                        <p:cTn id="45" dur="1" fill="hold">
                                          <p:stCondLst>
                                            <p:cond delay="0"/>
                                          </p:stCondLst>
                                        </p:cTn>
                                        <p:tgtEl>
                                          <p:spTgt spid="11290"/>
                                        </p:tgtEl>
                                        <p:attrNameLst>
                                          <p:attrName>style.visibility</p:attrName>
                                        </p:attrNameLst>
                                      </p:cBhvr>
                                      <p:to>
                                        <p:strVal val="visible"/>
                                      </p:to>
                                    </p:set>
                                    <p:animEffect transition="in" filter="fade">
                                      <p:cBhvr>
                                        <p:cTn id="46" dur="250"/>
                                        <p:tgtEl>
                                          <p:spTgt spid="112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029"/>
        <p:cNvGrpSpPr/>
        <p:nvPr/>
      </p:nvGrpSpPr>
      <p:grpSpPr>
        <a:xfrm>
          <a:off x="0" y="0"/>
          <a:ext cx="0" cy="0"/>
          <a:chOff x="0" y="0"/>
          <a:chExt cx="0" cy="0"/>
        </a:xfrm>
      </p:grpSpPr>
      <p:grpSp>
        <p:nvGrpSpPr>
          <p:cNvPr id="11030" name="Google Shape;11030;p43"/>
          <p:cNvGrpSpPr/>
          <p:nvPr/>
        </p:nvGrpSpPr>
        <p:grpSpPr>
          <a:xfrm>
            <a:off x="8062912" y="1196975"/>
            <a:ext cx="3767138" cy="5106354"/>
            <a:chOff x="8062912" y="1196975"/>
            <a:chExt cx="3767138" cy="5106354"/>
          </a:xfrm>
        </p:grpSpPr>
        <p:sp>
          <p:nvSpPr>
            <p:cNvPr id="11031" name="Google Shape;11031;p43"/>
            <p:cNvSpPr/>
            <p:nvPr/>
          </p:nvSpPr>
          <p:spPr>
            <a:xfrm>
              <a:off x="8062912" y="1196975"/>
              <a:ext cx="3767138" cy="5106354"/>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11032" name="Google Shape;11032;p43"/>
            <p:cNvGrpSpPr/>
            <p:nvPr/>
          </p:nvGrpSpPr>
          <p:grpSpPr>
            <a:xfrm>
              <a:off x="8128461" y="4516135"/>
              <a:ext cx="3657085" cy="1719241"/>
              <a:chOff x="-9147673" y="647657"/>
              <a:chExt cx="3886544" cy="1827113"/>
            </a:xfrm>
          </p:grpSpPr>
          <p:sp>
            <p:nvSpPr>
              <p:cNvPr id="11033" name="Google Shape;11033;p43"/>
              <p:cNvSpPr/>
              <p:nvPr/>
            </p:nvSpPr>
            <p:spPr>
              <a:xfrm>
                <a:off x="-9147673"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4" name="Google Shape;11034;p43"/>
              <p:cNvSpPr/>
              <p:nvPr/>
            </p:nvSpPr>
            <p:spPr>
              <a:xfrm>
                <a:off x="-8976029"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5" name="Google Shape;11035;p43"/>
              <p:cNvSpPr/>
              <p:nvPr/>
            </p:nvSpPr>
            <p:spPr>
              <a:xfrm>
                <a:off x="-8804428"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6" name="Google Shape;11036;p43"/>
              <p:cNvSpPr/>
              <p:nvPr/>
            </p:nvSpPr>
            <p:spPr>
              <a:xfrm>
                <a:off x="-8632783"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7" name="Google Shape;11037;p43"/>
              <p:cNvSpPr/>
              <p:nvPr/>
            </p:nvSpPr>
            <p:spPr>
              <a:xfrm>
                <a:off x="-8461182"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8" name="Google Shape;11038;p43"/>
              <p:cNvSpPr/>
              <p:nvPr/>
            </p:nvSpPr>
            <p:spPr>
              <a:xfrm>
                <a:off x="-7946292"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39" name="Google Shape;11039;p43"/>
              <p:cNvSpPr/>
              <p:nvPr/>
            </p:nvSpPr>
            <p:spPr>
              <a:xfrm>
                <a:off x="-6401708"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0" name="Google Shape;11040;p43"/>
              <p:cNvSpPr/>
              <p:nvPr/>
            </p:nvSpPr>
            <p:spPr>
              <a:xfrm>
                <a:off x="-7774691"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1" name="Google Shape;11041;p43"/>
              <p:cNvSpPr/>
              <p:nvPr/>
            </p:nvSpPr>
            <p:spPr>
              <a:xfrm>
                <a:off x="-6916555"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2" name="Google Shape;11042;p43"/>
              <p:cNvSpPr/>
              <p:nvPr/>
            </p:nvSpPr>
            <p:spPr>
              <a:xfrm>
                <a:off x="-6744954"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3" name="Google Shape;11043;p43"/>
              <p:cNvSpPr/>
              <p:nvPr/>
            </p:nvSpPr>
            <p:spPr>
              <a:xfrm>
                <a:off x="-7431445"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4" name="Google Shape;11044;p43"/>
              <p:cNvSpPr/>
              <p:nvPr/>
            </p:nvSpPr>
            <p:spPr>
              <a:xfrm>
                <a:off x="-6573309"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5" name="Google Shape;11045;p43"/>
              <p:cNvSpPr/>
              <p:nvPr/>
            </p:nvSpPr>
            <p:spPr>
              <a:xfrm>
                <a:off x="-6230064"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6" name="Google Shape;11046;p43"/>
              <p:cNvSpPr/>
              <p:nvPr/>
            </p:nvSpPr>
            <p:spPr>
              <a:xfrm>
                <a:off x="-5886818"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7" name="Google Shape;11047;p43"/>
              <p:cNvSpPr/>
              <p:nvPr/>
            </p:nvSpPr>
            <p:spPr>
              <a:xfrm>
                <a:off x="-5715217"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8" name="Google Shape;11048;p43"/>
              <p:cNvSpPr/>
              <p:nvPr/>
            </p:nvSpPr>
            <p:spPr>
              <a:xfrm>
                <a:off x="-5371971" y="23639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49" name="Google Shape;11049;p43"/>
              <p:cNvSpPr/>
              <p:nvPr/>
            </p:nvSpPr>
            <p:spPr>
              <a:xfrm rot="-5400000">
                <a:off x="-9147673" y="2192284"/>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0" name="Google Shape;11050;p43"/>
              <p:cNvSpPr/>
              <p:nvPr/>
            </p:nvSpPr>
            <p:spPr>
              <a:xfrm rot="-5400000">
                <a:off x="-9147673" y="1849038"/>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1" name="Google Shape;11051;p43"/>
              <p:cNvSpPr/>
              <p:nvPr/>
            </p:nvSpPr>
            <p:spPr>
              <a:xfrm rot="-5400000">
                <a:off x="-9147673" y="1677437"/>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2" name="Google Shape;11052;p43"/>
              <p:cNvSpPr/>
              <p:nvPr/>
            </p:nvSpPr>
            <p:spPr>
              <a:xfrm rot="-5400000">
                <a:off x="-9147673" y="1505792"/>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3" name="Google Shape;11053;p43"/>
              <p:cNvSpPr/>
              <p:nvPr/>
            </p:nvSpPr>
            <p:spPr>
              <a:xfrm rot="-5400000">
                <a:off x="-9147673" y="1334191"/>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4" name="Google Shape;11054;p43"/>
              <p:cNvSpPr/>
              <p:nvPr/>
            </p:nvSpPr>
            <p:spPr>
              <a:xfrm rot="-5400000">
                <a:off x="-9147673" y="1162546"/>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5" name="Google Shape;11055;p43"/>
              <p:cNvSpPr/>
              <p:nvPr/>
            </p:nvSpPr>
            <p:spPr>
              <a:xfrm rot="-5400000">
                <a:off x="-9147673" y="647700"/>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6" name="Google Shape;11056;p43"/>
              <p:cNvSpPr/>
              <p:nvPr/>
            </p:nvSpPr>
            <p:spPr>
              <a:xfrm rot="-5400000">
                <a:off x="-8976029" y="2192327"/>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7" name="Google Shape;11057;p43"/>
              <p:cNvSpPr/>
              <p:nvPr/>
            </p:nvSpPr>
            <p:spPr>
              <a:xfrm rot="-5400000">
                <a:off x="-8975943" y="2020682"/>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8" name="Google Shape;11058;p43"/>
              <p:cNvSpPr/>
              <p:nvPr/>
            </p:nvSpPr>
            <p:spPr>
              <a:xfrm rot="-5400000">
                <a:off x="-8976029" y="1849081"/>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59" name="Google Shape;11059;p43"/>
              <p:cNvSpPr/>
              <p:nvPr/>
            </p:nvSpPr>
            <p:spPr>
              <a:xfrm rot="-5400000">
                <a:off x="-8976072" y="1677437"/>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0" name="Google Shape;11060;p43"/>
              <p:cNvSpPr/>
              <p:nvPr/>
            </p:nvSpPr>
            <p:spPr>
              <a:xfrm rot="-5400000">
                <a:off x="-8976029" y="1162590"/>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1" name="Google Shape;11061;p43"/>
              <p:cNvSpPr/>
              <p:nvPr/>
            </p:nvSpPr>
            <p:spPr>
              <a:xfrm rot="-5400000">
                <a:off x="-8804428" y="2192284"/>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2" name="Google Shape;11062;p43"/>
              <p:cNvSpPr/>
              <p:nvPr/>
            </p:nvSpPr>
            <p:spPr>
              <a:xfrm rot="-5400000">
                <a:off x="-8804428" y="1849038"/>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3" name="Google Shape;11063;p43"/>
              <p:cNvSpPr/>
              <p:nvPr/>
            </p:nvSpPr>
            <p:spPr>
              <a:xfrm rot="-5400000">
                <a:off x="-8804341" y="1677437"/>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4" name="Google Shape;11064;p43"/>
              <p:cNvSpPr/>
              <p:nvPr/>
            </p:nvSpPr>
            <p:spPr>
              <a:xfrm rot="-5400000">
                <a:off x="-8804428" y="1334191"/>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5" name="Google Shape;11065;p43"/>
              <p:cNvSpPr/>
              <p:nvPr/>
            </p:nvSpPr>
            <p:spPr>
              <a:xfrm rot="-5400000">
                <a:off x="-8804428" y="1162546"/>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6" name="Google Shape;11066;p43"/>
              <p:cNvSpPr/>
              <p:nvPr/>
            </p:nvSpPr>
            <p:spPr>
              <a:xfrm rot="-5400000">
                <a:off x="-8804428" y="819301"/>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7" name="Google Shape;11067;p43"/>
              <p:cNvSpPr/>
              <p:nvPr/>
            </p:nvSpPr>
            <p:spPr>
              <a:xfrm rot="-5400000">
                <a:off x="-8632783" y="2192327"/>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8" name="Google Shape;11068;p43"/>
              <p:cNvSpPr/>
              <p:nvPr/>
            </p:nvSpPr>
            <p:spPr>
              <a:xfrm rot="-5400000">
                <a:off x="-8632827" y="2020639"/>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69" name="Google Shape;11069;p43"/>
              <p:cNvSpPr/>
              <p:nvPr/>
            </p:nvSpPr>
            <p:spPr>
              <a:xfrm rot="-5400000">
                <a:off x="-8632783" y="1849038"/>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0" name="Google Shape;11070;p43"/>
              <p:cNvSpPr/>
              <p:nvPr/>
            </p:nvSpPr>
            <p:spPr>
              <a:xfrm rot="-5400000">
                <a:off x="-8632783" y="1162546"/>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1" name="Google Shape;11071;p43"/>
              <p:cNvSpPr/>
              <p:nvPr/>
            </p:nvSpPr>
            <p:spPr>
              <a:xfrm rot="-5400000">
                <a:off x="-8632827" y="990902"/>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2" name="Google Shape;11072;p43"/>
              <p:cNvSpPr/>
              <p:nvPr/>
            </p:nvSpPr>
            <p:spPr>
              <a:xfrm rot="-5400000">
                <a:off x="-8632827" y="647657"/>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3" name="Google Shape;11073;p43"/>
              <p:cNvSpPr/>
              <p:nvPr/>
            </p:nvSpPr>
            <p:spPr>
              <a:xfrm rot="-5400000">
                <a:off x="-8461182" y="2192284"/>
                <a:ext cx="110842" cy="110842"/>
              </a:xfrm>
              <a:custGeom>
                <a:avLst/>
                <a:gdLst/>
                <a:ahLst/>
                <a:cxnLst/>
                <a:rect l="l" t="t" r="r" b="b"/>
                <a:pathLst>
                  <a:path w="110842" h="110842" extrusionOk="0">
                    <a:moveTo>
                      <a:pt x="6356" y="588"/>
                    </a:moveTo>
                    <a:lnTo>
                      <a:pt x="117199" y="588"/>
                    </a:lnTo>
                    <a:lnTo>
                      <a:pt x="117199"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4" name="Google Shape;11074;p43"/>
              <p:cNvSpPr/>
              <p:nvPr/>
            </p:nvSpPr>
            <p:spPr>
              <a:xfrm rot="-5400000">
                <a:off x="-8461182" y="1677437"/>
                <a:ext cx="110842" cy="110842"/>
              </a:xfrm>
              <a:custGeom>
                <a:avLst/>
                <a:gdLst/>
                <a:ahLst/>
                <a:cxnLst/>
                <a:rect l="l" t="t" r="r" b="b"/>
                <a:pathLst>
                  <a:path w="110842" h="110842" extrusionOk="0">
                    <a:moveTo>
                      <a:pt x="6356" y="588"/>
                    </a:moveTo>
                    <a:lnTo>
                      <a:pt x="117199" y="588"/>
                    </a:lnTo>
                    <a:lnTo>
                      <a:pt x="117199"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5" name="Google Shape;11075;p43"/>
              <p:cNvSpPr/>
              <p:nvPr/>
            </p:nvSpPr>
            <p:spPr>
              <a:xfrm rot="-5400000">
                <a:off x="-8461182" y="1334191"/>
                <a:ext cx="110842" cy="110842"/>
              </a:xfrm>
              <a:custGeom>
                <a:avLst/>
                <a:gdLst/>
                <a:ahLst/>
                <a:cxnLst/>
                <a:rect l="l" t="t" r="r" b="b"/>
                <a:pathLst>
                  <a:path w="110842" h="110842" extrusionOk="0">
                    <a:moveTo>
                      <a:pt x="6356" y="588"/>
                    </a:moveTo>
                    <a:lnTo>
                      <a:pt x="117199" y="588"/>
                    </a:lnTo>
                    <a:lnTo>
                      <a:pt x="117199"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6" name="Google Shape;11076;p43"/>
              <p:cNvSpPr/>
              <p:nvPr/>
            </p:nvSpPr>
            <p:spPr>
              <a:xfrm rot="-5400000">
                <a:off x="-8461052" y="1162546"/>
                <a:ext cx="110842" cy="110842"/>
              </a:xfrm>
              <a:custGeom>
                <a:avLst/>
                <a:gdLst/>
                <a:ahLst/>
                <a:cxnLst/>
                <a:rect l="l" t="t" r="r" b="b"/>
                <a:pathLst>
                  <a:path w="110842" h="110842" extrusionOk="0">
                    <a:moveTo>
                      <a:pt x="6356" y="588"/>
                    </a:moveTo>
                    <a:lnTo>
                      <a:pt x="117199" y="588"/>
                    </a:lnTo>
                    <a:lnTo>
                      <a:pt x="117199"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7" name="Google Shape;11077;p43"/>
              <p:cNvSpPr/>
              <p:nvPr/>
            </p:nvSpPr>
            <p:spPr>
              <a:xfrm rot="-5400000">
                <a:off x="-8289538" y="1849038"/>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8" name="Google Shape;11078;p43"/>
              <p:cNvSpPr/>
              <p:nvPr/>
            </p:nvSpPr>
            <p:spPr>
              <a:xfrm rot="-5400000">
                <a:off x="-8289581" y="1677393"/>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79" name="Google Shape;11079;p43"/>
              <p:cNvSpPr/>
              <p:nvPr/>
            </p:nvSpPr>
            <p:spPr>
              <a:xfrm rot="-5400000">
                <a:off x="-8289581" y="1334148"/>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0" name="Google Shape;11080;p43"/>
              <p:cNvSpPr/>
              <p:nvPr/>
            </p:nvSpPr>
            <p:spPr>
              <a:xfrm rot="-5400000">
                <a:off x="-8117936" y="2020682"/>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1" name="Google Shape;11081;p43"/>
              <p:cNvSpPr/>
              <p:nvPr/>
            </p:nvSpPr>
            <p:spPr>
              <a:xfrm rot="-5400000">
                <a:off x="-8117936" y="1334191"/>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2" name="Google Shape;11082;p43"/>
              <p:cNvSpPr/>
              <p:nvPr/>
            </p:nvSpPr>
            <p:spPr>
              <a:xfrm rot="-5400000">
                <a:off x="-7946292" y="2192284"/>
                <a:ext cx="110842" cy="110842"/>
              </a:xfrm>
              <a:custGeom>
                <a:avLst/>
                <a:gdLst/>
                <a:ahLst/>
                <a:cxnLst/>
                <a:rect l="l" t="t" r="r" b="b"/>
                <a:pathLst>
                  <a:path w="110842" h="110842" extrusionOk="0">
                    <a:moveTo>
                      <a:pt x="6356" y="588"/>
                    </a:moveTo>
                    <a:lnTo>
                      <a:pt x="117198" y="588"/>
                    </a:lnTo>
                    <a:lnTo>
                      <a:pt x="117198"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3" name="Google Shape;11083;p43"/>
              <p:cNvSpPr/>
              <p:nvPr/>
            </p:nvSpPr>
            <p:spPr>
              <a:xfrm rot="-5400000">
                <a:off x="-7946335" y="2020639"/>
                <a:ext cx="110842" cy="110842"/>
              </a:xfrm>
              <a:custGeom>
                <a:avLst/>
                <a:gdLst/>
                <a:ahLst/>
                <a:cxnLst/>
                <a:rect l="l" t="t" r="r" b="b"/>
                <a:pathLst>
                  <a:path w="110842" h="110842" extrusionOk="0">
                    <a:moveTo>
                      <a:pt x="6356" y="588"/>
                    </a:moveTo>
                    <a:lnTo>
                      <a:pt x="117198" y="588"/>
                    </a:lnTo>
                    <a:lnTo>
                      <a:pt x="117198"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4" name="Google Shape;11084;p43"/>
              <p:cNvSpPr/>
              <p:nvPr/>
            </p:nvSpPr>
            <p:spPr>
              <a:xfrm rot="-5400000">
                <a:off x="-7774691" y="2020682"/>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5" name="Google Shape;11085;p43"/>
              <p:cNvSpPr/>
              <p:nvPr/>
            </p:nvSpPr>
            <p:spPr>
              <a:xfrm rot="-5400000">
                <a:off x="-7774691" y="1505792"/>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6" name="Google Shape;11086;p43"/>
              <p:cNvSpPr/>
              <p:nvPr/>
            </p:nvSpPr>
            <p:spPr>
              <a:xfrm rot="-5400000">
                <a:off x="-7774691" y="1334191"/>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7" name="Google Shape;11087;p43"/>
              <p:cNvSpPr/>
              <p:nvPr/>
            </p:nvSpPr>
            <p:spPr>
              <a:xfrm rot="-5400000">
                <a:off x="-7774691" y="990945"/>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8" name="Google Shape;11088;p43"/>
              <p:cNvSpPr/>
              <p:nvPr/>
            </p:nvSpPr>
            <p:spPr>
              <a:xfrm rot="-5400000">
                <a:off x="-7602960" y="2192284"/>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89" name="Google Shape;11089;p43"/>
              <p:cNvSpPr/>
              <p:nvPr/>
            </p:nvSpPr>
            <p:spPr>
              <a:xfrm rot="-5400000">
                <a:off x="-7603090" y="2020639"/>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0" name="Google Shape;11090;p43"/>
              <p:cNvSpPr/>
              <p:nvPr/>
            </p:nvSpPr>
            <p:spPr>
              <a:xfrm rot="-5400000">
                <a:off x="-7431445" y="2020682"/>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1" name="Google Shape;11091;p43"/>
              <p:cNvSpPr/>
              <p:nvPr/>
            </p:nvSpPr>
            <p:spPr>
              <a:xfrm rot="-5400000">
                <a:off x="-7431445" y="1334191"/>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2" name="Google Shape;11092;p43"/>
              <p:cNvSpPr/>
              <p:nvPr/>
            </p:nvSpPr>
            <p:spPr>
              <a:xfrm rot="-5400000">
                <a:off x="-7431445" y="1162546"/>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3" name="Google Shape;11093;p43"/>
              <p:cNvSpPr/>
              <p:nvPr/>
            </p:nvSpPr>
            <p:spPr>
              <a:xfrm rot="-5400000">
                <a:off x="-7259801" y="2192284"/>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4" name="Google Shape;11094;p43"/>
              <p:cNvSpPr/>
              <p:nvPr/>
            </p:nvSpPr>
            <p:spPr>
              <a:xfrm rot="-5400000">
                <a:off x="-7088199" y="2192284"/>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5" name="Google Shape;11095;p43"/>
              <p:cNvSpPr/>
              <p:nvPr/>
            </p:nvSpPr>
            <p:spPr>
              <a:xfrm rot="-5400000">
                <a:off x="-7088199" y="2020682"/>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6" name="Google Shape;11096;p43"/>
              <p:cNvSpPr/>
              <p:nvPr/>
            </p:nvSpPr>
            <p:spPr>
              <a:xfrm rot="-5400000">
                <a:off x="-7088199" y="1849038"/>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7" name="Google Shape;11097;p43"/>
              <p:cNvSpPr/>
              <p:nvPr/>
            </p:nvSpPr>
            <p:spPr>
              <a:xfrm rot="-5400000">
                <a:off x="-7088199" y="1677437"/>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8" name="Google Shape;11098;p43"/>
              <p:cNvSpPr/>
              <p:nvPr/>
            </p:nvSpPr>
            <p:spPr>
              <a:xfrm rot="-5400000">
                <a:off x="-7088199" y="1505792"/>
                <a:ext cx="110842" cy="110842"/>
              </a:xfrm>
              <a:custGeom>
                <a:avLst/>
                <a:gdLst/>
                <a:ahLst/>
                <a:cxnLst/>
                <a:rect l="l" t="t" r="r" b="b"/>
                <a:pathLst>
                  <a:path w="110842" h="110842" extrusionOk="0">
                    <a:moveTo>
                      <a:pt x="6355" y="588"/>
                    </a:moveTo>
                    <a:lnTo>
                      <a:pt x="117197" y="588"/>
                    </a:lnTo>
                    <a:lnTo>
                      <a:pt x="117197" y="111431"/>
                    </a:lnTo>
                    <a:lnTo>
                      <a:pt x="6355"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099" name="Google Shape;11099;p43"/>
              <p:cNvSpPr/>
              <p:nvPr/>
            </p:nvSpPr>
            <p:spPr>
              <a:xfrm rot="-5400000">
                <a:off x="-6916555" y="1849038"/>
                <a:ext cx="110842" cy="110842"/>
              </a:xfrm>
              <a:custGeom>
                <a:avLst/>
                <a:gdLst/>
                <a:ahLst/>
                <a:cxnLst/>
                <a:rect l="l" t="t" r="r" b="b"/>
                <a:pathLst>
                  <a:path w="110842" h="110842" extrusionOk="0">
                    <a:moveTo>
                      <a:pt x="6356" y="588"/>
                    </a:moveTo>
                    <a:lnTo>
                      <a:pt x="117198" y="588"/>
                    </a:lnTo>
                    <a:lnTo>
                      <a:pt x="117198"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00" name="Google Shape;11100;p43"/>
              <p:cNvSpPr/>
              <p:nvPr/>
            </p:nvSpPr>
            <p:spPr>
              <a:xfrm rot="-5400000">
                <a:off x="-6744954" y="1849038"/>
                <a:ext cx="110842" cy="110842"/>
              </a:xfrm>
              <a:custGeom>
                <a:avLst/>
                <a:gdLst/>
                <a:ahLst/>
                <a:cxnLst/>
                <a:rect l="l" t="t" r="r" b="b"/>
                <a:pathLst>
                  <a:path w="110842" h="110842" extrusionOk="0">
                    <a:moveTo>
                      <a:pt x="6356" y="588"/>
                    </a:moveTo>
                    <a:lnTo>
                      <a:pt x="117198" y="588"/>
                    </a:lnTo>
                    <a:lnTo>
                      <a:pt x="117198" y="111431"/>
                    </a:lnTo>
                    <a:lnTo>
                      <a:pt x="6356"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01" name="Google Shape;11101;p43"/>
              <p:cNvSpPr/>
              <p:nvPr/>
            </p:nvSpPr>
            <p:spPr>
              <a:xfrm rot="-5400000">
                <a:off x="-6401708" y="2020682"/>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rgbClr val="520719">
                  <a:alpha val="32941"/>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cxnSp>
        <p:nvCxnSpPr>
          <p:cNvPr id="11102" name="Google Shape;11102;p43"/>
          <p:cNvCxnSpPr/>
          <p:nvPr/>
        </p:nvCxnSpPr>
        <p:spPr>
          <a:xfrm>
            <a:off x="8054340" y="2437708"/>
            <a:ext cx="3403835" cy="0"/>
          </a:xfrm>
          <a:prstGeom prst="straightConnector1">
            <a:avLst/>
          </a:prstGeom>
          <a:noFill/>
          <a:ln w="9525" cap="flat" cmpd="sng">
            <a:solidFill>
              <a:schemeClr val="lt1"/>
            </a:solidFill>
            <a:prstDash val="solid"/>
            <a:miter lim="800000"/>
            <a:headEnd type="none" w="sm" len="sm"/>
            <a:tailEnd type="none" w="sm" len="sm"/>
          </a:ln>
        </p:spPr>
      </p:cxnSp>
      <p:grpSp>
        <p:nvGrpSpPr>
          <p:cNvPr id="11103" name="Google Shape;11103;p43"/>
          <p:cNvGrpSpPr/>
          <p:nvPr/>
        </p:nvGrpSpPr>
        <p:grpSpPr>
          <a:xfrm>
            <a:off x="4198938" y="1196975"/>
            <a:ext cx="3767138" cy="5106354"/>
            <a:chOff x="4198938" y="1196975"/>
            <a:chExt cx="3767138" cy="5106354"/>
          </a:xfrm>
        </p:grpSpPr>
        <p:sp>
          <p:nvSpPr>
            <p:cNvPr id="11104" name="Google Shape;11104;p43"/>
            <p:cNvSpPr/>
            <p:nvPr/>
          </p:nvSpPr>
          <p:spPr>
            <a:xfrm>
              <a:off x="4198938" y="1196975"/>
              <a:ext cx="3767138" cy="5106354"/>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11105" name="Google Shape;11105;p43"/>
            <p:cNvGrpSpPr/>
            <p:nvPr/>
          </p:nvGrpSpPr>
          <p:grpSpPr>
            <a:xfrm>
              <a:off x="4284794" y="5000625"/>
              <a:ext cx="3495615" cy="1234751"/>
              <a:chOff x="-9147673" y="3421624"/>
              <a:chExt cx="3714943" cy="1312224"/>
            </a:xfrm>
          </p:grpSpPr>
          <p:sp>
            <p:nvSpPr>
              <p:cNvPr id="11106" name="Google Shape;11106;p43"/>
              <p:cNvSpPr/>
              <p:nvPr/>
            </p:nvSpPr>
            <p:spPr>
              <a:xfrm rot="-5400000">
                <a:off x="-8976029" y="4622963"/>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07" name="Google Shape;11107;p43"/>
              <p:cNvSpPr/>
              <p:nvPr/>
            </p:nvSpPr>
            <p:spPr>
              <a:xfrm rot="-5400000">
                <a:off x="-8976072" y="4451318"/>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08" name="Google Shape;11108;p43"/>
              <p:cNvSpPr/>
              <p:nvPr/>
            </p:nvSpPr>
            <p:spPr>
              <a:xfrm rot="-5400000">
                <a:off x="-8976029" y="4279717"/>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09" name="Google Shape;11109;p43"/>
              <p:cNvSpPr/>
              <p:nvPr/>
            </p:nvSpPr>
            <p:spPr>
              <a:xfrm rot="-5400000">
                <a:off x="-8976072" y="3764827"/>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0" name="Google Shape;11110;p43"/>
              <p:cNvSpPr/>
              <p:nvPr/>
            </p:nvSpPr>
            <p:spPr>
              <a:xfrm rot="-5400000">
                <a:off x="-8976072" y="3421624"/>
                <a:ext cx="110842" cy="110842"/>
              </a:xfrm>
              <a:custGeom>
                <a:avLst/>
                <a:gdLst/>
                <a:ahLst/>
                <a:cxnLst/>
                <a:rect l="l" t="t" r="r" b="b"/>
                <a:pathLst>
                  <a:path w="110842" h="110842" extrusionOk="0">
                    <a:moveTo>
                      <a:pt x="6354" y="588"/>
                    </a:moveTo>
                    <a:lnTo>
                      <a:pt x="117197" y="588"/>
                    </a:lnTo>
                    <a:lnTo>
                      <a:pt x="117197" y="111431"/>
                    </a:lnTo>
                    <a:lnTo>
                      <a:pt x="6354"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1" name="Google Shape;11111;p43"/>
              <p:cNvSpPr/>
              <p:nvPr/>
            </p:nvSpPr>
            <p:spPr>
              <a:xfrm>
                <a:off x="-8804428"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2" name="Google Shape;11112;p43"/>
              <p:cNvSpPr/>
              <p:nvPr/>
            </p:nvSpPr>
            <p:spPr>
              <a:xfrm>
                <a:off x="-8632783"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3" name="Google Shape;11113;p43"/>
              <p:cNvSpPr/>
              <p:nvPr/>
            </p:nvSpPr>
            <p:spPr>
              <a:xfrm>
                <a:off x="-8461182"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4" name="Google Shape;11114;p43"/>
              <p:cNvSpPr/>
              <p:nvPr/>
            </p:nvSpPr>
            <p:spPr>
              <a:xfrm>
                <a:off x="-8289538"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5" name="Google Shape;11115;p43"/>
              <p:cNvSpPr/>
              <p:nvPr/>
            </p:nvSpPr>
            <p:spPr>
              <a:xfrm>
                <a:off x="-8117936"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6" name="Google Shape;11116;p43"/>
              <p:cNvSpPr/>
              <p:nvPr/>
            </p:nvSpPr>
            <p:spPr>
              <a:xfrm>
                <a:off x="-7946292"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7" name="Google Shape;11117;p43"/>
              <p:cNvSpPr/>
              <p:nvPr/>
            </p:nvSpPr>
            <p:spPr>
              <a:xfrm>
                <a:off x="-7774691"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8" name="Google Shape;11118;p43"/>
              <p:cNvSpPr/>
              <p:nvPr/>
            </p:nvSpPr>
            <p:spPr>
              <a:xfrm>
                <a:off x="-7603046"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19" name="Google Shape;11119;p43"/>
              <p:cNvSpPr/>
              <p:nvPr/>
            </p:nvSpPr>
            <p:spPr>
              <a:xfrm>
                <a:off x="-8804428"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0" name="Google Shape;11120;p43"/>
              <p:cNvSpPr/>
              <p:nvPr/>
            </p:nvSpPr>
            <p:spPr>
              <a:xfrm>
                <a:off x="-8632783"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1" name="Google Shape;11121;p43"/>
              <p:cNvSpPr/>
              <p:nvPr/>
            </p:nvSpPr>
            <p:spPr>
              <a:xfrm>
                <a:off x="-8461182"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2" name="Google Shape;11122;p43"/>
              <p:cNvSpPr/>
              <p:nvPr/>
            </p:nvSpPr>
            <p:spPr>
              <a:xfrm>
                <a:off x="-8117936"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3" name="Google Shape;11123;p43"/>
              <p:cNvSpPr/>
              <p:nvPr/>
            </p:nvSpPr>
            <p:spPr>
              <a:xfrm>
                <a:off x="-7774691"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4" name="Google Shape;11124;p43"/>
              <p:cNvSpPr/>
              <p:nvPr/>
            </p:nvSpPr>
            <p:spPr>
              <a:xfrm>
                <a:off x="-7603046"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5" name="Google Shape;11125;p43"/>
              <p:cNvSpPr/>
              <p:nvPr/>
            </p:nvSpPr>
            <p:spPr>
              <a:xfrm>
                <a:off x="-7431445"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6" name="Google Shape;11126;p43"/>
              <p:cNvSpPr/>
              <p:nvPr/>
            </p:nvSpPr>
            <p:spPr>
              <a:xfrm>
                <a:off x="-8804428"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7" name="Google Shape;11127;p43"/>
              <p:cNvSpPr/>
              <p:nvPr/>
            </p:nvSpPr>
            <p:spPr>
              <a:xfrm>
                <a:off x="-8632783"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8" name="Google Shape;11128;p43"/>
              <p:cNvSpPr/>
              <p:nvPr/>
            </p:nvSpPr>
            <p:spPr>
              <a:xfrm>
                <a:off x="-8289538"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29" name="Google Shape;11129;p43"/>
              <p:cNvSpPr/>
              <p:nvPr/>
            </p:nvSpPr>
            <p:spPr>
              <a:xfrm>
                <a:off x="-8804428"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0" name="Google Shape;11130;p43"/>
              <p:cNvSpPr/>
              <p:nvPr/>
            </p:nvSpPr>
            <p:spPr>
              <a:xfrm>
                <a:off x="-8632783"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1" name="Google Shape;11131;p43"/>
              <p:cNvSpPr/>
              <p:nvPr/>
            </p:nvSpPr>
            <p:spPr>
              <a:xfrm>
                <a:off x="-8289538"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2" name="Google Shape;11132;p43"/>
              <p:cNvSpPr/>
              <p:nvPr/>
            </p:nvSpPr>
            <p:spPr>
              <a:xfrm>
                <a:off x="-8632783" y="393651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3" name="Google Shape;11133;p43"/>
              <p:cNvSpPr/>
              <p:nvPr/>
            </p:nvSpPr>
            <p:spPr>
              <a:xfrm>
                <a:off x="-8632783" y="376487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4" name="Google Shape;11134;p43"/>
              <p:cNvSpPr/>
              <p:nvPr/>
            </p:nvSpPr>
            <p:spPr>
              <a:xfrm>
                <a:off x="-8461182" y="376487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5" name="Google Shape;11135;p43"/>
              <p:cNvSpPr/>
              <p:nvPr/>
            </p:nvSpPr>
            <p:spPr>
              <a:xfrm>
                <a:off x="-8289538" y="376487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6" name="Google Shape;11136;p43"/>
              <p:cNvSpPr/>
              <p:nvPr/>
            </p:nvSpPr>
            <p:spPr>
              <a:xfrm>
                <a:off x="-8289538" y="342162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7" name="Google Shape;11137;p43"/>
              <p:cNvSpPr/>
              <p:nvPr/>
            </p:nvSpPr>
            <p:spPr>
              <a:xfrm>
                <a:off x="-9147673"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8" name="Google Shape;11138;p43"/>
              <p:cNvSpPr/>
              <p:nvPr/>
            </p:nvSpPr>
            <p:spPr>
              <a:xfrm>
                <a:off x="-9147673"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39" name="Google Shape;11139;p43"/>
              <p:cNvSpPr/>
              <p:nvPr/>
            </p:nvSpPr>
            <p:spPr>
              <a:xfrm>
                <a:off x="-9147673"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0" name="Google Shape;11140;p43"/>
              <p:cNvSpPr/>
              <p:nvPr/>
            </p:nvSpPr>
            <p:spPr>
              <a:xfrm>
                <a:off x="-9147673"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1" name="Google Shape;11141;p43"/>
              <p:cNvSpPr/>
              <p:nvPr/>
            </p:nvSpPr>
            <p:spPr>
              <a:xfrm>
                <a:off x="-9147673" y="393651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2" name="Google Shape;11142;p43"/>
              <p:cNvSpPr/>
              <p:nvPr/>
            </p:nvSpPr>
            <p:spPr>
              <a:xfrm rot="-5400000">
                <a:off x="-6916555" y="4622963"/>
                <a:ext cx="110842" cy="110842"/>
              </a:xfrm>
              <a:custGeom>
                <a:avLst/>
                <a:gdLst/>
                <a:ahLst/>
                <a:cxnLst/>
                <a:rect l="l" t="t" r="r" b="b"/>
                <a:pathLst>
                  <a:path w="110842" h="110842" extrusionOk="0">
                    <a:moveTo>
                      <a:pt x="6356" y="588"/>
                    </a:moveTo>
                    <a:lnTo>
                      <a:pt x="117198" y="588"/>
                    </a:lnTo>
                    <a:lnTo>
                      <a:pt x="117198" y="111431"/>
                    </a:lnTo>
                    <a:lnTo>
                      <a:pt x="6356" y="111431"/>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3" name="Google Shape;11143;p43"/>
              <p:cNvSpPr/>
              <p:nvPr/>
            </p:nvSpPr>
            <p:spPr>
              <a:xfrm>
                <a:off x="-6744954"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4" name="Google Shape;11144;p43"/>
              <p:cNvSpPr/>
              <p:nvPr/>
            </p:nvSpPr>
            <p:spPr>
              <a:xfrm>
                <a:off x="-6573309"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5" name="Google Shape;11145;p43"/>
              <p:cNvSpPr/>
              <p:nvPr/>
            </p:nvSpPr>
            <p:spPr>
              <a:xfrm>
                <a:off x="-6401708"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6" name="Google Shape;11146;p43"/>
              <p:cNvSpPr/>
              <p:nvPr/>
            </p:nvSpPr>
            <p:spPr>
              <a:xfrm>
                <a:off x="-6230064"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7" name="Google Shape;11147;p43"/>
              <p:cNvSpPr/>
              <p:nvPr/>
            </p:nvSpPr>
            <p:spPr>
              <a:xfrm>
                <a:off x="-6058462"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8" name="Google Shape;11148;p43"/>
              <p:cNvSpPr/>
              <p:nvPr/>
            </p:nvSpPr>
            <p:spPr>
              <a:xfrm>
                <a:off x="-5886818"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49" name="Google Shape;11149;p43"/>
              <p:cNvSpPr/>
              <p:nvPr/>
            </p:nvSpPr>
            <p:spPr>
              <a:xfrm>
                <a:off x="-5543572"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0" name="Google Shape;11150;p43"/>
              <p:cNvSpPr/>
              <p:nvPr/>
            </p:nvSpPr>
            <p:spPr>
              <a:xfrm>
                <a:off x="-6744954"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1" name="Google Shape;11151;p43"/>
              <p:cNvSpPr/>
              <p:nvPr/>
            </p:nvSpPr>
            <p:spPr>
              <a:xfrm>
                <a:off x="-6401708"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2" name="Google Shape;11152;p43"/>
              <p:cNvSpPr/>
              <p:nvPr/>
            </p:nvSpPr>
            <p:spPr>
              <a:xfrm>
                <a:off x="-6573309"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3" name="Google Shape;11153;p43"/>
              <p:cNvSpPr/>
              <p:nvPr/>
            </p:nvSpPr>
            <p:spPr>
              <a:xfrm>
                <a:off x="-7259801"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4" name="Google Shape;11154;p43"/>
              <p:cNvSpPr/>
              <p:nvPr/>
            </p:nvSpPr>
            <p:spPr>
              <a:xfrm>
                <a:off x="-7088199" y="462300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5" name="Google Shape;11155;p43"/>
              <p:cNvSpPr/>
              <p:nvPr/>
            </p:nvSpPr>
            <p:spPr>
              <a:xfrm>
                <a:off x="-7088199" y="445136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6" name="Google Shape;11156;p43"/>
              <p:cNvSpPr/>
              <p:nvPr/>
            </p:nvSpPr>
            <p:spPr>
              <a:xfrm>
                <a:off x="-7088199" y="427976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7" name="Google Shape;11157;p43"/>
              <p:cNvSpPr/>
              <p:nvPr/>
            </p:nvSpPr>
            <p:spPr>
              <a:xfrm>
                <a:off x="-7259801"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8" name="Google Shape;11158;p43"/>
              <p:cNvSpPr/>
              <p:nvPr/>
            </p:nvSpPr>
            <p:spPr>
              <a:xfrm>
                <a:off x="-7774691" y="4108116"/>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59" name="Google Shape;11159;p43"/>
              <p:cNvSpPr/>
              <p:nvPr/>
            </p:nvSpPr>
            <p:spPr>
              <a:xfrm>
                <a:off x="-7774691" y="393651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60" name="Google Shape;11160;p43"/>
              <p:cNvSpPr/>
              <p:nvPr/>
            </p:nvSpPr>
            <p:spPr>
              <a:xfrm>
                <a:off x="-7088199" y="393651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61" name="Google Shape;11161;p43"/>
              <p:cNvSpPr/>
              <p:nvPr/>
            </p:nvSpPr>
            <p:spPr>
              <a:xfrm>
                <a:off x="-9147673" y="376487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dk1">
                  <a:alpha val="12941"/>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cxnSp>
        <p:nvCxnSpPr>
          <p:cNvPr id="11162" name="Google Shape;11162;p43"/>
          <p:cNvCxnSpPr/>
          <p:nvPr/>
        </p:nvCxnSpPr>
        <p:spPr>
          <a:xfrm>
            <a:off x="4199860" y="2437708"/>
            <a:ext cx="3351811" cy="0"/>
          </a:xfrm>
          <a:prstGeom prst="straightConnector1">
            <a:avLst/>
          </a:prstGeom>
          <a:noFill/>
          <a:ln w="9525" cap="flat" cmpd="sng">
            <a:solidFill>
              <a:schemeClr val="accent1"/>
            </a:solidFill>
            <a:prstDash val="solid"/>
            <a:miter lim="800000"/>
            <a:headEnd type="none" w="sm" len="sm"/>
            <a:tailEnd type="none" w="sm" len="sm"/>
          </a:ln>
        </p:spPr>
      </p:cxnSp>
      <p:grpSp>
        <p:nvGrpSpPr>
          <p:cNvPr id="11163" name="Google Shape;11163;p43"/>
          <p:cNvGrpSpPr/>
          <p:nvPr/>
        </p:nvGrpSpPr>
        <p:grpSpPr>
          <a:xfrm>
            <a:off x="334963" y="1196976"/>
            <a:ext cx="3767138" cy="5106354"/>
            <a:chOff x="334963" y="1196976"/>
            <a:chExt cx="3767138" cy="5106354"/>
          </a:xfrm>
        </p:grpSpPr>
        <p:sp>
          <p:nvSpPr>
            <p:cNvPr id="11164" name="Google Shape;11164;p43"/>
            <p:cNvSpPr/>
            <p:nvPr/>
          </p:nvSpPr>
          <p:spPr>
            <a:xfrm>
              <a:off x="334963" y="1196976"/>
              <a:ext cx="3767138" cy="5106354"/>
            </a:xfrm>
            <a:prstGeom prst="rect">
              <a:avLst/>
            </a:prstGeom>
            <a:solidFill>
              <a:srgbClr val="AACD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11165" name="Google Shape;11165;p43"/>
            <p:cNvGrpSpPr/>
            <p:nvPr/>
          </p:nvGrpSpPr>
          <p:grpSpPr>
            <a:xfrm>
              <a:off x="407936" y="4516175"/>
              <a:ext cx="3657125" cy="1719201"/>
              <a:chOff x="-9142315" y="5680184"/>
              <a:chExt cx="3886588" cy="1827070"/>
            </a:xfrm>
          </p:grpSpPr>
          <p:sp>
            <p:nvSpPr>
              <p:cNvPr id="11166" name="Google Shape;11166;p43"/>
              <p:cNvSpPr/>
              <p:nvPr/>
            </p:nvSpPr>
            <p:spPr>
              <a:xfrm rot="-5400000">
                <a:off x="-6053104" y="6709878"/>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67" name="Google Shape;11167;p43"/>
              <p:cNvSpPr/>
              <p:nvPr/>
            </p:nvSpPr>
            <p:spPr>
              <a:xfrm rot="-5400000">
                <a:off x="-6053061" y="6538276"/>
                <a:ext cx="110842" cy="110842"/>
              </a:xfrm>
              <a:custGeom>
                <a:avLst/>
                <a:gdLst/>
                <a:ahLst/>
                <a:cxnLst/>
                <a:rect l="l" t="t" r="r" b="b"/>
                <a:pathLst>
                  <a:path w="110842" h="110842" extrusionOk="0">
                    <a:moveTo>
                      <a:pt x="6355" y="588"/>
                    </a:moveTo>
                    <a:lnTo>
                      <a:pt x="117198" y="588"/>
                    </a:lnTo>
                    <a:lnTo>
                      <a:pt x="117198" y="111431"/>
                    </a:lnTo>
                    <a:lnTo>
                      <a:pt x="6355" y="111431"/>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68" name="Google Shape;11168;p43"/>
              <p:cNvSpPr/>
              <p:nvPr/>
            </p:nvSpPr>
            <p:spPr>
              <a:xfrm>
                <a:off x="-5366569"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69" name="Google Shape;11169;p43"/>
              <p:cNvSpPr/>
              <p:nvPr/>
            </p:nvSpPr>
            <p:spPr>
              <a:xfrm>
                <a:off x="-5538214"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0" name="Google Shape;11170;p43"/>
              <p:cNvSpPr/>
              <p:nvPr/>
            </p:nvSpPr>
            <p:spPr>
              <a:xfrm>
                <a:off x="-9142272"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1" name="Google Shape;11171;p43"/>
              <p:cNvSpPr/>
              <p:nvPr/>
            </p:nvSpPr>
            <p:spPr>
              <a:xfrm>
                <a:off x="-8970671"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2" name="Google Shape;11172;p43"/>
              <p:cNvSpPr/>
              <p:nvPr/>
            </p:nvSpPr>
            <p:spPr>
              <a:xfrm>
                <a:off x="-8799026"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3" name="Google Shape;11173;p43"/>
              <p:cNvSpPr/>
              <p:nvPr/>
            </p:nvSpPr>
            <p:spPr>
              <a:xfrm>
                <a:off x="-8627425"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4" name="Google Shape;11174;p43"/>
              <p:cNvSpPr/>
              <p:nvPr/>
            </p:nvSpPr>
            <p:spPr>
              <a:xfrm>
                <a:off x="-8455780"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5" name="Google Shape;11175;p43"/>
              <p:cNvSpPr/>
              <p:nvPr/>
            </p:nvSpPr>
            <p:spPr>
              <a:xfrm>
                <a:off x="-8284179"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6" name="Google Shape;11176;p43"/>
              <p:cNvSpPr/>
              <p:nvPr/>
            </p:nvSpPr>
            <p:spPr>
              <a:xfrm>
                <a:off x="-8112535"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7" name="Google Shape;11177;p43"/>
              <p:cNvSpPr/>
              <p:nvPr/>
            </p:nvSpPr>
            <p:spPr>
              <a:xfrm>
                <a:off x="-7940934"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8" name="Google Shape;11178;p43"/>
              <p:cNvSpPr/>
              <p:nvPr/>
            </p:nvSpPr>
            <p:spPr>
              <a:xfrm>
                <a:off x="-7769289"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79" name="Google Shape;11179;p43"/>
              <p:cNvSpPr/>
              <p:nvPr/>
            </p:nvSpPr>
            <p:spPr>
              <a:xfrm>
                <a:off x="-7597688"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0" name="Google Shape;11180;p43"/>
              <p:cNvSpPr/>
              <p:nvPr/>
            </p:nvSpPr>
            <p:spPr>
              <a:xfrm>
                <a:off x="-7426043"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1" name="Google Shape;11181;p43"/>
              <p:cNvSpPr/>
              <p:nvPr/>
            </p:nvSpPr>
            <p:spPr>
              <a:xfrm>
                <a:off x="-7254442"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2" name="Google Shape;11182;p43"/>
              <p:cNvSpPr/>
              <p:nvPr/>
            </p:nvSpPr>
            <p:spPr>
              <a:xfrm>
                <a:off x="-7082798"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3" name="Google Shape;11183;p43"/>
              <p:cNvSpPr/>
              <p:nvPr/>
            </p:nvSpPr>
            <p:spPr>
              <a:xfrm>
                <a:off x="-6911196"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4" name="Google Shape;11184;p43"/>
              <p:cNvSpPr/>
              <p:nvPr/>
            </p:nvSpPr>
            <p:spPr>
              <a:xfrm>
                <a:off x="-6396306" y="7396412"/>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5" name="Google Shape;11185;p43"/>
              <p:cNvSpPr/>
              <p:nvPr/>
            </p:nvSpPr>
            <p:spPr>
              <a:xfrm>
                <a:off x="-9142272"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6" name="Google Shape;11186;p43"/>
              <p:cNvSpPr/>
              <p:nvPr/>
            </p:nvSpPr>
            <p:spPr>
              <a:xfrm>
                <a:off x="-8970671"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7" name="Google Shape;11187;p43"/>
              <p:cNvSpPr/>
              <p:nvPr/>
            </p:nvSpPr>
            <p:spPr>
              <a:xfrm>
                <a:off x="-8799026"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8" name="Google Shape;11188;p43"/>
              <p:cNvSpPr/>
              <p:nvPr/>
            </p:nvSpPr>
            <p:spPr>
              <a:xfrm>
                <a:off x="-8627425"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89" name="Google Shape;11189;p43"/>
              <p:cNvSpPr/>
              <p:nvPr/>
            </p:nvSpPr>
            <p:spPr>
              <a:xfrm>
                <a:off x="-8455780"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0" name="Google Shape;11190;p43"/>
              <p:cNvSpPr/>
              <p:nvPr/>
            </p:nvSpPr>
            <p:spPr>
              <a:xfrm>
                <a:off x="-8284179"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1" name="Google Shape;11191;p43"/>
              <p:cNvSpPr/>
              <p:nvPr/>
            </p:nvSpPr>
            <p:spPr>
              <a:xfrm>
                <a:off x="-8112535"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2" name="Google Shape;11192;p43"/>
              <p:cNvSpPr/>
              <p:nvPr/>
            </p:nvSpPr>
            <p:spPr>
              <a:xfrm>
                <a:off x="-7940934"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3" name="Google Shape;11193;p43"/>
              <p:cNvSpPr/>
              <p:nvPr/>
            </p:nvSpPr>
            <p:spPr>
              <a:xfrm>
                <a:off x="-7769289"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4" name="Google Shape;11194;p43"/>
              <p:cNvSpPr/>
              <p:nvPr/>
            </p:nvSpPr>
            <p:spPr>
              <a:xfrm>
                <a:off x="-7597688"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5" name="Google Shape;11195;p43"/>
              <p:cNvSpPr/>
              <p:nvPr/>
            </p:nvSpPr>
            <p:spPr>
              <a:xfrm>
                <a:off x="-7426043"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6" name="Google Shape;11196;p43"/>
              <p:cNvSpPr/>
              <p:nvPr/>
            </p:nvSpPr>
            <p:spPr>
              <a:xfrm>
                <a:off x="-7254442"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7" name="Google Shape;11197;p43"/>
              <p:cNvSpPr/>
              <p:nvPr/>
            </p:nvSpPr>
            <p:spPr>
              <a:xfrm>
                <a:off x="-7082798"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8" name="Google Shape;11198;p43"/>
              <p:cNvSpPr/>
              <p:nvPr/>
            </p:nvSpPr>
            <p:spPr>
              <a:xfrm>
                <a:off x="-6911196"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199" name="Google Shape;11199;p43"/>
              <p:cNvSpPr/>
              <p:nvPr/>
            </p:nvSpPr>
            <p:spPr>
              <a:xfrm>
                <a:off x="-6739552"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0" name="Google Shape;11200;p43"/>
              <p:cNvSpPr/>
              <p:nvPr/>
            </p:nvSpPr>
            <p:spPr>
              <a:xfrm>
                <a:off x="-6567951"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1" name="Google Shape;11201;p43"/>
              <p:cNvSpPr/>
              <p:nvPr/>
            </p:nvSpPr>
            <p:spPr>
              <a:xfrm>
                <a:off x="-6396306"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2" name="Google Shape;11202;p43"/>
              <p:cNvSpPr/>
              <p:nvPr/>
            </p:nvSpPr>
            <p:spPr>
              <a:xfrm>
                <a:off x="-6224705" y="722481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3" name="Google Shape;11203;p43"/>
              <p:cNvSpPr/>
              <p:nvPr/>
            </p:nvSpPr>
            <p:spPr>
              <a:xfrm>
                <a:off x="-9142272"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4" name="Google Shape;11204;p43"/>
              <p:cNvSpPr/>
              <p:nvPr/>
            </p:nvSpPr>
            <p:spPr>
              <a:xfrm>
                <a:off x="-8970671"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5" name="Google Shape;11205;p43"/>
              <p:cNvSpPr/>
              <p:nvPr/>
            </p:nvSpPr>
            <p:spPr>
              <a:xfrm>
                <a:off x="-8799026"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6" name="Google Shape;11206;p43"/>
              <p:cNvSpPr/>
              <p:nvPr/>
            </p:nvSpPr>
            <p:spPr>
              <a:xfrm>
                <a:off x="-8627425"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7" name="Google Shape;11207;p43"/>
              <p:cNvSpPr/>
              <p:nvPr/>
            </p:nvSpPr>
            <p:spPr>
              <a:xfrm>
                <a:off x="-8455780"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8" name="Google Shape;11208;p43"/>
              <p:cNvSpPr/>
              <p:nvPr/>
            </p:nvSpPr>
            <p:spPr>
              <a:xfrm>
                <a:off x="-8284179"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09" name="Google Shape;11209;p43"/>
              <p:cNvSpPr/>
              <p:nvPr/>
            </p:nvSpPr>
            <p:spPr>
              <a:xfrm>
                <a:off x="-8112535"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0" name="Google Shape;11210;p43"/>
              <p:cNvSpPr/>
              <p:nvPr/>
            </p:nvSpPr>
            <p:spPr>
              <a:xfrm>
                <a:off x="-7940934"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1" name="Google Shape;11211;p43"/>
              <p:cNvSpPr/>
              <p:nvPr/>
            </p:nvSpPr>
            <p:spPr>
              <a:xfrm>
                <a:off x="-7769289"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2" name="Google Shape;11212;p43"/>
              <p:cNvSpPr/>
              <p:nvPr/>
            </p:nvSpPr>
            <p:spPr>
              <a:xfrm>
                <a:off x="-7426043"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3" name="Google Shape;11213;p43"/>
              <p:cNvSpPr/>
              <p:nvPr/>
            </p:nvSpPr>
            <p:spPr>
              <a:xfrm>
                <a:off x="-6567951"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4" name="Google Shape;11214;p43"/>
              <p:cNvSpPr/>
              <p:nvPr/>
            </p:nvSpPr>
            <p:spPr>
              <a:xfrm>
                <a:off x="-6224705" y="7053167"/>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5" name="Google Shape;11215;p43"/>
              <p:cNvSpPr/>
              <p:nvPr/>
            </p:nvSpPr>
            <p:spPr>
              <a:xfrm>
                <a:off x="-9142272"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6" name="Google Shape;11216;p43"/>
              <p:cNvSpPr/>
              <p:nvPr/>
            </p:nvSpPr>
            <p:spPr>
              <a:xfrm>
                <a:off x="-8970671"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7" name="Google Shape;11217;p43"/>
              <p:cNvSpPr/>
              <p:nvPr/>
            </p:nvSpPr>
            <p:spPr>
              <a:xfrm>
                <a:off x="-8799026"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8" name="Google Shape;11218;p43"/>
              <p:cNvSpPr/>
              <p:nvPr/>
            </p:nvSpPr>
            <p:spPr>
              <a:xfrm>
                <a:off x="-8455780"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19" name="Google Shape;11219;p43"/>
              <p:cNvSpPr/>
              <p:nvPr/>
            </p:nvSpPr>
            <p:spPr>
              <a:xfrm>
                <a:off x="-8284179"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0" name="Google Shape;11220;p43"/>
              <p:cNvSpPr/>
              <p:nvPr/>
            </p:nvSpPr>
            <p:spPr>
              <a:xfrm>
                <a:off x="-7940934"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1" name="Google Shape;11221;p43"/>
              <p:cNvSpPr/>
              <p:nvPr/>
            </p:nvSpPr>
            <p:spPr>
              <a:xfrm>
                <a:off x="-7769289"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2" name="Google Shape;11222;p43"/>
              <p:cNvSpPr/>
              <p:nvPr/>
            </p:nvSpPr>
            <p:spPr>
              <a:xfrm>
                <a:off x="-7082798"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3" name="Google Shape;11223;p43"/>
              <p:cNvSpPr/>
              <p:nvPr/>
            </p:nvSpPr>
            <p:spPr>
              <a:xfrm>
                <a:off x="-6739552" y="688156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4" name="Google Shape;11224;p43"/>
              <p:cNvSpPr/>
              <p:nvPr/>
            </p:nvSpPr>
            <p:spPr>
              <a:xfrm>
                <a:off x="-9142272"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5" name="Google Shape;11225;p43"/>
              <p:cNvSpPr/>
              <p:nvPr/>
            </p:nvSpPr>
            <p:spPr>
              <a:xfrm>
                <a:off x="-8970671"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6" name="Google Shape;11226;p43"/>
              <p:cNvSpPr/>
              <p:nvPr/>
            </p:nvSpPr>
            <p:spPr>
              <a:xfrm>
                <a:off x="-8799026"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7" name="Google Shape;11227;p43"/>
              <p:cNvSpPr/>
              <p:nvPr/>
            </p:nvSpPr>
            <p:spPr>
              <a:xfrm>
                <a:off x="-8627425"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8" name="Google Shape;11228;p43"/>
              <p:cNvSpPr/>
              <p:nvPr/>
            </p:nvSpPr>
            <p:spPr>
              <a:xfrm>
                <a:off x="-8455780"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29" name="Google Shape;11229;p43"/>
              <p:cNvSpPr/>
              <p:nvPr/>
            </p:nvSpPr>
            <p:spPr>
              <a:xfrm>
                <a:off x="-8284179"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0" name="Google Shape;11230;p43"/>
              <p:cNvSpPr/>
              <p:nvPr/>
            </p:nvSpPr>
            <p:spPr>
              <a:xfrm>
                <a:off x="-8112535"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1" name="Google Shape;11231;p43"/>
              <p:cNvSpPr/>
              <p:nvPr/>
            </p:nvSpPr>
            <p:spPr>
              <a:xfrm>
                <a:off x="-7940934"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2" name="Google Shape;11232;p43"/>
              <p:cNvSpPr/>
              <p:nvPr/>
            </p:nvSpPr>
            <p:spPr>
              <a:xfrm>
                <a:off x="-7597688"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3" name="Google Shape;11233;p43"/>
              <p:cNvSpPr/>
              <p:nvPr/>
            </p:nvSpPr>
            <p:spPr>
              <a:xfrm>
                <a:off x="-6567951" y="6709921"/>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4" name="Google Shape;11234;p43"/>
              <p:cNvSpPr/>
              <p:nvPr/>
            </p:nvSpPr>
            <p:spPr>
              <a:xfrm>
                <a:off x="-9142272"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5" name="Google Shape;11235;p43"/>
              <p:cNvSpPr/>
              <p:nvPr/>
            </p:nvSpPr>
            <p:spPr>
              <a:xfrm>
                <a:off x="-8970671"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6" name="Google Shape;11236;p43"/>
              <p:cNvSpPr/>
              <p:nvPr/>
            </p:nvSpPr>
            <p:spPr>
              <a:xfrm>
                <a:off x="-8799026"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7" name="Google Shape;11237;p43"/>
              <p:cNvSpPr/>
              <p:nvPr/>
            </p:nvSpPr>
            <p:spPr>
              <a:xfrm>
                <a:off x="-8627425"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8" name="Google Shape;11238;p43"/>
              <p:cNvSpPr/>
              <p:nvPr/>
            </p:nvSpPr>
            <p:spPr>
              <a:xfrm>
                <a:off x="-8455780"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39" name="Google Shape;11239;p43"/>
              <p:cNvSpPr/>
              <p:nvPr/>
            </p:nvSpPr>
            <p:spPr>
              <a:xfrm>
                <a:off x="-8284179"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0" name="Google Shape;11240;p43"/>
              <p:cNvSpPr/>
              <p:nvPr/>
            </p:nvSpPr>
            <p:spPr>
              <a:xfrm>
                <a:off x="-8112535"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1" name="Google Shape;11241;p43"/>
              <p:cNvSpPr/>
              <p:nvPr/>
            </p:nvSpPr>
            <p:spPr>
              <a:xfrm>
                <a:off x="-7426043" y="6538320"/>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2" name="Google Shape;11242;p43"/>
              <p:cNvSpPr/>
              <p:nvPr/>
            </p:nvSpPr>
            <p:spPr>
              <a:xfrm>
                <a:off x="-9142315"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3" name="Google Shape;11243;p43"/>
              <p:cNvSpPr/>
              <p:nvPr/>
            </p:nvSpPr>
            <p:spPr>
              <a:xfrm>
                <a:off x="-8970671"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4" name="Google Shape;11244;p43"/>
              <p:cNvSpPr/>
              <p:nvPr/>
            </p:nvSpPr>
            <p:spPr>
              <a:xfrm>
                <a:off x="-8799026"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5" name="Google Shape;11245;p43"/>
              <p:cNvSpPr/>
              <p:nvPr/>
            </p:nvSpPr>
            <p:spPr>
              <a:xfrm>
                <a:off x="-8455780"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6" name="Google Shape;11246;p43"/>
              <p:cNvSpPr/>
              <p:nvPr/>
            </p:nvSpPr>
            <p:spPr>
              <a:xfrm>
                <a:off x="-8284179"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7" name="Google Shape;11247;p43"/>
              <p:cNvSpPr/>
              <p:nvPr/>
            </p:nvSpPr>
            <p:spPr>
              <a:xfrm>
                <a:off x="-8112535"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8" name="Google Shape;11248;p43"/>
              <p:cNvSpPr/>
              <p:nvPr/>
            </p:nvSpPr>
            <p:spPr>
              <a:xfrm>
                <a:off x="-7940934"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49" name="Google Shape;11249;p43"/>
              <p:cNvSpPr/>
              <p:nvPr/>
            </p:nvSpPr>
            <p:spPr>
              <a:xfrm>
                <a:off x="-7769289"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0" name="Google Shape;11250;p43"/>
              <p:cNvSpPr/>
              <p:nvPr/>
            </p:nvSpPr>
            <p:spPr>
              <a:xfrm>
                <a:off x="-7082798"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1" name="Google Shape;11251;p43"/>
              <p:cNvSpPr/>
              <p:nvPr/>
            </p:nvSpPr>
            <p:spPr>
              <a:xfrm>
                <a:off x="-6911196"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2" name="Google Shape;11252;p43"/>
              <p:cNvSpPr/>
              <p:nvPr/>
            </p:nvSpPr>
            <p:spPr>
              <a:xfrm>
                <a:off x="-6739552" y="6366675"/>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3" name="Google Shape;11253;p43"/>
              <p:cNvSpPr/>
              <p:nvPr/>
            </p:nvSpPr>
            <p:spPr>
              <a:xfrm>
                <a:off x="-8970671"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4" name="Google Shape;11254;p43"/>
              <p:cNvSpPr/>
              <p:nvPr/>
            </p:nvSpPr>
            <p:spPr>
              <a:xfrm>
                <a:off x="-8799026"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5" name="Google Shape;11255;p43"/>
              <p:cNvSpPr/>
              <p:nvPr/>
            </p:nvSpPr>
            <p:spPr>
              <a:xfrm>
                <a:off x="-8627425"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6" name="Google Shape;11256;p43"/>
              <p:cNvSpPr/>
              <p:nvPr/>
            </p:nvSpPr>
            <p:spPr>
              <a:xfrm>
                <a:off x="-8455780"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7" name="Google Shape;11257;p43"/>
              <p:cNvSpPr/>
              <p:nvPr/>
            </p:nvSpPr>
            <p:spPr>
              <a:xfrm>
                <a:off x="-8112535"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8" name="Google Shape;11258;p43"/>
              <p:cNvSpPr/>
              <p:nvPr/>
            </p:nvSpPr>
            <p:spPr>
              <a:xfrm>
                <a:off x="-7940934" y="619507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59" name="Google Shape;11259;p43"/>
              <p:cNvSpPr/>
              <p:nvPr/>
            </p:nvSpPr>
            <p:spPr>
              <a:xfrm>
                <a:off x="-9142315"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0" name="Google Shape;11260;p43"/>
              <p:cNvSpPr/>
              <p:nvPr/>
            </p:nvSpPr>
            <p:spPr>
              <a:xfrm>
                <a:off x="-8970671"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1" name="Google Shape;11261;p43"/>
              <p:cNvSpPr/>
              <p:nvPr/>
            </p:nvSpPr>
            <p:spPr>
              <a:xfrm>
                <a:off x="-8799026"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2" name="Google Shape;11262;p43"/>
              <p:cNvSpPr/>
              <p:nvPr/>
            </p:nvSpPr>
            <p:spPr>
              <a:xfrm>
                <a:off x="-8627425"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3" name="Google Shape;11263;p43"/>
              <p:cNvSpPr/>
              <p:nvPr/>
            </p:nvSpPr>
            <p:spPr>
              <a:xfrm>
                <a:off x="-8455780"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4" name="Google Shape;11264;p43"/>
              <p:cNvSpPr/>
              <p:nvPr/>
            </p:nvSpPr>
            <p:spPr>
              <a:xfrm>
                <a:off x="-8284179"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5" name="Google Shape;11265;p43"/>
              <p:cNvSpPr/>
              <p:nvPr/>
            </p:nvSpPr>
            <p:spPr>
              <a:xfrm>
                <a:off x="-7426043"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6" name="Google Shape;11266;p43"/>
              <p:cNvSpPr/>
              <p:nvPr/>
            </p:nvSpPr>
            <p:spPr>
              <a:xfrm>
                <a:off x="-6911196" y="6023429"/>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7" name="Google Shape;11267;p43"/>
              <p:cNvSpPr/>
              <p:nvPr/>
            </p:nvSpPr>
            <p:spPr>
              <a:xfrm>
                <a:off x="-9142315"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8" name="Google Shape;11268;p43"/>
              <p:cNvSpPr/>
              <p:nvPr/>
            </p:nvSpPr>
            <p:spPr>
              <a:xfrm>
                <a:off x="-8970671"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69" name="Google Shape;11269;p43"/>
              <p:cNvSpPr/>
              <p:nvPr/>
            </p:nvSpPr>
            <p:spPr>
              <a:xfrm>
                <a:off x="-8627425"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0" name="Google Shape;11270;p43"/>
              <p:cNvSpPr/>
              <p:nvPr/>
            </p:nvSpPr>
            <p:spPr>
              <a:xfrm>
                <a:off x="-8112535"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1" name="Google Shape;11271;p43"/>
              <p:cNvSpPr/>
              <p:nvPr/>
            </p:nvSpPr>
            <p:spPr>
              <a:xfrm>
                <a:off x="-7597688"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2" name="Google Shape;11272;p43"/>
              <p:cNvSpPr/>
              <p:nvPr/>
            </p:nvSpPr>
            <p:spPr>
              <a:xfrm>
                <a:off x="-7254442"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3" name="Google Shape;11273;p43"/>
              <p:cNvSpPr/>
              <p:nvPr/>
            </p:nvSpPr>
            <p:spPr>
              <a:xfrm>
                <a:off x="-7082798"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4" name="Google Shape;11274;p43"/>
              <p:cNvSpPr/>
              <p:nvPr/>
            </p:nvSpPr>
            <p:spPr>
              <a:xfrm>
                <a:off x="-6739552"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5" name="Google Shape;11275;p43"/>
              <p:cNvSpPr/>
              <p:nvPr/>
            </p:nvSpPr>
            <p:spPr>
              <a:xfrm>
                <a:off x="-6567951" y="5851828"/>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6" name="Google Shape;11276;p43"/>
              <p:cNvSpPr/>
              <p:nvPr/>
            </p:nvSpPr>
            <p:spPr>
              <a:xfrm>
                <a:off x="-9142315"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7" name="Google Shape;11277;p43"/>
              <p:cNvSpPr/>
              <p:nvPr/>
            </p:nvSpPr>
            <p:spPr>
              <a:xfrm>
                <a:off x="-8970671"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8" name="Google Shape;11278;p43"/>
              <p:cNvSpPr/>
              <p:nvPr/>
            </p:nvSpPr>
            <p:spPr>
              <a:xfrm>
                <a:off x="-8799026"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79" name="Google Shape;11279;p43"/>
              <p:cNvSpPr/>
              <p:nvPr/>
            </p:nvSpPr>
            <p:spPr>
              <a:xfrm>
                <a:off x="-8627425"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80" name="Google Shape;11280;p43"/>
              <p:cNvSpPr/>
              <p:nvPr/>
            </p:nvSpPr>
            <p:spPr>
              <a:xfrm>
                <a:off x="-7940934"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81" name="Google Shape;11281;p43"/>
              <p:cNvSpPr/>
              <p:nvPr/>
            </p:nvSpPr>
            <p:spPr>
              <a:xfrm>
                <a:off x="-7597688"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82" name="Google Shape;11282;p43"/>
              <p:cNvSpPr/>
              <p:nvPr/>
            </p:nvSpPr>
            <p:spPr>
              <a:xfrm>
                <a:off x="-7426043"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283" name="Google Shape;11283;p43"/>
              <p:cNvSpPr/>
              <p:nvPr/>
            </p:nvSpPr>
            <p:spPr>
              <a:xfrm>
                <a:off x="-6567951" y="5680184"/>
                <a:ext cx="110842" cy="110842"/>
              </a:xfrm>
              <a:custGeom>
                <a:avLst/>
                <a:gdLst/>
                <a:ahLst/>
                <a:cxnLst/>
                <a:rect l="l" t="t" r="r" b="b"/>
                <a:pathLst>
                  <a:path w="110842" h="110842" extrusionOk="0">
                    <a:moveTo>
                      <a:pt x="0" y="0"/>
                    </a:moveTo>
                    <a:lnTo>
                      <a:pt x="110843" y="0"/>
                    </a:lnTo>
                    <a:lnTo>
                      <a:pt x="110843" y="110843"/>
                    </a:lnTo>
                    <a:lnTo>
                      <a:pt x="0" y="110843"/>
                    </a:lnTo>
                    <a:close/>
                  </a:path>
                </a:pathLst>
              </a:custGeom>
              <a:solidFill>
                <a:schemeClr val="accent5">
                  <a:alpha val="26666"/>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cxnSp>
        <p:nvCxnSpPr>
          <p:cNvPr id="11284" name="Google Shape;11284;p43"/>
          <p:cNvCxnSpPr/>
          <p:nvPr/>
        </p:nvCxnSpPr>
        <p:spPr>
          <a:xfrm>
            <a:off x="329609" y="2437708"/>
            <a:ext cx="3400618" cy="0"/>
          </a:xfrm>
          <a:prstGeom prst="straightConnector1">
            <a:avLst/>
          </a:prstGeom>
          <a:noFill/>
          <a:ln w="9525" cap="flat" cmpd="sng">
            <a:solidFill>
              <a:srgbClr val="1A425C"/>
            </a:solidFill>
            <a:prstDash val="solid"/>
            <a:miter lim="800000"/>
            <a:headEnd type="none" w="sm" len="sm"/>
            <a:tailEnd type="none" w="sm" len="sm"/>
          </a:ln>
        </p:spPr>
      </p:cxnSp>
      <p:sp>
        <p:nvSpPr>
          <p:cNvPr id="11285" name="Google Shape;11285;p43"/>
          <p:cNvSpPr txBox="1">
            <a:spLocks noGrp="1"/>
          </p:cNvSpPr>
          <p:nvPr>
            <p:ph type="title"/>
          </p:nvPr>
        </p:nvSpPr>
        <p:spPr>
          <a:xfrm>
            <a:off x="334963" y="0"/>
            <a:ext cx="7341148" cy="1018096"/>
          </a:xfrm>
          <a:prstGeom prst="rect">
            <a:avLst/>
          </a:prstGeom>
          <a:solidFill>
            <a:schemeClr val="accent1"/>
          </a:solidFill>
          <a:ln>
            <a:noFill/>
          </a:ln>
        </p:spPr>
        <p:txBody>
          <a:bodyPr spcFirstLastPara="1" wrap="square" lIns="180000" tIns="540000" rIns="72000" bIns="180000" anchor="b" anchorCtr="0">
            <a:noAutofit/>
          </a:bodyPr>
          <a:lstStyle/>
          <a:p>
            <a:pPr marL="0" lvl="0" indent="0" algn="l" rtl="0">
              <a:lnSpc>
                <a:spcPct val="90000"/>
              </a:lnSpc>
              <a:spcBef>
                <a:spcPts val="0"/>
              </a:spcBef>
              <a:spcAft>
                <a:spcPts val="0"/>
              </a:spcAft>
              <a:buClr>
                <a:schemeClr val="lt1"/>
              </a:buClr>
              <a:buSzPts val="2000"/>
              <a:buFont typeface="Arial"/>
              <a:buNone/>
            </a:pPr>
            <a:r>
              <a:rPr lang="en-GB" sz="2400" dirty="0"/>
              <a:t>Deep dive 2: Who wants to be reskilled?</a:t>
            </a:r>
            <a:endParaRPr sz="2400" dirty="0"/>
          </a:p>
        </p:txBody>
      </p:sp>
      <p:sp>
        <p:nvSpPr>
          <p:cNvPr id="11286" name="Google Shape;11286;p43"/>
          <p:cNvSpPr txBox="1"/>
          <p:nvPr/>
        </p:nvSpPr>
        <p:spPr>
          <a:xfrm>
            <a:off x="348950" y="2628445"/>
            <a:ext cx="3598408" cy="3803911"/>
          </a:xfrm>
          <a:prstGeom prst="rect">
            <a:avLst/>
          </a:prstGeom>
          <a:noFill/>
          <a:ln>
            <a:noFill/>
          </a:ln>
        </p:spPr>
        <p:txBody>
          <a:bodyPr spcFirstLastPara="1" wrap="square" lIns="180000" tIns="45700" rIns="91425" bIns="45700" anchor="t" anchorCtr="0">
            <a:normAutofit/>
          </a:bodyPr>
          <a:lstStyle/>
          <a:p>
            <a:pPr lvl="0"/>
            <a:r>
              <a:rPr lang="en-GB" sz="1600" dirty="0">
                <a:solidFill>
                  <a:srgbClr val="1A425C"/>
                </a:solidFill>
              </a:rPr>
              <a:t>Companies face difficulties in motivating workers to take part in upskilling and reskilling programs, even when programs benefit them (Stanton et al, 2022)</a:t>
            </a:r>
          </a:p>
          <a:p>
            <a:pPr lvl="0"/>
            <a:endParaRPr lang="en-GB" sz="1600" b="1" dirty="0">
              <a:solidFill>
                <a:srgbClr val="1A425C"/>
              </a:solidFill>
            </a:endParaRPr>
          </a:p>
          <a:p>
            <a:pPr lvl="0"/>
            <a:r>
              <a:rPr lang="en-GB" sz="1600" b="1" dirty="0">
                <a:solidFill>
                  <a:srgbClr val="1A425C"/>
                </a:solidFill>
              </a:rPr>
              <a:t>What motivates workers to take part in a reskilling program?</a:t>
            </a:r>
          </a:p>
          <a:p>
            <a:pPr lvl="0"/>
            <a:endParaRPr lang="en-GB" sz="1600" b="1" dirty="0">
              <a:solidFill>
                <a:srgbClr val="1A425C"/>
              </a:solidFill>
            </a:endParaRPr>
          </a:p>
          <a:p>
            <a:pPr lvl="0"/>
            <a:r>
              <a:rPr lang="en-GB" sz="1600" dirty="0">
                <a:solidFill>
                  <a:srgbClr val="1A425C"/>
                </a:solidFill>
              </a:rPr>
              <a:t>Possible friction:</a:t>
            </a:r>
          </a:p>
          <a:p>
            <a:pPr marL="285750" lvl="0" indent="-285750">
              <a:buFontTx/>
              <a:buChar char="-"/>
            </a:pPr>
            <a:r>
              <a:rPr lang="en-GB" sz="1600" dirty="0">
                <a:solidFill>
                  <a:srgbClr val="1A425C"/>
                </a:solidFill>
              </a:rPr>
              <a:t>Information</a:t>
            </a:r>
          </a:p>
          <a:p>
            <a:pPr marL="285750" lvl="0" indent="-285750">
              <a:buFontTx/>
              <a:buChar char="-"/>
            </a:pPr>
            <a:r>
              <a:rPr lang="en-GB" sz="1600" dirty="0">
                <a:solidFill>
                  <a:srgbClr val="1A425C"/>
                </a:solidFill>
              </a:rPr>
              <a:t>Economic opportunities</a:t>
            </a:r>
          </a:p>
          <a:p>
            <a:pPr marL="285750" lvl="0" indent="-285750">
              <a:buFontTx/>
              <a:buChar char="-"/>
            </a:pPr>
            <a:r>
              <a:rPr lang="en-GB" sz="1600" dirty="0">
                <a:solidFill>
                  <a:srgbClr val="1A425C"/>
                </a:solidFill>
              </a:rPr>
              <a:t>Self-identification with new jobs</a:t>
            </a:r>
          </a:p>
          <a:p>
            <a:pPr lvl="0"/>
            <a:endParaRPr lang="en-GB" sz="1600" dirty="0">
              <a:solidFill>
                <a:srgbClr val="1A425C"/>
              </a:solidFill>
            </a:endParaRPr>
          </a:p>
        </p:txBody>
      </p:sp>
      <p:sp>
        <p:nvSpPr>
          <p:cNvPr id="11287" name="Google Shape;11287;p43"/>
          <p:cNvSpPr txBox="1"/>
          <p:nvPr/>
        </p:nvSpPr>
        <p:spPr>
          <a:xfrm>
            <a:off x="334963" y="1666696"/>
            <a:ext cx="3395264" cy="428804"/>
          </a:xfrm>
          <a:prstGeom prst="rect">
            <a:avLst/>
          </a:prstGeom>
          <a:noFill/>
          <a:ln>
            <a:noFill/>
          </a:ln>
        </p:spPr>
        <p:txBody>
          <a:bodyPr spcFirstLastPara="1" wrap="square" lIns="180000" tIns="45700" rIns="91425" bIns="45700" anchor="t" anchorCtr="0">
            <a:normAutofit/>
          </a:bodyPr>
          <a:lstStyle/>
          <a:p>
            <a:pPr marL="0" marR="0" lvl="0" indent="0" algn="l" rtl="0">
              <a:spcBef>
                <a:spcPts val="0"/>
              </a:spcBef>
              <a:spcAft>
                <a:spcPts val="0"/>
              </a:spcAft>
              <a:buNone/>
            </a:pPr>
            <a:r>
              <a:rPr lang="en-GB" sz="2000" b="1" dirty="0">
                <a:solidFill>
                  <a:srgbClr val="1A425C"/>
                </a:solidFill>
                <a:latin typeface="Arial"/>
                <a:ea typeface="Arial"/>
                <a:cs typeface="Arial"/>
                <a:sym typeface="Arial"/>
              </a:rPr>
              <a:t>RESEARCH QUESTION</a:t>
            </a:r>
            <a:endParaRPr dirty="0"/>
          </a:p>
        </p:txBody>
      </p:sp>
      <p:sp>
        <p:nvSpPr>
          <p:cNvPr id="11288" name="Google Shape;11288;p43"/>
          <p:cNvSpPr txBox="1"/>
          <p:nvPr/>
        </p:nvSpPr>
        <p:spPr>
          <a:xfrm>
            <a:off x="4182001" y="2648831"/>
            <a:ext cx="3598408" cy="3506929"/>
          </a:xfrm>
          <a:prstGeom prst="rect">
            <a:avLst/>
          </a:prstGeom>
          <a:noFill/>
          <a:ln>
            <a:noFill/>
          </a:ln>
        </p:spPr>
        <p:txBody>
          <a:bodyPr spcFirstLastPara="1" wrap="square" lIns="180000" tIns="45700" rIns="91425" bIns="45700" anchor="t" anchorCtr="0">
            <a:normAutofit/>
          </a:bodyPr>
          <a:lstStyle/>
          <a:p>
            <a:pPr lvl="0"/>
            <a:r>
              <a:rPr lang="en-GB" sz="1600" b="1" dirty="0">
                <a:solidFill>
                  <a:schemeClr val="accent1"/>
                </a:solidFill>
              </a:rPr>
              <a:t>Survey experiments </a:t>
            </a:r>
            <a:r>
              <a:rPr lang="en-GB" sz="1600" dirty="0">
                <a:solidFill>
                  <a:schemeClr val="accent1"/>
                </a:solidFill>
              </a:rPr>
              <a:t>to measure the demand for reskilling</a:t>
            </a:r>
          </a:p>
          <a:p>
            <a:pPr lvl="0"/>
            <a:endParaRPr lang="en-GB" sz="1600" b="1" dirty="0">
              <a:solidFill>
                <a:schemeClr val="accent1"/>
              </a:solidFill>
            </a:endParaRPr>
          </a:p>
          <a:p>
            <a:pPr lvl="0"/>
            <a:endParaRPr lang="en-GB" sz="1600" b="1" dirty="0">
              <a:solidFill>
                <a:schemeClr val="accent1"/>
              </a:solidFill>
            </a:endParaRPr>
          </a:p>
          <a:p>
            <a:pPr lvl="0"/>
            <a:r>
              <a:rPr lang="en-GB" sz="1600" b="1" dirty="0">
                <a:solidFill>
                  <a:schemeClr val="accent1"/>
                </a:solidFill>
              </a:rPr>
              <a:t>Communication experiments </a:t>
            </a:r>
            <a:r>
              <a:rPr lang="en-GB" sz="1600" dirty="0">
                <a:solidFill>
                  <a:schemeClr val="accent1"/>
                </a:solidFill>
              </a:rPr>
              <a:t>to measure impact of </a:t>
            </a:r>
            <a:r>
              <a:rPr lang="en-GB" sz="1600" i="1" dirty="0">
                <a:solidFill>
                  <a:schemeClr val="accent1"/>
                </a:solidFill>
              </a:rPr>
              <a:t>framing</a:t>
            </a:r>
            <a:r>
              <a:rPr lang="en-GB" sz="1600" dirty="0">
                <a:solidFill>
                  <a:schemeClr val="accent1"/>
                </a:solidFill>
              </a:rPr>
              <a:t> on take up</a:t>
            </a:r>
          </a:p>
          <a:p>
            <a:pPr marL="285750" lvl="0" indent="-285750">
              <a:buFont typeface="Arial" panose="020B0604020202020204" pitchFamily="34" charset="0"/>
              <a:buChar char="•"/>
            </a:pPr>
            <a:r>
              <a:rPr lang="en-GB" sz="1600" dirty="0">
                <a:solidFill>
                  <a:schemeClr val="accent1"/>
                </a:solidFill>
              </a:rPr>
              <a:t>Same program presented to potential participants in different ways </a:t>
            </a:r>
          </a:p>
          <a:p>
            <a:pPr lvl="0"/>
            <a:endParaRPr lang="en-GB" sz="1600" b="1" dirty="0">
              <a:solidFill>
                <a:schemeClr val="accent1"/>
              </a:solidFill>
            </a:endParaRPr>
          </a:p>
          <a:p>
            <a:pPr lvl="0"/>
            <a:endParaRPr lang="en-GB" sz="1600" dirty="0">
              <a:solidFill>
                <a:schemeClr val="accent1"/>
              </a:solidFill>
            </a:endParaRPr>
          </a:p>
          <a:p>
            <a:pPr lvl="0"/>
            <a:endParaRPr lang="en-GB" sz="1600" dirty="0">
              <a:solidFill>
                <a:schemeClr val="accent1"/>
              </a:solidFill>
            </a:endParaRPr>
          </a:p>
          <a:p>
            <a:pPr marL="0" marR="0" lvl="0" indent="0" algn="l" rtl="0">
              <a:spcBef>
                <a:spcPts val="0"/>
              </a:spcBef>
              <a:spcAft>
                <a:spcPts val="0"/>
              </a:spcAft>
              <a:buNone/>
            </a:pPr>
            <a:endParaRPr sz="1600" dirty="0">
              <a:solidFill>
                <a:schemeClr val="accent1"/>
              </a:solidFill>
              <a:latin typeface="Arial"/>
              <a:ea typeface="Arial"/>
              <a:cs typeface="Arial"/>
              <a:sym typeface="Arial"/>
            </a:endParaRPr>
          </a:p>
          <a:p>
            <a:pPr marL="0" marR="0" lvl="0" indent="0" algn="l" rtl="0">
              <a:spcBef>
                <a:spcPts val="0"/>
              </a:spcBef>
              <a:spcAft>
                <a:spcPts val="0"/>
              </a:spcAft>
              <a:buNone/>
            </a:pPr>
            <a:endParaRPr sz="1600" dirty="0">
              <a:solidFill>
                <a:schemeClr val="accent1"/>
              </a:solidFill>
              <a:latin typeface="Arial"/>
              <a:ea typeface="Arial"/>
              <a:cs typeface="Arial"/>
              <a:sym typeface="Arial"/>
            </a:endParaRPr>
          </a:p>
        </p:txBody>
      </p:sp>
      <p:sp>
        <p:nvSpPr>
          <p:cNvPr id="11289" name="Google Shape;11289;p43"/>
          <p:cNvSpPr txBox="1"/>
          <p:nvPr/>
        </p:nvSpPr>
        <p:spPr>
          <a:xfrm>
            <a:off x="4198938" y="1666696"/>
            <a:ext cx="3351810" cy="428804"/>
          </a:xfrm>
          <a:prstGeom prst="rect">
            <a:avLst/>
          </a:prstGeom>
          <a:noFill/>
          <a:ln>
            <a:noFill/>
          </a:ln>
        </p:spPr>
        <p:txBody>
          <a:bodyPr spcFirstLastPara="1" wrap="square" lIns="180000" tIns="45700" rIns="91425" bIns="45700" anchor="t" anchorCtr="0">
            <a:normAutofit/>
          </a:bodyPr>
          <a:lstStyle/>
          <a:p>
            <a:pPr marL="0" marR="0" lvl="0" indent="0" algn="l" rtl="0">
              <a:spcBef>
                <a:spcPts val="0"/>
              </a:spcBef>
              <a:spcAft>
                <a:spcPts val="0"/>
              </a:spcAft>
              <a:buNone/>
            </a:pPr>
            <a:r>
              <a:rPr lang="en-GB" sz="2000" b="1" dirty="0">
                <a:solidFill>
                  <a:schemeClr val="accent1"/>
                </a:solidFill>
                <a:latin typeface="Arial"/>
                <a:ea typeface="Arial"/>
                <a:cs typeface="Arial"/>
                <a:sym typeface="Arial"/>
              </a:rPr>
              <a:t>APPROACH</a:t>
            </a:r>
            <a:endParaRPr dirty="0"/>
          </a:p>
        </p:txBody>
      </p:sp>
      <p:sp>
        <p:nvSpPr>
          <p:cNvPr id="11290" name="Google Shape;11290;p43"/>
          <p:cNvSpPr txBox="1"/>
          <p:nvPr/>
        </p:nvSpPr>
        <p:spPr>
          <a:xfrm>
            <a:off x="8046936" y="2657689"/>
            <a:ext cx="3598408" cy="3112408"/>
          </a:xfrm>
          <a:prstGeom prst="rect">
            <a:avLst/>
          </a:prstGeom>
          <a:noFill/>
          <a:ln>
            <a:noFill/>
          </a:ln>
        </p:spPr>
        <p:txBody>
          <a:bodyPr spcFirstLastPara="1" wrap="square" lIns="180000" tIns="45700" rIns="91425" bIns="45700" anchor="t" anchorCtr="0">
            <a:normAutofit/>
          </a:bodyPr>
          <a:lstStyle/>
          <a:p>
            <a:pPr lvl="0"/>
            <a:r>
              <a:rPr lang="en-GB" sz="1600" dirty="0">
                <a:solidFill>
                  <a:schemeClr val="lt1"/>
                </a:solidFill>
              </a:rPr>
              <a:t>Self-identification in a new job as (if not more) important than expected wages</a:t>
            </a:r>
          </a:p>
          <a:p>
            <a:pPr lvl="0"/>
            <a:endParaRPr lang="en-GB" sz="1600" dirty="0">
              <a:solidFill>
                <a:schemeClr val="lt1"/>
              </a:solidFill>
            </a:endParaRPr>
          </a:p>
          <a:p>
            <a:pPr lvl="0"/>
            <a:r>
              <a:rPr lang="en-GB" sz="1600" dirty="0">
                <a:solidFill>
                  <a:schemeClr val="lt1"/>
                </a:solidFill>
              </a:rPr>
              <a:t>Targeted campaigns and motivational assessments are key to ensure high and effective take-up</a:t>
            </a:r>
          </a:p>
          <a:p>
            <a:pPr lvl="0"/>
            <a:endParaRPr lang="en-GB" sz="1600" dirty="0">
              <a:solidFill>
                <a:schemeClr val="lt1"/>
              </a:solidFill>
            </a:endParaRPr>
          </a:p>
          <a:p>
            <a:pPr lvl="0"/>
            <a:endParaRPr lang="en-GB" sz="1600" dirty="0">
              <a:solidFill>
                <a:schemeClr val="lt1"/>
              </a:solidFill>
            </a:endParaRPr>
          </a:p>
          <a:p>
            <a:pPr lvl="0"/>
            <a:endParaRPr lang="en-GB" sz="1600" dirty="0">
              <a:solidFill>
                <a:schemeClr val="lt1"/>
              </a:solidFill>
            </a:endParaRPr>
          </a:p>
          <a:p>
            <a:pPr lvl="0"/>
            <a:endParaRPr lang="en-GB" sz="1600" dirty="0">
              <a:solidFill>
                <a:schemeClr val="lt1"/>
              </a:solidFill>
            </a:endParaRPr>
          </a:p>
          <a:p>
            <a:pPr lvl="0"/>
            <a:endParaRPr lang="en-GB" sz="1600" dirty="0">
              <a:solidFill>
                <a:schemeClr val="lt1"/>
              </a:solidFill>
            </a:endParaRPr>
          </a:p>
          <a:p>
            <a:pPr lvl="0"/>
            <a:endParaRPr lang="en-GB" sz="1600" dirty="0">
              <a:solidFill>
                <a:schemeClr val="lt1"/>
              </a:solidFill>
            </a:endParaRPr>
          </a:p>
          <a:p>
            <a:pPr marL="0" marR="0" lvl="0" indent="0" algn="l" rtl="0">
              <a:spcBef>
                <a:spcPts val="0"/>
              </a:spcBef>
              <a:spcAft>
                <a:spcPts val="0"/>
              </a:spcAft>
              <a:buNone/>
            </a:pPr>
            <a:endParaRPr sz="1600" dirty="0">
              <a:solidFill>
                <a:schemeClr val="lt1"/>
              </a:solidFill>
              <a:latin typeface="Arial"/>
              <a:ea typeface="Arial"/>
              <a:cs typeface="Arial"/>
              <a:sym typeface="Arial"/>
            </a:endParaRPr>
          </a:p>
          <a:p>
            <a:pPr marL="0" marR="0" lvl="0" indent="0" algn="l" rtl="0">
              <a:spcBef>
                <a:spcPts val="0"/>
              </a:spcBef>
              <a:spcAft>
                <a:spcPts val="0"/>
              </a:spcAft>
              <a:buNone/>
            </a:pPr>
            <a:endParaRPr sz="1600" dirty="0">
              <a:solidFill>
                <a:schemeClr val="lt1"/>
              </a:solidFill>
              <a:latin typeface="Arial"/>
              <a:ea typeface="Arial"/>
              <a:cs typeface="Arial"/>
              <a:sym typeface="Arial"/>
            </a:endParaRPr>
          </a:p>
        </p:txBody>
      </p:sp>
      <p:sp>
        <p:nvSpPr>
          <p:cNvPr id="11291" name="Google Shape;11291;p43"/>
          <p:cNvSpPr txBox="1"/>
          <p:nvPr/>
        </p:nvSpPr>
        <p:spPr>
          <a:xfrm>
            <a:off x="8062911" y="1666696"/>
            <a:ext cx="3395263" cy="732588"/>
          </a:xfrm>
          <a:prstGeom prst="rect">
            <a:avLst/>
          </a:prstGeom>
          <a:noFill/>
          <a:ln>
            <a:noFill/>
          </a:ln>
        </p:spPr>
        <p:txBody>
          <a:bodyPr spcFirstLastPara="1" wrap="square" lIns="180000" tIns="45700" rIns="91425" bIns="45700" anchor="t" anchorCtr="0">
            <a:normAutofit/>
          </a:bodyPr>
          <a:lstStyle/>
          <a:p>
            <a:pPr marL="0" marR="0" lvl="0" indent="0" algn="l" rtl="0">
              <a:spcBef>
                <a:spcPts val="0"/>
              </a:spcBef>
              <a:spcAft>
                <a:spcPts val="0"/>
              </a:spcAft>
              <a:buNone/>
            </a:pPr>
            <a:r>
              <a:rPr lang="en-GB" sz="2000" b="1" dirty="0">
                <a:solidFill>
                  <a:schemeClr val="lt1"/>
                </a:solidFill>
                <a:latin typeface="Arial"/>
                <a:ea typeface="Arial"/>
                <a:cs typeface="Arial"/>
                <a:sym typeface="Arial"/>
              </a:rPr>
              <a:t>RESULTS AND IMPLICATIONS</a:t>
            </a:r>
            <a:endParaRPr dirty="0"/>
          </a:p>
        </p:txBody>
      </p:sp>
      <p:grpSp>
        <p:nvGrpSpPr>
          <p:cNvPr id="11292" name="Google Shape;11292;p43"/>
          <p:cNvGrpSpPr/>
          <p:nvPr/>
        </p:nvGrpSpPr>
        <p:grpSpPr>
          <a:xfrm>
            <a:off x="230976" y="6284787"/>
            <a:ext cx="12192000" cy="584200"/>
            <a:chOff x="0" y="6273800"/>
            <a:chExt cx="12192000" cy="584200"/>
          </a:xfrm>
        </p:grpSpPr>
        <p:sp>
          <p:nvSpPr>
            <p:cNvPr id="11293" name="Google Shape;11293;p43"/>
            <p:cNvSpPr/>
            <p:nvPr/>
          </p:nvSpPr>
          <p:spPr>
            <a:xfrm>
              <a:off x="0" y="6273800"/>
              <a:ext cx="12192000" cy="5842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1294" name="Google Shape;11294;p43"/>
            <p:cNvPicPr preferRelativeResize="0"/>
            <p:nvPr/>
          </p:nvPicPr>
          <p:blipFill rotWithShape="1">
            <a:blip r:embed="rId3">
              <a:alphaModFix/>
            </a:blip>
            <a:srcRect/>
            <a:stretch/>
          </p:blipFill>
          <p:spPr>
            <a:xfrm>
              <a:off x="9513888" y="6392994"/>
              <a:ext cx="2305050" cy="334291"/>
            </a:xfrm>
            <a:prstGeom prst="rect">
              <a:avLst/>
            </a:prstGeom>
            <a:noFill/>
            <a:ln>
              <a:noFill/>
            </a:ln>
          </p:spPr>
        </p:pic>
      </p:grpSp>
      <p:sp>
        <p:nvSpPr>
          <p:cNvPr id="11295" name="Google Shape;11295;p43"/>
          <p:cNvSpPr txBox="1">
            <a:spLocks noGrp="1"/>
          </p:cNvSpPr>
          <p:nvPr>
            <p:ph type="sldNum" idx="12"/>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fld id="{00000000-1234-1234-1234-123412341234}" type="slidenum">
              <a:rPr lang="en-GB"/>
              <a:t>16</a:t>
            </a:fld>
            <a:endParaRPr/>
          </a:p>
        </p:txBody>
      </p:sp>
    </p:spTree>
    <p:extLst>
      <p:ext uri="{BB962C8B-B14F-4D97-AF65-F5344CB8AC3E}">
        <p14:creationId xmlns:p14="http://schemas.microsoft.com/office/powerpoint/2010/main" val="356376312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1163"/>
                                        </p:tgtEl>
                                        <p:attrNameLst>
                                          <p:attrName>style.visibility</p:attrName>
                                        </p:attrNameLst>
                                      </p:cBhvr>
                                      <p:to>
                                        <p:strVal val="visible"/>
                                      </p:to>
                                    </p:set>
                                    <p:anim calcmode="lin" valueType="num">
                                      <p:cBhvr additive="base">
                                        <p:cTn id="7" dur="500"/>
                                        <p:tgtEl>
                                          <p:spTgt spid="11163"/>
                                        </p:tgtEl>
                                        <p:attrNameLst>
                                          <p:attrName>ppt_y</p:attrName>
                                        </p:attrNameLst>
                                      </p:cBhvr>
                                      <p:tavLst>
                                        <p:tav tm="0">
                                          <p:val>
                                            <p:strVal val="#ppt_y+1"/>
                                          </p:val>
                                        </p:tav>
                                        <p:tav tm="100000">
                                          <p:val>
                                            <p:strVal val="#ppt_y"/>
                                          </p:val>
                                        </p:tav>
                                      </p:tavLst>
                                    </p:anim>
                                  </p:childTnLst>
                                </p:cTn>
                              </p:par>
                              <p:par>
                                <p:cTn id="8" presetID="10" presetClass="entr" presetSubtype="0" fill="hold" nodeType="withEffect">
                                  <p:stCondLst>
                                    <p:cond delay="250"/>
                                  </p:stCondLst>
                                  <p:childTnLst>
                                    <p:set>
                                      <p:cBhvr>
                                        <p:cTn id="9" dur="1" fill="hold">
                                          <p:stCondLst>
                                            <p:cond delay="0"/>
                                          </p:stCondLst>
                                        </p:cTn>
                                        <p:tgtEl>
                                          <p:spTgt spid="11284"/>
                                        </p:tgtEl>
                                        <p:attrNameLst>
                                          <p:attrName>style.visibility</p:attrName>
                                        </p:attrNameLst>
                                      </p:cBhvr>
                                      <p:to>
                                        <p:strVal val="visible"/>
                                      </p:to>
                                    </p:set>
                                    <p:animEffect transition="in" filter="fade">
                                      <p:cBhvr>
                                        <p:cTn id="10" dur="500"/>
                                        <p:tgtEl>
                                          <p:spTgt spid="11284"/>
                                        </p:tgtEl>
                                      </p:cBhvr>
                                    </p:animEffect>
                                  </p:childTnLst>
                                </p:cTn>
                              </p:par>
                              <p:par>
                                <p:cTn id="11" presetID="10" presetClass="entr" presetSubtype="0" fill="hold" nodeType="withEffect">
                                  <p:stCondLst>
                                    <p:cond delay="250"/>
                                  </p:stCondLst>
                                  <p:childTnLst>
                                    <p:set>
                                      <p:cBhvr>
                                        <p:cTn id="12" dur="1" fill="hold">
                                          <p:stCondLst>
                                            <p:cond delay="0"/>
                                          </p:stCondLst>
                                        </p:cTn>
                                        <p:tgtEl>
                                          <p:spTgt spid="11287"/>
                                        </p:tgtEl>
                                        <p:attrNameLst>
                                          <p:attrName>style.visibility</p:attrName>
                                        </p:attrNameLst>
                                      </p:cBhvr>
                                      <p:to>
                                        <p:strVal val="visible"/>
                                      </p:to>
                                    </p:set>
                                    <p:animEffect transition="in" filter="fade">
                                      <p:cBhvr>
                                        <p:cTn id="13" dur="250"/>
                                        <p:tgtEl>
                                          <p:spTgt spid="11287"/>
                                        </p:tgtEl>
                                      </p:cBhvr>
                                    </p:animEffect>
                                  </p:childTnLst>
                                </p:cTn>
                              </p:par>
                            </p:childTnLst>
                          </p:cTn>
                        </p:par>
                        <p:par>
                          <p:cTn id="14" fill="hold">
                            <p:stCondLst>
                              <p:cond delay="500"/>
                            </p:stCondLst>
                            <p:childTnLst>
                              <p:par>
                                <p:cTn id="15" presetID="10" presetClass="entr" presetSubtype="0" fill="hold" nodeType="afterEffect">
                                  <p:stCondLst>
                                    <p:cond delay="250"/>
                                  </p:stCondLst>
                                  <p:childTnLst>
                                    <p:set>
                                      <p:cBhvr>
                                        <p:cTn id="16" dur="1" fill="hold">
                                          <p:stCondLst>
                                            <p:cond delay="0"/>
                                          </p:stCondLst>
                                        </p:cTn>
                                        <p:tgtEl>
                                          <p:spTgt spid="11286"/>
                                        </p:tgtEl>
                                        <p:attrNameLst>
                                          <p:attrName>style.visibility</p:attrName>
                                        </p:attrNameLst>
                                      </p:cBhvr>
                                      <p:to>
                                        <p:strVal val="visible"/>
                                      </p:to>
                                    </p:set>
                                    <p:animEffect transition="in" filter="fade">
                                      <p:cBhvr>
                                        <p:cTn id="17" dur="250"/>
                                        <p:tgtEl>
                                          <p:spTgt spid="11286"/>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11103"/>
                                        </p:tgtEl>
                                        <p:attrNameLst>
                                          <p:attrName>style.visibility</p:attrName>
                                        </p:attrNameLst>
                                      </p:cBhvr>
                                      <p:to>
                                        <p:strVal val="visible"/>
                                      </p:to>
                                    </p:set>
                                    <p:anim calcmode="lin" valueType="num">
                                      <p:cBhvr additive="base">
                                        <p:cTn id="22" dur="500"/>
                                        <p:tgtEl>
                                          <p:spTgt spid="11103"/>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750"/>
                                  </p:stCondLst>
                                  <p:childTnLst>
                                    <p:set>
                                      <p:cBhvr>
                                        <p:cTn id="24" dur="1" fill="hold">
                                          <p:stCondLst>
                                            <p:cond delay="0"/>
                                          </p:stCondLst>
                                        </p:cTn>
                                        <p:tgtEl>
                                          <p:spTgt spid="11162"/>
                                        </p:tgtEl>
                                        <p:attrNameLst>
                                          <p:attrName>style.visibility</p:attrName>
                                        </p:attrNameLst>
                                      </p:cBhvr>
                                      <p:to>
                                        <p:strVal val="visible"/>
                                      </p:to>
                                    </p:set>
                                    <p:animEffect transition="in" filter="fade">
                                      <p:cBhvr>
                                        <p:cTn id="25" dur="500"/>
                                        <p:tgtEl>
                                          <p:spTgt spid="11162"/>
                                        </p:tgtEl>
                                      </p:cBhvr>
                                    </p:animEffect>
                                  </p:childTnLst>
                                </p:cTn>
                              </p:par>
                              <p:par>
                                <p:cTn id="26" presetID="10" presetClass="entr" presetSubtype="0" fill="hold" nodeType="withEffect">
                                  <p:stCondLst>
                                    <p:cond delay="0"/>
                                  </p:stCondLst>
                                  <p:childTnLst>
                                    <p:set>
                                      <p:cBhvr>
                                        <p:cTn id="27" dur="1" fill="hold">
                                          <p:stCondLst>
                                            <p:cond delay="0"/>
                                          </p:stCondLst>
                                        </p:cTn>
                                        <p:tgtEl>
                                          <p:spTgt spid="11289"/>
                                        </p:tgtEl>
                                        <p:attrNameLst>
                                          <p:attrName>style.visibility</p:attrName>
                                        </p:attrNameLst>
                                      </p:cBhvr>
                                      <p:to>
                                        <p:strVal val="visible"/>
                                      </p:to>
                                    </p:set>
                                    <p:animEffect transition="in" filter="fade">
                                      <p:cBhvr>
                                        <p:cTn id="28" dur="250"/>
                                        <p:tgtEl>
                                          <p:spTgt spid="11289"/>
                                        </p:tgtEl>
                                      </p:cBhvr>
                                    </p:animEffect>
                                  </p:childTnLst>
                                </p:cTn>
                              </p:par>
                            </p:childTnLst>
                          </p:cTn>
                        </p:par>
                        <p:par>
                          <p:cTn id="29" fill="hold">
                            <p:stCondLst>
                              <p:cond delay="1250"/>
                            </p:stCondLst>
                            <p:childTnLst>
                              <p:par>
                                <p:cTn id="30" presetID="10" presetClass="entr" presetSubtype="0" fill="hold" nodeType="afterEffect">
                                  <p:stCondLst>
                                    <p:cond delay="250"/>
                                  </p:stCondLst>
                                  <p:childTnLst>
                                    <p:set>
                                      <p:cBhvr>
                                        <p:cTn id="31" dur="1" fill="hold">
                                          <p:stCondLst>
                                            <p:cond delay="0"/>
                                          </p:stCondLst>
                                        </p:cTn>
                                        <p:tgtEl>
                                          <p:spTgt spid="11288"/>
                                        </p:tgtEl>
                                        <p:attrNameLst>
                                          <p:attrName>style.visibility</p:attrName>
                                        </p:attrNameLst>
                                      </p:cBhvr>
                                      <p:to>
                                        <p:strVal val="visible"/>
                                      </p:to>
                                    </p:set>
                                    <p:animEffect transition="in" filter="fade">
                                      <p:cBhvr>
                                        <p:cTn id="32" dur="250"/>
                                        <p:tgtEl>
                                          <p:spTgt spid="11288"/>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1030"/>
                                        </p:tgtEl>
                                        <p:attrNameLst>
                                          <p:attrName>style.visibility</p:attrName>
                                        </p:attrNameLst>
                                      </p:cBhvr>
                                      <p:to>
                                        <p:strVal val="visible"/>
                                      </p:to>
                                    </p:set>
                                    <p:anim calcmode="lin" valueType="num">
                                      <p:cBhvr additive="base">
                                        <p:cTn id="37" dur="500"/>
                                        <p:tgtEl>
                                          <p:spTgt spid="11030"/>
                                        </p:tgtEl>
                                        <p:attrNameLst>
                                          <p:attrName>ppt_y</p:attrName>
                                        </p:attrNameLst>
                                      </p:cBhvr>
                                      <p:tavLst>
                                        <p:tav tm="0">
                                          <p:val>
                                            <p:strVal val="#ppt_y+1"/>
                                          </p:val>
                                        </p:tav>
                                        <p:tav tm="100000">
                                          <p:val>
                                            <p:strVal val="#ppt_y"/>
                                          </p:val>
                                        </p:tav>
                                      </p:tavLst>
                                    </p:anim>
                                  </p:childTnLst>
                                </p:cTn>
                              </p:par>
                              <p:par>
                                <p:cTn id="38" presetID="10" presetClass="entr" presetSubtype="0" fill="hold" nodeType="withEffect">
                                  <p:stCondLst>
                                    <p:cond delay="1250"/>
                                  </p:stCondLst>
                                  <p:childTnLst>
                                    <p:set>
                                      <p:cBhvr>
                                        <p:cTn id="39" dur="1" fill="hold">
                                          <p:stCondLst>
                                            <p:cond delay="0"/>
                                          </p:stCondLst>
                                        </p:cTn>
                                        <p:tgtEl>
                                          <p:spTgt spid="11102"/>
                                        </p:tgtEl>
                                        <p:attrNameLst>
                                          <p:attrName>style.visibility</p:attrName>
                                        </p:attrNameLst>
                                      </p:cBhvr>
                                      <p:to>
                                        <p:strVal val="visible"/>
                                      </p:to>
                                    </p:set>
                                    <p:animEffect transition="in" filter="fade">
                                      <p:cBhvr>
                                        <p:cTn id="40" dur="500"/>
                                        <p:tgtEl>
                                          <p:spTgt spid="11102"/>
                                        </p:tgtEl>
                                      </p:cBhvr>
                                    </p:animEffect>
                                  </p:childTnLst>
                                </p:cTn>
                              </p:par>
                              <p:par>
                                <p:cTn id="41" presetID="10" presetClass="entr" presetSubtype="0" fill="hold" nodeType="withEffect">
                                  <p:stCondLst>
                                    <p:cond delay="0"/>
                                  </p:stCondLst>
                                  <p:childTnLst>
                                    <p:set>
                                      <p:cBhvr>
                                        <p:cTn id="42" dur="1" fill="hold">
                                          <p:stCondLst>
                                            <p:cond delay="0"/>
                                          </p:stCondLst>
                                        </p:cTn>
                                        <p:tgtEl>
                                          <p:spTgt spid="11291"/>
                                        </p:tgtEl>
                                        <p:attrNameLst>
                                          <p:attrName>style.visibility</p:attrName>
                                        </p:attrNameLst>
                                      </p:cBhvr>
                                      <p:to>
                                        <p:strVal val="visible"/>
                                      </p:to>
                                    </p:set>
                                    <p:animEffect transition="in" filter="fade">
                                      <p:cBhvr>
                                        <p:cTn id="43" dur="250"/>
                                        <p:tgtEl>
                                          <p:spTgt spid="11291"/>
                                        </p:tgtEl>
                                      </p:cBhvr>
                                    </p:animEffect>
                                  </p:childTnLst>
                                </p:cTn>
                              </p:par>
                            </p:childTnLst>
                          </p:cTn>
                        </p:par>
                        <p:par>
                          <p:cTn id="44" fill="hold">
                            <p:stCondLst>
                              <p:cond delay="1750"/>
                            </p:stCondLst>
                            <p:childTnLst>
                              <p:par>
                                <p:cTn id="45" presetID="10" presetClass="entr" presetSubtype="0" fill="hold" nodeType="afterEffect">
                                  <p:stCondLst>
                                    <p:cond delay="250"/>
                                  </p:stCondLst>
                                  <p:childTnLst>
                                    <p:set>
                                      <p:cBhvr>
                                        <p:cTn id="46" dur="1" fill="hold">
                                          <p:stCondLst>
                                            <p:cond delay="0"/>
                                          </p:stCondLst>
                                        </p:cTn>
                                        <p:tgtEl>
                                          <p:spTgt spid="11290"/>
                                        </p:tgtEl>
                                        <p:attrNameLst>
                                          <p:attrName>style.visibility</p:attrName>
                                        </p:attrNameLst>
                                      </p:cBhvr>
                                      <p:to>
                                        <p:strVal val="visible"/>
                                      </p:to>
                                    </p:set>
                                    <p:animEffect transition="in" filter="fade">
                                      <p:cBhvr>
                                        <p:cTn id="47" dur="250"/>
                                        <p:tgtEl>
                                          <p:spTgt spid="112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692B94A2-C4AC-4D68-BE95-A185F940AE64}"/>
              </a:ext>
            </a:extLst>
          </p:cNvPr>
          <p:cNvPicPr>
            <a:picLocks noChangeAspect="1"/>
          </p:cNvPicPr>
          <p:nvPr/>
        </p:nvPicPr>
        <p:blipFill rotWithShape="1">
          <a:blip r:embed="rId3"/>
          <a:srcRect l="7755" r="7755"/>
          <a:stretch/>
        </p:blipFill>
        <p:spPr>
          <a:xfrm>
            <a:off x="8177215" y="1196975"/>
            <a:ext cx="3652835" cy="2844800"/>
          </a:xfrm>
          <a:prstGeom prst="rect">
            <a:avLst/>
          </a:prstGeom>
        </p:spPr>
      </p:pic>
      <p:pic>
        <p:nvPicPr>
          <p:cNvPr id="20" name="Picture 19">
            <a:extLst>
              <a:ext uri="{FF2B5EF4-FFF2-40B4-BE49-F238E27FC236}">
                <a16:creationId xmlns:a16="http://schemas.microsoft.com/office/drawing/2014/main" id="{C46D9897-4AE8-4F65-8562-A1BC525B9C88}"/>
              </a:ext>
            </a:extLst>
          </p:cNvPr>
          <p:cNvPicPr>
            <a:picLocks noChangeAspect="1"/>
          </p:cNvPicPr>
          <p:nvPr/>
        </p:nvPicPr>
        <p:blipFill rotWithShape="1">
          <a:blip r:embed="rId4"/>
          <a:srcRect l="4683" t="1304" r="4683" b="7187"/>
          <a:stretch/>
        </p:blipFill>
        <p:spPr>
          <a:xfrm>
            <a:off x="360362" y="1196975"/>
            <a:ext cx="3646487" cy="2844982"/>
          </a:xfrm>
          <a:prstGeom prst="rect">
            <a:avLst/>
          </a:prstGeom>
        </p:spPr>
      </p:pic>
      <p:pic>
        <p:nvPicPr>
          <p:cNvPr id="21" name="Picture 20">
            <a:extLst>
              <a:ext uri="{FF2B5EF4-FFF2-40B4-BE49-F238E27FC236}">
                <a16:creationId xmlns:a16="http://schemas.microsoft.com/office/drawing/2014/main" id="{39BCFF1E-BB0F-42EE-8E75-653C2F688493}"/>
              </a:ext>
            </a:extLst>
          </p:cNvPr>
          <p:cNvPicPr>
            <a:picLocks noChangeAspect="1"/>
          </p:cNvPicPr>
          <p:nvPr/>
        </p:nvPicPr>
        <p:blipFill rotWithShape="1">
          <a:blip r:embed="rId5"/>
          <a:srcRect l="128" r="128"/>
          <a:stretch/>
        </p:blipFill>
        <p:spPr>
          <a:xfrm>
            <a:off x="4268789" y="1196975"/>
            <a:ext cx="3646487" cy="2843414"/>
          </a:xfrm>
          <a:prstGeom prst="rect">
            <a:avLst/>
          </a:prstGeom>
        </p:spPr>
      </p:pic>
      <p:sp>
        <p:nvSpPr>
          <p:cNvPr id="8" name="Text Placeholder 7">
            <a:extLst>
              <a:ext uri="{FF2B5EF4-FFF2-40B4-BE49-F238E27FC236}">
                <a16:creationId xmlns:a16="http://schemas.microsoft.com/office/drawing/2014/main" id="{8DAC1161-D968-4294-9B8C-489C7F1DAAB2}"/>
              </a:ext>
            </a:extLst>
          </p:cNvPr>
          <p:cNvSpPr>
            <a:spLocks noGrp="1"/>
          </p:cNvSpPr>
          <p:nvPr>
            <p:ph type="body" sz="quarter" idx="13"/>
          </p:nvPr>
        </p:nvSpPr>
        <p:spPr>
          <a:xfrm>
            <a:off x="360363" y="4190999"/>
            <a:ext cx="3649662" cy="2520043"/>
          </a:xfrm>
          <a:solidFill>
            <a:schemeClr val="accent1"/>
          </a:solidFill>
        </p:spPr>
        <p:txBody>
          <a:bodyPr>
            <a:normAutofit/>
          </a:bodyPr>
          <a:lstStyle/>
          <a:p>
            <a:pPr>
              <a:lnSpc>
                <a:spcPct val="120000"/>
              </a:lnSpc>
              <a:spcBef>
                <a:spcPts val="0"/>
              </a:spcBef>
            </a:pPr>
            <a:r>
              <a:rPr lang="en-US" sz="2000" b="1">
                <a:solidFill>
                  <a:schemeClr val="bg1"/>
                </a:solidFill>
              </a:rPr>
              <a:t>Analyze </a:t>
            </a:r>
            <a:r>
              <a:rPr lang="en-US" sz="2000" b="1" dirty="0">
                <a:solidFill>
                  <a:schemeClr val="bg1"/>
                </a:solidFill>
              </a:rPr>
              <a:t>results from first reskilling survey </a:t>
            </a:r>
          </a:p>
          <a:p>
            <a:pPr>
              <a:lnSpc>
                <a:spcPct val="120000"/>
              </a:lnSpc>
              <a:spcBef>
                <a:spcPts val="0"/>
              </a:spcBef>
            </a:pPr>
            <a:r>
              <a:rPr lang="en-US" sz="2000" dirty="0">
                <a:solidFill>
                  <a:schemeClr val="bg1"/>
                </a:solidFill>
              </a:rPr>
              <a:t>(ongoing)</a:t>
            </a:r>
          </a:p>
          <a:p>
            <a:pPr>
              <a:lnSpc>
                <a:spcPct val="120000"/>
              </a:lnSpc>
              <a:spcBef>
                <a:spcPts val="0"/>
              </a:spcBef>
            </a:pPr>
            <a:endParaRPr lang="en-US" sz="2000" dirty="0">
              <a:solidFill>
                <a:schemeClr val="bg1"/>
              </a:solidFill>
            </a:endParaRPr>
          </a:p>
          <a:p>
            <a:pPr>
              <a:lnSpc>
                <a:spcPct val="120000"/>
              </a:lnSpc>
              <a:spcBef>
                <a:spcPts val="0"/>
              </a:spcBef>
            </a:pPr>
            <a:endParaRPr lang="en-US" sz="1800" dirty="0">
              <a:solidFill>
                <a:schemeClr val="bg1"/>
              </a:solidFill>
            </a:endParaRPr>
          </a:p>
          <a:p>
            <a:pPr>
              <a:lnSpc>
                <a:spcPct val="120000"/>
              </a:lnSpc>
              <a:spcBef>
                <a:spcPts val="0"/>
              </a:spcBef>
            </a:pPr>
            <a:endParaRPr lang="en-US" sz="1800" dirty="0">
              <a:solidFill>
                <a:schemeClr val="bg1"/>
              </a:solidFill>
            </a:endParaRPr>
          </a:p>
        </p:txBody>
      </p:sp>
      <p:sp>
        <p:nvSpPr>
          <p:cNvPr id="17" name="Text Placeholder 16">
            <a:extLst>
              <a:ext uri="{FF2B5EF4-FFF2-40B4-BE49-F238E27FC236}">
                <a16:creationId xmlns:a16="http://schemas.microsoft.com/office/drawing/2014/main" id="{D727966C-FFDD-4750-A69F-359BCEC9CB1D}"/>
              </a:ext>
            </a:extLst>
          </p:cNvPr>
          <p:cNvSpPr>
            <a:spLocks noGrp="1"/>
          </p:cNvSpPr>
          <p:nvPr>
            <p:ph type="body" sz="quarter" idx="14"/>
          </p:nvPr>
        </p:nvSpPr>
        <p:spPr>
          <a:xfrm>
            <a:off x="4271963" y="4219268"/>
            <a:ext cx="3646487" cy="2520043"/>
          </a:xfrm>
          <a:solidFill>
            <a:schemeClr val="accent1"/>
          </a:solidFill>
        </p:spPr>
        <p:txBody>
          <a:bodyPr>
            <a:normAutofit/>
          </a:bodyPr>
          <a:lstStyle/>
          <a:p>
            <a:pPr>
              <a:lnSpc>
                <a:spcPct val="120000"/>
              </a:lnSpc>
              <a:spcBef>
                <a:spcPts val="0"/>
              </a:spcBef>
            </a:pPr>
            <a:r>
              <a:rPr lang="en-US" sz="2000" b="1" dirty="0">
                <a:solidFill>
                  <a:schemeClr val="bg1"/>
                </a:solidFill>
              </a:rPr>
              <a:t>Continue building a community of research oriented practitioners</a:t>
            </a:r>
          </a:p>
          <a:p>
            <a:pPr marL="0" lvl="1" algn="ctr">
              <a:lnSpc>
                <a:spcPct val="120000"/>
              </a:lnSpc>
              <a:spcBef>
                <a:spcPts val="0"/>
              </a:spcBef>
              <a:buSzPts val="1600"/>
            </a:pPr>
            <a:endParaRPr lang="en-US" sz="2000" dirty="0">
              <a:solidFill>
                <a:schemeClr val="bg1"/>
              </a:solidFill>
            </a:endParaRPr>
          </a:p>
          <a:p>
            <a:endParaRPr lang="en-GB" dirty="0"/>
          </a:p>
        </p:txBody>
      </p:sp>
      <p:sp>
        <p:nvSpPr>
          <p:cNvPr id="18" name="Text Placeholder 17">
            <a:extLst>
              <a:ext uri="{FF2B5EF4-FFF2-40B4-BE49-F238E27FC236}">
                <a16:creationId xmlns:a16="http://schemas.microsoft.com/office/drawing/2014/main" id="{9B7B1F20-0424-441F-BBEB-8442C6587C2B}"/>
              </a:ext>
            </a:extLst>
          </p:cNvPr>
          <p:cNvSpPr>
            <a:spLocks noGrp="1"/>
          </p:cNvSpPr>
          <p:nvPr>
            <p:ph type="body" sz="quarter" idx="15"/>
          </p:nvPr>
        </p:nvSpPr>
        <p:spPr>
          <a:xfrm>
            <a:off x="8180388" y="4194174"/>
            <a:ext cx="3646487" cy="2516867"/>
          </a:xfrm>
          <a:solidFill>
            <a:schemeClr val="accent1"/>
          </a:solidFill>
        </p:spPr>
        <p:txBody>
          <a:bodyPr/>
          <a:lstStyle/>
          <a:p>
            <a:pPr>
              <a:lnSpc>
                <a:spcPct val="120000"/>
              </a:lnSpc>
              <a:spcBef>
                <a:spcPts val="0"/>
              </a:spcBef>
            </a:pPr>
            <a:r>
              <a:rPr lang="en-US" sz="2000" b="1" dirty="0">
                <a:solidFill>
                  <a:schemeClr val="bg1"/>
                </a:solidFill>
              </a:rPr>
              <a:t>Build on existing </a:t>
            </a:r>
          </a:p>
          <a:p>
            <a:pPr>
              <a:lnSpc>
                <a:spcPct val="120000"/>
              </a:lnSpc>
              <a:spcBef>
                <a:spcPts val="0"/>
              </a:spcBef>
            </a:pPr>
            <a:r>
              <a:rPr lang="en-US" sz="2000" b="1" dirty="0">
                <a:solidFill>
                  <a:schemeClr val="bg1"/>
                </a:solidFill>
              </a:rPr>
              <a:t>research partnerships </a:t>
            </a:r>
          </a:p>
          <a:p>
            <a:pPr>
              <a:lnSpc>
                <a:spcPct val="120000"/>
              </a:lnSpc>
              <a:spcBef>
                <a:spcPts val="0"/>
              </a:spcBef>
            </a:pPr>
            <a:r>
              <a:rPr lang="en-US" sz="2000" b="1" dirty="0">
                <a:solidFill>
                  <a:schemeClr val="bg1"/>
                </a:solidFill>
              </a:rPr>
              <a:t>&amp; </a:t>
            </a:r>
          </a:p>
          <a:p>
            <a:pPr>
              <a:lnSpc>
                <a:spcPct val="120000"/>
              </a:lnSpc>
              <a:spcBef>
                <a:spcPts val="0"/>
              </a:spcBef>
            </a:pPr>
            <a:r>
              <a:rPr lang="en-US" sz="2000" b="1" dirty="0">
                <a:solidFill>
                  <a:schemeClr val="bg1"/>
                </a:solidFill>
              </a:rPr>
              <a:t>explore new opportunities</a:t>
            </a:r>
          </a:p>
          <a:p>
            <a:endParaRPr lang="en-GB" dirty="0"/>
          </a:p>
          <a:p>
            <a:endParaRPr lang="en-GB" dirty="0"/>
          </a:p>
        </p:txBody>
      </p:sp>
      <p:sp>
        <p:nvSpPr>
          <p:cNvPr id="3" name="Title 2">
            <a:extLst>
              <a:ext uri="{FF2B5EF4-FFF2-40B4-BE49-F238E27FC236}">
                <a16:creationId xmlns:a16="http://schemas.microsoft.com/office/drawing/2014/main" id="{684E411E-4B9D-52B6-0DB0-89ED9D0BC6FA}"/>
              </a:ext>
            </a:extLst>
          </p:cNvPr>
          <p:cNvSpPr>
            <a:spLocks noGrp="1"/>
          </p:cNvSpPr>
          <p:nvPr>
            <p:ph type="title"/>
          </p:nvPr>
        </p:nvSpPr>
        <p:spPr>
          <a:xfrm>
            <a:off x="334963" y="0"/>
            <a:ext cx="4545012" cy="1018096"/>
          </a:xfrm>
          <a:solidFill>
            <a:schemeClr val="accent1"/>
          </a:solidFill>
        </p:spPr>
        <p:txBody>
          <a:bodyPr/>
          <a:lstStyle/>
          <a:p>
            <a:r>
              <a:rPr lang="en-US" sz="2400" dirty="0">
                <a:solidFill>
                  <a:schemeClr val="bg1"/>
                </a:solidFill>
              </a:rPr>
              <a:t>Next Steps</a:t>
            </a:r>
          </a:p>
        </p:txBody>
      </p:sp>
    </p:spTree>
    <p:extLst>
      <p:ext uri="{BB962C8B-B14F-4D97-AF65-F5344CB8AC3E}">
        <p14:creationId xmlns:p14="http://schemas.microsoft.com/office/powerpoint/2010/main" val="2650952934"/>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3200" dirty="0">
                <a:solidFill>
                  <a:schemeClr val="bg1"/>
                </a:solidFill>
              </a:rPr>
              <a:t>Thank you</a:t>
            </a:r>
          </a:p>
        </p:txBody>
      </p:sp>
      <p:sp>
        <p:nvSpPr>
          <p:cNvPr id="4" name="Text Placeholder 3"/>
          <p:cNvSpPr>
            <a:spLocks noGrp="1"/>
          </p:cNvSpPr>
          <p:nvPr>
            <p:ph type="body" idx="1"/>
          </p:nvPr>
        </p:nvSpPr>
        <p:spPr>
          <a:xfrm>
            <a:off x="7454252" y="3429000"/>
            <a:ext cx="3719512" cy="1513285"/>
          </a:xfrm>
        </p:spPr>
        <p:txBody>
          <a:bodyPr>
            <a:noAutofit/>
          </a:bodyPr>
          <a:lstStyle/>
          <a:p>
            <a:r>
              <a:rPr lang="en-US" sz="2000" dirty="0">
                <a:solidFill>
                  <a:schemeClr val="bg1"/>
                </a:solidFill>
              </a:rPr>
              <a:t>Raffaella </a:t>
            </a:r>
            <a:r>
              <a:rPr lang="en-US" sz="2000" dirty="0" err="1">
                <a:solidFill>
                  <a:schemeClr val="bg1"/>
                </a:solidFill>
              </a:rPr>
              <a:t>Sadun</a:t>
            </a:r>
            <a:endParaRPr lang="en-US" sz="2000" dirty="0">
              <a:solidFill>
                <a:schemeClr val="bg1"/>
              </a:solidFill>
            </a:endParaRPr>
          </a:p>
          <a:p>
            <a:r>
              <a:rPr lang="en-US" sz="2000" dirty="0">
                <a:solidFill>
                  <a:schemeClr val="bg1"/>
                </a:solidFill>
                <a:hlinkClick r:id="rId2">
                  <a:extLst>
                    <a:ext uri="{A12FA001-AC4F-418D-AE19-62706E023703}">
                      <ahyp:hlinkClr xmlns:ahyp="http://schemas.microsoft.com/office/drawing/2018/hyperlinkcolor" val="tx"/>
                    </a:ext>
                  </a:extLst>
                </a:hlinkClick>
              </a:rPr>
              <a:t>rsadun@hbs.edu</a:t>
            </a:r>
            <a:endParaRPr lang="en-US" sz="2000" dirty="0">
              <a:solidFill>
                <a:schemeClr val="bg1"/>
              </a:solidFill>
            </a:endParaRPr>
          </a:p>
          <a:p>
            <a:r>
              <a:rPr lang="en-US" sz="2000" dirty="0">
                <a:solidFill>
                  <a:schemeClr val="bg1"/>
                </a:solidFill>
              </a:rPr>
              <a:t>@</a:t>
            </a:r>
            <a:r>
              <a:rPr lang="en-US" sz="2000" dirty="0" err="1">
                <a:solidFill>
                  <a:schemeClr val="bg1"/>
                </a:solidFill>
              </a:rPr>
              <a:t>raffasadun</a:t>
            </a:r>
            <a:endParaRPr lang="en-US" sz="2000" dirty="0">
              <a:solidFill>
                <a:schemeClr val="bg1"/>
              </a:solidFill>
            </a:endParaRPr>
          </a:p>
        </p:txBody>
      </p:sp>
    </p:spTree>
    <p:extLst>
      <p:ext uri="{BB962C8B-B14F-4D97-AF65-F5344CB8AC3E}">
        <p14:creationId xmlns:p14="http://schemas.microsoft.com/office/powerpoint/2010/main" val="1598668616"/>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1029"/>
        <p:cNvGrpSpPr/>
        <p:nvPr/>
      </p:nvGrpSpPr>
      <p:grpSpPr>
        <a:xfrm>
          <a:off x="0" y="0"/>
          <a:ext cx="0" cy="0"/>
          <a:chOff x="0" y="0"/>
          <a:chExt cx="0" cy="0"/>
        </a:xfrm>
      </p:grpSpPr>
      <p:sp>
        <p:nvSpPr>
          <p:cNvPr id="7" name="Rectangle 6">
            <a:extLst>
              <a:ext uri="{FF2B5EF4-FFF2-40B4-BE49-F238E27FC236}">
                <a16:creationId xmlns:a16="http://schemas.microsoft.com/office/drawing/2014/main" id="{7B5F861C-76BA-1B16-8C59-8D17E76E3DC8}"/>
              </a:ext>
            </a:extLst>
          </p:cNvPr>
          <p:cNvSpPr/>
          <p:nvPr/>
        </p:nvSpPr>
        <p:spPr>
          <a:xfrm>
            <a:off x="8082840" y="1185526"/>
            <a:ext cx="3770608" cy="51292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9E9C8F7-1128-F5E8-646D-6CEEB1F2818E}"/>
              </a:ext>
            </a:extLst>
          </p:cNvPr>
          <p:cNvSpPr/>
          <p:nvPr/>
        </p:nvSpPr>
        <p:spPr>
          <a:xfrm>
            <a:off x="4159016" y="1185526"/>
            <a:ext cx="3806679" cy="5129252"/>
          </a:xfrm>
          <a:prstGeom prst="rect">
            <a:avLst/>
          </a:prstGeom>
          <a:solidFill>
            <a:srgbClr val="E8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B30EBA95-A48D-4812-8B19-7F8965FDE01B}"/>
              </a:ext>
            </a:extLst>
          </p:cNvPr>
          <p:cNvSpPr/>
          <p:nvPr/>
        </p:nvSpPr>
        <p:spPr>
          <a:xfrm>
            <a:off x="304324" y="1207765"/>
            <a:ext cx="3786614" cy="5129252"/>
          </a:xfrm>
          <a:prstGeom prst="rect">
            <a:avLst/>
          </a:prstGeom>
          <a:solidFill>
            <a:srgbClr val="AACD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D63A815B-4F41-6DFD-8A24-09C4013945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ct 2" hidden="1">
                        <a:extLst>
                          <a:ext uri="{FF2B5EF4-FFF2-40B4-BE49-F238E27FC236}">
                            <a16:creationId xmlns:a16="http://schemas.microsoft.com/office/drawing/2014/main" id="{D63A815B-4F41-6DFD-8A24-09C4013945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1102" name="Google Shape;11102;p43"/>
          <p:cNvCxnSpPr>
            <a:cxnSpLocks/>
          </p:cNvCxnSpPr>
          <p:nvPr/>
        </p:nvCxnSpPr>
        <p:spPr>
          <a:xfrm>
            <a:off x="8213271" y="2437708"/>
            <a:ext cx="3467977" cy="0"/>
          </a:xfrm>
          <a:prstGeom prst="straightConnector1">
            <a:avLst/>
          </a:prstGeom>
          <a:noFill/>
          <a:ln w="9525" cap="flat" cmpd="sng">
            <a:solidFill>
              <a:schemeClr val="lt1"/>
            </a:solidFill>
            <a:prstDash val="solid"/>
            <a:miter lim="800000"/>
            <a:headEnd type="none" w="sm" len="sm"/>
            <a:tailEnd type="none" w="sm" len="sm"/>
          </a:ln>
        </p:spPr>
      </p:cxnSp>
      <p:cxnSp>
        <p:nvCxnSpPr>
          <p:cNvPr id="11162" name="Google Shape;11162;p43"/>
          <p:cNvCxnSpPr/>
          <p:nvPr/>
        </p:nvCxnSpPr>
        <p:spPr>
          <a:xfrm>
            <a:off x="4199860" y="2437708"/>
            <a:ext cx="3351811" cy="0"/>
          </a:xfrm>
          <a:prstGeom prst="straightConnector1">
            <a:avLst/>
          </a:prstGeom>
          <a:noFill/>
          <a:ln w="9525" cap="flat" cmpd="sng">
            <a:solidFill>
              <a:schemeClr val="accent1"/>
            </a:solidFill>
            <a:prstDash val="solid"/>
            <a:miter lim="800000"/>
            <a:headEnd type="none" w="sm" len="sm"/>
            <a:tailEnd type="none" w="sm" len="sm"/>
          </a:ln>
        </p:spPr>
      </p:cxnSp>
      <p:cxnSp>
        <p:nvCxnSpPr>
          <p:cNvPr id="11284" name="Google Shape;11284;p43"/>
          <p:cNvCxnSpPr/>
          <p:nvPr/>
        </p:nvCxnSpPr>
        <p:spPr>
          <a:xfrm>
            <a:off x="329609" y="2437708"/>
            <a:ext cx="3400618" cy="0"/>
          </a:xfrm>
          <a:prstGeom prst="straightConnector1">
            <a:avLst/>
          </a:prstGeom>
          <a:noFill/>
          <a:ln w="9525" cap="flat" cmpd="sng">
            <a:solidFill>
              <a:srgbClr val="1A425C"/>
            </a:solidFill>
            <a:prstDash val="solid"/>
            <a:miter lim="800000"/>
            <a:headEnd type="none" w="sm" len="sm"/>
            <a:tailEnd type="none" w="sm" len="sm"/>
          </a:ln>
        </p:spPr>
      </p:cxnSp>
      <p:sp>
        <p:nvSpPr>
          <p:cNvPr id="11285" name="Google Shape;11285;p43"/>
          <p:cNvSpPr txBox="1">
            <a:spLocks noGrp="1"/>
          </p:cNvSpPr>
          <p:nvPr>
            <p:ph type="title"/>
          </p:nvPr>
        </p:nvSpPr>
        <p:spPr>
          <a:xfrm>
            <a:off x="334963" y="0"/>
            <a:ext cx="4545012" cy="1018096"/>
          </a:xfrm>
          <a:prstGeom prst="rect">
            <a:avLst/>
          </a:prstGeom>
          <a:solidFill>
            <a:schemeClr val="accent1"/>
          </a:solidFill>
          <a:ln>
            <a:noFill/>
          </a:ln>
        </p:spPr>
        <p:txBody>
          <a:bodyPr spcFirstLastPara="1" wrap="square" lIns="180000" tIns="540000" rIns="72000" bIns="180000" anchor="b" anchorCtr="0">
            <a:noAutofit/>
          </a:bodyPr>
          <a:lstStyle/>
          <a:p>
            <a:pPr marL="0" lvl="0" indent="0" algn="l">
              <a:lnSpc>
                <a:spcPct val="90000"/>
              </a:lnSpc>
              <a:spcBef>
                <a:spcPts val="0"/>
              </a:spcBef>
              <a:spcAft>
                <a:spcPts val="0"/>
              </a:spcAft>
              <a:buClr>
                <a:schemeClr val="lt1"/>
              </a:buClr>
              <a:buSzPts val="2000"/>
              <a:buFont typeface="Arial"/>
              <a:buNone/>
            </a:pPr>
            <a:r>
              <a:rPr lang="en-US" sz="2400" dirty="0"/>
              <a:t>Why Reskilling?</a:t>
            </a:r>
          </a:p>
        </p:txBody>
      </p:sp>
      <p:sp>
        <p:nvSpPr>
          <p:cNvPr id="11286" name="Google Shape;11286;p43"/>
          <p:cNvSpPr txBox="1"/>
          <p:nvPr/>
        </p:nvSpPr>
        <p:spPr>
          <a:xfrm>
            <a:off x="338552" y="2522068"/>
            <a:ext cx="3598408" cy="3777770"/>
          </a:xfrm>
          <a:prstGeom prst="rect">
            <a:avLst/>
          </a:prstGeom>
          <a:noFill/>
          <a:ln>
            <a:noFill/>
          </a:ln>
        </p:spPr>
        <p:txBody>
          <a:bodyPr spcFirstLastPara="1" wrap="square" lIns="180000" tIns="45700" rIns="91425" bIns="45700" anchor="t" anchorCtr="0">
            <a:normAutofit lnSpcReduction="10000"/>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1A425C"/>
                </a:solidFill>
                <a:effectLst/>
                <a:uLnTx/>
                <a:uFillTx/>
                <a:latin typeface="Arial"/>
                <a:cs typeface="Arial"/>
                <a:sym typeface="Arial"/>
              </a:rPr>
              <a:t>Digital transformation changes the demand for skills: </a:t>
            </a:r>
          </a:p>
          <a:p>
            <a:pPr marL="285750" marR="0" lvl="0" indent="-285750" algn="l"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0" cap="none" spc="0" normalizeH="0" baseline="0" noProof="0" dirty="0">
                <a:ln>
                  <a:noFill/>
                </a:ln>
                <a:solidFill>
                  <a:srgbClr val="1A425C"/>
                </a:solidFill>
                <a:effectLst/>
                <a:uLnTx/>
                <a:uFillTx/>
                <a:latin typeface="Arial"/>
                <a:cs typeface="Arial"/>
                <a:sym typeface="Arial"/>
              </a:rPr>
              <a:t>Polarization between high and low skill occupations</a:t>
            </a:r>
          </a:p>
          <a:p>
            <a:pPr marL="285750" marR="0" lvl="0" indent="-285750" algn="l"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0" i="0" u="none" strike="noStrike" kern="0" cap="none" spc="0" normalizeH="0" baseline="0" noProof="0" dirty="0">
                <a:ln>
                  <a:noFill/>
                </a:ln>
                <a:solidFill>
                  <a:srgbClr val="1A425C"/>
                </a:solidFill>
                <a:effectLst/>
                <a:uLnTx/>
                <a:uFillTx/>
                <a:latin typeface="Arial"/>
                <a:cs typeface="Arial"/>
                <a:sym typeface="Arial"/>
              </a:rPr>
              <a:t>Up to </a:t>
            </a:r>
            <a:r>
              <a:rPr kumimoji="0" lang="en-US" sz="1800" b="1" i="0" u="none" strike="noStrike" kern="0" cap="none" spc="0" normalizeH="0" baseline="0" noProof="0" dirty="0">
                <a:ln>
                  <a:noFill/>
                </a:ln>
                <a:solidFill>
                  <a:srgbClr val="1A425C"/>
                </a:solidFill>
                <a:effectLst/>
                <a:uLnTx/>
                <a:uFillTx/>
                <a:latin typeface="Arial"/>
                <a:cs typeface="Arial"/>
                <a:sym typeface="Arial"/>
              </a:rPr>
              <a:t>32% of jobs </a:t>
            </a:r>
            <a:r>
              <a:rPr kumimoji="0" lang="en-US" sz="1800" b="0" i="0" u="none" strike="noStrike" kern="0" cap="none" spc="0" normalizeH="0" baseline="0" noProof="0" dirty="0">
                <a:ln>
                  <a:noFill/>
                </a:ln>
                <a:solidFill>
                  <a:srgbClr val="1A425C"/>
                </a:solidFill>
                <a:effectLst/>
                <a:uLnTx/>
                <a:uFillTx/>
                <a:latin typeface="Arial"/>
                <a:cs typeface="Arial"/>
                <a:sym typeface="Arial"/>
              </a:rPr>
              <a:t>may be radically transformed (OECD 2019)</a:t>
            </a:r>
          </a:p>
          <a:p>
            <a:pPr marL="285750" marR="0" lvl="0" indent="-285750" algn="l"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1" i="0" u="none" strike="noStrike" kern="0" cap="none" spc="0" normalizeH="0" baseline="0" noProof="0" dirty="0">
                <a:ln>
                  <a:noFill/>
                </a:ln>
                <a:solidFill>
                  <a:srgbClr val="1A425C"/>
                </a:solidFill>
                <a:effectLst/>
                <a:uLnTx/>
                <a:uFillTx/>
                <a:latin typeface="Arial"/>
                <a:cs typeface="Arial"/>
                <a:sym typeface="Arial"/>
              </a:rPr>
              <a:t>300mn jobs </a:t>
            </a:r>
            <a:r>
              <a:rPr kumimoji="0" lang="en-US" sz="1800" b="0" i="0" u="none" strike="noStrike" kern="0" cap="none" spc="0" normalizeH="0" baseline="0" noProof="0" dirty="0">
                <a:ln>
                  <a:noFill/>
                </a:ln>
                <a:solidFill>
                  <a:srgbClr val="1A425C"/>
                </a:solidFill>
                <a:effectLst/>
                <a:uLnTx/>
                <a:uFillTx/>
                <a:latin typeface="Arial"/>
                <a:cs typeface="Arial"/>
                <a:sym typeface="Arial"/>
              </a:rPr>
              <a:t>estimated to be affected by Generative AI (Goldman Sachs, 2023)</a:t>
            </a: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1A425C"/>
              </a:solidFill>
              <a:effectLst/>
              <a:uLnTx/>
              <a:uFillTx/>
              <a:latin typeface="Arial"/>
              <a:cs typeface="Arial"/>
              <a:sym typeface="Arial"/>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1A425C"/>
                </a:solidFill>
                <a:effectLst/>
                <a:uLnTx/>
                <a:uFillTx/>
                <a:latin typeface="Arial"/>
                <a:cs typeface="Arial"/>
                <a:sym typeface="Arial"/>
              </a:rPr>
              <a:t>New jobs created, but also many others at risk of obsolescence</a:t>
            </a:r>
          </a:p>
        </p:txBody>
      </p:sp>
      <p:sp>
        <p:nvSpPr>
          <p:cNvPr id="11287" name="Google Shape;11287;p43"/>
          <p:cNvSpPr txBox="1"/>
          <p:nvPr/>
        </p:nvSpPr>
        <p:spPr>
          <a:xfrm>
            <a:off x="334963" y="1666696"/>
            <a:ext cx="3395264" cy="428804"/>
          </a:xfrm>
          <a:prstGeom prst="rect">
            <a:avLst/>
          </a:prstGeom>
          <a:noFill/>
          <a:ln>
            <a:noFill/>
          </a:ln>
        </p:spPr>
        <p:txBody>
          <a:bodyPr spcFirstLastPara="1" wrap="square" lIns="180000" tIns="45700" rIns="91425" bIns="45700" anchor="t" anchorCtr="0">
            <a:norm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1A425C"/>
                </a:solidFill>
                <a:effectLst/>
                <a:uLnTx/>
                <a:uFillTx/>
                <a:latin typeface="Arial"/>
                <a:cs typeface="Arial"/>
                <a:sym typeface="Arial"/>
              </a:rPr>
              <a:t>THE PROBLEM</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1288" name="Google Shape;11288;p43"/>
          <p:cNvSpPr txBox="1"/>
          <p:nvPr/>
        </p:nvSpPr>
        <p:spPr>
          <a:xfrm>
            <a:off x="4182001" y="2576954"/>
            <a:ext cx="3598408" cy="3112408"/>
          </a:xfrm>
          <a:prstGeom prst="rect">
            <a:avLst/>
          </a:prstGeom>
          <a:noFill/>
          <a:ln>
            <a:noFill/>
          </a:ln>
        </p:spPr>
        <p:txBody>
          <a:bodyPr spcFirstLastPara="1" wrap="square" lIns="180000" tIns="45700" rIns="91425" bIns="45700" anchor="t" anchorCtr="0">
            <a:norm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A41034"/>
                </a:solidFill>
                <a:effectLst/>
                <a:uLnTx/>
                <a:uFillTx/>
                <a:latin typeface="Arial"/>
                <a:cs typeface="Arial"/>
                <a:sym typeface="Arial"/>
              </a:rPr>
              <a:t>Reskilling—training that helps acquire skills to access a new occupation—may help </a:t>
            </a:r>
            <a:r>
              <a:rPr kumimoji="0" lang="en-US" sz="1800" b="1" i="0" u="none" strike="noStrike" kern="0" cap="none" spc="0" normalizeH="0" baseline="0" noProof="0" dirty="0">
                <a:ln>
                  <a:noFill/>
                </a:ln>
                <a:solidFill>
                  <a:srgbClr val="A41034"/>
                </a:solidFill>
                <a:effectLst/>
                <a:uLnTx/>
                <a:uFillTx/>
                <a:latin typeface="Arial"/>
                <a:cs typeface="Arial"/>
                <a:sym typeface="Arial"/>
              </a:rPr>
              <a:t>workers</a:t>
            </a:r>
            <a:r>
              <a:rPr kumimoji="0" lang="en-US" sz="1800" b="0" i="0" u="none" strike="noStrike" kern="0" cap="none" spc="0" normalizeH="0" baseline="0" noProof="0" dirty="0">
                <a:ln>
                  <a:noFill/>
                </a:ln>
                <a:solidFill>
                  <a:srgbClr val="A41034"/>
                </a:solidFill>
                <a:effectLst/>
                <a:uLnTx/>
                <a:uFillTx/>
                <a:latin typeface="Arial"/>
                <a:cs typeface="Arial"/>
                <a:sym typeface="Arial"/>
              </a:rPr>
              <a:t> and </a:t>
            </a:r>
            <a:r>
              <a:rPr kumimoji="0" lang="en-US" sz="1800" b="1" i="0" u="none" strike="noStrike" kern="0" cap="none" spc="0" normalizeH="0" baseline="0" noProof="0" dirty="0">
                <a:ln>
                  <a:noFill/>
                </a:ln>
                <a:solidFill>
                  <a:srgbClr val="A41034"/>
                </a:solidFill>
                <a:effectLst/>
                <a:uLnTx/>
                <a:uFillTx/>
                <a:latin typeface="Arial"/>
                <a:cs typeface="Arial"/>
                <a:sym typeface="Arial"/>
              </a:rPr>
              <a:t>firms</a:t>
            </a:r>
            <a:r>
              <a:rPr kumimoji="0" lang="en-US" sz="1800" b="0" i="0" u="none" strike="noStrike" kern="0" cap="none" spc="0" normalizeH="0" baseline="0" noProof="0" dirty="0">
                <a:ln>
                  <a:noFill/>
                </a:ln>
                <a:solidFill>
                  <a:srgbClr val="A41034"/>
                </a:solidFill>
                <a:effectLst/>
                <a:uLnTx/>
                <a:uFillTx/>
                <a:latin typeface="Arial"/>
                <a:cs typeface="Arial"/>
                <a:sym typeface="Arial"/>
              </a:rPr>
              <a:t> cope with these changes:</a:t>
            </a:r>
          </a:p>
          <a:p>
            <a:pPr marL="285750" marR="0" lvl="0" indent="-285750" algn="l"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800" b="1" i="0" u="none" strike="noStrike" kern="0" cap="none" spc="0" normalizeH="0" baseline="0" noProof="0" dirty="0">
                <a:ln>
                  <a:noFill/>
                </a:ln>
                <a:solidFill>
                  <a:srgbClr val="A41034"/>
                </a:solidFill>
                <a:effectLst/>
                <a:uLnTx/>
                <a:uFillTx/>
                <a:latin typeface="Arial"/>
                <a:cs typeface="Arial"/>
                <a:sym typeface="Arial"/>
              </a:rPr>
              <a:t>1 billion people </a:t>
            </a:r>
            <a:r>
              <a:rPr kumimoji="0" lang="en-US" sz="1800" b="0" i="0" u="none" strike="noStrike" kern="0" cap="none" spc="0" normalizeH="0" baseline="0" noProof="0" dirty="0">
                <a:ln>
                  <a:noFill/>
                </a:ln>
                <a:solidFill>
                  <a:srgbClr val="A41034"/>
                </a:solidFill>
                <a:effectLst/>
                <a:uLnTx/>
                <a:uFillTx/>
                <a:latin typeface="Arial"/>
                <a:cs typeface="Arial"/>
                <a:sym typeface="Arial"/>
              </a:rPr>
              <a:t>may need to be reskilled to entirely new roles (WEF, 2021)</a:t>
            </a: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A41034"/>
              </a:solidFill>
              <a:effectLst/>
              <a:uLnTx/>
              <a:uFillTx/>
              <a:latin typeface="Arial"/>
              <a:cs typeface="Arial"/>
              <a:sym typeface="Arial"/>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A41034"/>
              </a:solidFill>
              <a:effectLst/>
              <a:uLnTx/>
              <a:uFillTx/>
              <a:latin typeface="Arial"/>
              <a:cs typeface="Arial"/>
              <a:sym typeface="Arial"/>
            </a:endParaRPr>
          </a:p>
        </p:txBody>
      </p:sp>
      <p:sp>
        <p:nvSpPr>
          <p:cNvPr id="11289" name="Google Shape;11289;p43"/>
          <p:cNvSpPr txBox="1"/>
          <p:nvPr/>
        </p:nvSpPr>
        <p:spPr>
          <a:xfrm>
            <a:off x="4198938" y="1666696"/>
            <a:ext cx="3351810" cy="428804"/>
          </a:xfrm>
          <a:prstGeom prst="rect">
            <a:avLst/>
          </a:prstGeom>
          <a:noFill/>
          <a:ln>
            <a:noFill/>
          </a:ln>
        </p:spPr>
        <p:txBody>
          <a:bodyPr spcFirstLastPara="1" wrap="square" lIns="180000" tIns="45700" rIns="91425" bIns="45700" anchor="t" anchorCtr="0">
            <a:norm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A41034"/>
                </a:solidFill>
                <a:effectLst/>
                <a:uLnTx/>
                <a:uFillTx/>
                <a:latin typeface="Arial"/>
                <a:cs typeface="Arial"/>
                <a:sym typeface="Arial"/>
              </a:rPr>
              <a:t>POSSIBLE SOLUTIONS</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1290" name="Google Shape;11290;p43"/>
          <p:cNvSpPr txBox="1"/>
          <p:nvPr/>
        </p:nvSpPr>
        <p:spPr>
          <a:xfrm>
            <a:off x="8082840" y="2595661"/>
            <a:ext cx="3598408" cy="3112408"/>
          </a:xfrm>
          <a:prstGeom prst="rect">
            <a:avLst/>
          </a:prstGeom>
          <a:noFill/>
          <a:ln>
            <a:noFill/>
          </a:ln>
        </p:spPr>
        <p:txBody>
          <a:bodyPr spcFirstLastPara="1" wrap="square" lIns="180000" tIns="45700" rIns="91425" bIns="45700" anchor="t" anchorCtr="0">
            <a:norm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a:ln>
                  <a:noFill/>
                </a:ln>
                <a:solidFill>
                  <a:srgbClr val="FFFFFF"/>
                </a:solidFill>
                <a:effectLst/>
                <a:uLnTx/>
                <a:uFillTx/>
                <a:latin typeface="Arial"/>
                <a:cs typeface="Arial"/>
                <a:sym typeface="Arial"/>
              </a:rPr>
              <a:t>Despite </a:t>
            </a:r>
            <a:r>
              <a:rPr kumimoji="0" lang="en-US" sz="1800" b="0" i="0" u="none" strike="noStrike" kern="0" cap="none" spc="0" normalizeH="0" baseline="0" noProof="0" dirty="0">
                <a:ln>
                  <a:noFill/>
                </a:ln>
                <a:solidFill>
                  <a:srgbClr val="FFFFFF"/>
                </a:solidFill>
                <a:effectLst/>
                <a:uLnTx/>
                <a:uFillTx/>
                <a:latin typeface="Arial"/>
                <a:cs typeface="Arial"/>
                <a:sym typeface="Arial"/>
              </a:rPr>
              <a:t>public announcements, ongoing investments, reports, etc... </a:t>
            </a: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800" b="1" i="0" u="none" strike="noStrike" kern="0" cap="none" spc="0" normalizeH="0" baseline="0" noProof="0" dirty="0">
              <a:ln>
                <a:noFill/>
              </a:ln>
              <a:solidFill>
                <a:srgbClr val="FFFFFF"/>
              </a:solidFill>
              <a:effectLst/>
              <a:uLnTx/>
              <a:uFillTx/>
              <a:latin typeface="Arial"/>
              <a:cs typeface="Arial"/>
              <a:sym typeface="Arial"/>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a:cs typeface="Arial"/>
                <a:sym typeface="Arial"/>
              </a:rPr>
              <a:t>…Evidence on whether and how reskilling works is scant</a:t>
            </a: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FFFFFF"/>
              </a:solidFill>
              <a:effectLst/>
              <a:uLnTx/>
              <a:uFillTx/>
              <a:latin typeface="Arial"/>
              <a:cs typeface="Arial"/>
              <a:sym typeface="Arial"/>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FFFFFF"/>
              </a:solidFill>
              <a:effectLst/>
              <a:uLnTx/>
              <a:uFillTx/>
              <a:latin typeface="Arial"/>
              <a:ea typeface="Arial"/>
              <a:cs typeface="Arial"/>
              <a:sym typeface="Arial"/>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291" name="Google Shape;11291;p43"/>
          <p:cNvSpPr txBox="1"/>
          <p:nvPr/>
        </p:nvSpPr>
        <p:spPr>
          <a:xfrm>
            <a:off x="8062911" y="1666696"/>
            <a:ext cx="3395263" cy="428804"/>
          </a:xfrm>
          <a:prstGeom prst="rect">
            <a:avLst/>
          </a:prstGeom>
          <a:noFill/>
          <a:ln>
            <a:noFill/>
          </a:ln>
        </p:spPr>
        <p:txBody>
          <a:bodyPr spcFirstLastPara="1" wrap="square" lIns="180000" tIns="45700" rIns="91425" bIns="45700" anchor="t" anchorCtr="0">
            <a:norm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Arial"/>
                <a:ea typeface="Arial"/>
                <a:cs typeface="Arial"/>
                <a:sym typeface="Arial"/>
              </a:rPr>
              <a:t>NEED FOR EVIDENCE</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11292" name="Google Shape;11292;p43"/>
          <p:cNvGrpSpPr/>
          <p:nvPr/>
        </p:nvGrpSpPr>
        <p:grpSpPr>
          <a:xfrm>
            <a:off x="-253475" y="7479246"/>
            <a:ext cx="12192000" cy="584200"/>
            <a:chOff x="0" y="6273800"/>
            <a:chExt cx="12192000" cy="584200"/>
          </a:xfrm>
        </p:grpSpPr>
        <p:sp>
          <p:nvSpPr>
            <p:cNvPr id="11293" name="Google Shape;11293;p43"/>
            <p:cNvSpPr/>
            <p:nvPr/>
          </p:nvSpPr>
          <p:spPr>
            <a:xfrm>
              <a:off x="0" y="6273800"/>
              <a:ext cx="12192000" cy="5842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11294" name="Google Shape;11294;p43"/>
            <p:cNvPicPr preferRelativeResize="0"/>
            <p:nvPr/>
          </p:nvPicPr>
          <p:blipFill rotWithShape="1">
            <a:blip r:embed="rId6">
              <a:alphaModFix/>
            </a:blip>
            <a:srcRect/>
            <a:stretch/>
          </p:blipFill>
          <p:spPr>
            <a:xfrm>
              <a:off x="9513888" y="6392994"/>
              <a:ext cx="2305050" cy="334291"/>
            </a:xfrm>
            <a:prstGeom prst="rect">
              <a:avLst/>
            </a:prstGeom>
            <a:noFill/>
            <a:ln>
              <a:noFill/>
            </a:ln>
          </p:spPr>
        </p:pic>
      </p:grpSp>
    </p:spTree>
    <p:extLst>
      <p:ext uri="{BB962C8B-B14F-4D97-AF65-F5344CB8AC3E}">
        <p14:creationId xmlns:p14="http://schemas.microsoft.com/office/powerpoint/2010/main" val="112589337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1284"/>
                                        </p:tgtEl>
                                        <p:attrNameLst>
                                          <p:attrName>style.visibility</p:attrName>
                                        </p:attrNameLst>
                                      </p:cBhvr>
                                      <p:to>
                                        <p:strVal val="visible"/>
                                      </p:to>
                                    </p:set>
                                    <p:animEffect transition="in" filter="fade">
                                      <p:cBhvr>
                                        <p:cTn id="7" dur="500"/>
                                        <p:tgtEl>
                                          <p:spTgt spid="11284"/>
                                        </p:tgtEl>
                                      </p:cBhvr>
                                    </p:animEffect>
                                  </p:childTnLst>
                                </p:cTn>
                              </p:par>
                              <p:par>
                                <p:cTn id="8" presetID="10" presetClass="entr" presetSubtype="0" fill="hold" nodeType="withEffect">
                                  <p:stCondLst>
                                    <p:cond delay="250"/>
                                  </p:stCondLst>
                                  <p:childTnLst>
                                    <p:set>
                                      <p:cBhvr>
                                        <p:cTn id="9" dur="1" fill="hold">
                                          <p:stCondLst>
                                            <p:cond delay="0"/>
                                          </p:stCondLst>
                                        </p:cTn>
                                        <p:tgtEl>
                                          <p:spTgt spid="11287"/>
                                        </p:tgtEl>
                                        <p:attrNameLst>
                                          <p:attrName>style.visibility</p:attrName>
                                        </p:attrNameLst>
                                      </p:cBhvr>
                                      <p:to>
                                        <p:strVal val="visible"/>
                                      </p:to>
                                    </p:set>
                                    <p:animEffect transition="in" filter="fade">
                                      <p:cBhvr>
                                        <p:cTn id="10" dur="250"/>
                                        <p:tgtEl>
                                          <p:spTgt spid="11287"/>
                                        </p:tgtEl>
                                      </p:cBhvr>
                                    </p:animEffect>
                                  </p:childTnLst>
                                </p:cTn>
                              </p:par>
                            </p:childTnLst>
                          </p:cTn>
                        </p:par>
                        <p:par>
                          <p:cTn id="11" fill="hold">
                            <p:stCondLst>
                              <p:cond delay="750"/>
                            </p:stCondLst>
                            <p:childTnLst>
                              <p:par>
                                <p:cTn id="12" presetID="10" presetClass="entr" presetSubtype="0" fill="hold" nodeType="afterEffect">
                                  <p:stCondLst>
                                    <p:cond delay="250"/>
                                  </p:stCondLst>
                                  <p:childTnLst>
                                    <p:set>
                                      <p:cBhvr>
                                        <p:cTn id="13" dur="1" fill="hold">
                                          <p:stCondLst>
                                            <p:cond delay="0"/>
                                          </p:stCondLst>
                                        </p:cTn>
                                        <p:tgtEl>
                                          <p:spTgt spid="11286"/>
                                        </p:tgtEl>
                                        <p:attrNameLst>
                                          <p:attrName>style.visibility</p:attrName>
                                        </p:attrNameLst>
                                      </p:cBhvr>
                                      <p:to>
                                        <p:strVal val="visible"/>
                                      </p:to>
                                    </p:set>
                                    <p:animEffect transition="in" filter="fade">
                                      <p:cBhvr>
                                        <p:cTn id="14" dur="250"/>
                                        <p:tgtEl>
                                          <p:spTgt spid="11286"/>
                                        </p:tgtEl>
                                      </p:cBhvr>
                                    </p:animEffect>
                                  </p:childTnLst>
                                </p:cTn>
                              </p:par>
                              <p:par>
                                <p:cTn id="15" presetID="10" presetClass="entr" presetSubtype="0" fill="hold" nodeType="withEffect">
                                  <p:stCondLst>
                                    <p:cond delay="750"/>
                                  </p:stCondLst>
                                  <p:childTnLst>
                                    <p:set>
                                      <p:cBhvr>
                                        <p:cTn id="16" dur="1" fill="hold">
                                          <p:stCondLst>
                                            <p:cond delay="0"/>
                                          </p:stCondLst>
                                        </p:cTn>
                                        <p:tgtEl>
                                          <p:spTgt spid="11162"/>
                                        </p:tgtEl>
                                        <p:attrNameLst>
                                          <p:attrName>style.visibility</p:attrName>
                                        </p:attrNameLst>
                                      </p:cBhvr>
                                      <p:to>
                                        <p:strVal val="visible"/>
                                      </p:to>
                                    </p:set>
                                    <p:animEffect transition="in" filter="fade">
                                      <p:cBhvr>
                                        <p:cTn id="17" dur="500"/>
                                        <p:tgtEl>
                                          <p:spTgt spid="1116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289"/>
                                        </p:tgtEl>
                                        <p:attrNameLst>
                                          <p:attrName>style.visibility</p:attrName>
                                        </p:attrNameLst>
                                      </p:cBhvr>
                                      <p:to>
                                        <p:strVal val="visible"/>
                                      </p:to>
                                    </p:set>
                                    <p:animEffect transition="in" filter="fade">
                                      <p:cBhvr>
                                        <p:cTn id="22" dur="250"/>
                                        <p:tgtEl>
                                          <p:spTgt spid="11289"/>
                                        </p:tgtEl>
                                      </p:cBhvr>
                                    </p:animEffect>
                                  </p:childTnLst>
                                </p:cTn>
                              </p:par>
                            </p:childTnLst>
                          </p:cTn>
                        </p:par>
                        <p:par>
                          <p:cTn id="23" fill="hold">
                            <p:stCondLst>
                              <p:cond delay="250"/>
                            </p:stCondLst>
                            <p:childTnLst>
                              <p:par>
                                <p:cTn id="24" presetID="10" presetClass="entr" presetSubtype="0" fill="hold" nodeType="afterEffect">
                                  <p:stCondLst>
                                    <p:cond delay="250"/>
                                  </p:stCondLst>
                                  <p:childTnLst>
                                    <p:set>
                                      <p:cBhvr>
                                        <p:cTn id="25" dur="1" fill="hold">
                                          <p:stCondLst>
                                            <p:cond delay="0"/>
                                          </p:stCondLst>
                                        </p:cTn>
                                        <p:tgtEl>
                                          <p:spTgt spid="11288"/>
                                        </p:tgtEl>
                                        <p:attrNameLst>
                                          <p:attrName>style.visibility</p:attrName>
                                        </p:attrNameLst>
                                      </p:cBhvr>
                                      <p:to>
                                        <p:strVal val="visible"/>
                                      </p:to>
                                    </p:set>
                                    <p:animEffect transition="in" filter="fade">
                                      <p:cBhvr>
                                        <p:cTn id="26" dur="250"/>
                                        <p:tgtEl>
                                          <p:spTgt spid="11288"/>
                                        </p:tgtEl>
                                      </p:cBhvr>
                                    </p:animEffect>
                                  </p:childTnLst>
                                </p:cTn>
                              </p:par>
                              <p:par>
                                <p:cTn id="27" presetID="10" presetClass="entr" presetSubtype="0" fill="hold" nodeType="withEffect">
                                  <p:stCondLst>
                                    <p:cond delay="1250"/>
                                  </p:stCondLst>
                                  <p:childTnLst>
                                    <p:set>
                                      <p:cBhvr>
                                        <p:cTn id="28" dur="1" fill="hold">
                                          <p:stCondLst>
                                            <p:cond delay="0"/>
                                          </p:stCondLst>
                                        </p:cTn>
                                        <p:tgtEl>
                                          <p:spTgt spid="11102"/>
                                        </p:tgtEl>
                                        <p:attrNameLst>
                                          <p:attrName>style.visibility</p:attrName>
                                        </p:attrNameLst>
                                      </p:cBhvr>
                                      <p:to>
                                        <p:strVal val="visible"/>
                                      </p:to>
                                    </p:set>
                                    <p:animEffect transition="in" filter="fade">
                                      <p:cBhvr>
                                        <p:cTn id="29" dur="500"/>
                                        <p:tgtEl>
                                          <p:spTgt spid="1110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1291"/>
                                        </p:tgtEl>
                                        <p:attrNameLst>
                                          <p:attrName>style.visibility</p:attrName>
                                        </p:attrNameLst>
                                      </p:cBhvr>
                                      <p:to>
                                        <p:strVal val="visible"/>
                                      </p:to>
                                    </p:set>
                                    <p:animEffect transition="in" filter="fade">
                                      <p:cBhvr>
                                        <p:cTn id="34" dur="250"/>
                                        <p:tgtEl>
                                          <p:spTgt spid="11291"/>
                                        </p:tgtEl>
                                      </p:cBhvr>
                                    </p:animEffect>
                                  </p:childTnLst>
                                </p:cTn>
                              </p:par>
                            </p:childTnLst>
                          </p:cTn>
                        </p:par>
                        <p:par>
                          <p:cTn id="35" fill="hold">
                            <p:stCondLst>
                              <p:cond delay="250"/>
                            </p:stCondLst>
                            <p:childTnLst>
                              <p:par>
                                <p:cTn id="36" presetID="10" presetClass="entr" presetSubtype="0" fill="hold" nodeType="afterEffect">
                                  <p:stCondLst>
                                    <p:cond delay="250"/>
                                  </p:stCondLst>
                                  <p:childTnLst>
                                    <p:set>
                                      <p:cBhvr>
                                        <p:cTn id="37" dur="1" fill="hold">
                                          <p:stCondLst>
                                            <p:cond delay="0"/>
                                          </p:stCondLst>
                                        </p:cTn>
                                        <p:tgtEl>
                                          <p:spTgt spid="11290"/>
                                        </p:tgtEl>
                                        <p:attrNameLst>
                                          <p:attrName>style.visibility</p:attrName>
                                        </p:attrNameLst>
                                      </p:cBhvr>
                                      <p:to>
                                        <p:strVal val="visible"/>
                                      </p:to>
                                    </p:set>
                                    <p:animEffect transition="in" filter="fade">
                                      <p:cBhvr>
                                        <p:cTn id="38" dur="250"/>
                                        <p:tgtEl>
                                          <p:spTgt spid="112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102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3A815B-4F41-6DFD-8A24-09C4013945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ct 2" hidden="1">
                        <a:extLst>
                          <a:ext uri="{FF2B5EF4-FFF2-40B4-BE49-F238E27FC236}">
                            <a16:creationId xmlns:a16="http://schemas.microsoft.com/office/drawing/2014/main" id="{D63A815B-4F41-6DFD-8A24-09C4013945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285" name="Google Shape;11285;p43"/>
          <p:cNvSpPr txBox="1">
            <a:spLocks noGrp="1"/>
          </p:cNvSpPr>
          <p:nvPr>
            <p:ph type="title"/>
          </p:nvPr>
        </p:nvSpPr>
        <p:spPr>
          <a:xfrm>
            <a:off x="334963" y="0"/>
            <a:ext cx="4545012" cy="1018096"/>
          </a:xfrm>
          <a:prstGeom prst="rect">
            <a:avLst/>
          </a:prstGeom>
          <a:solidFill>
            <a:schemeClr val="accent1"/>
          </a:solidFill>
          <a:ln>
            <a:noFill/>
          </a:ln>
        </p:spPr>
        <p:txBody>
          <a:bodyPr spcFirstLastPara="1" wrap="square" lIns="180000" tIns="540000" rIns="72000" bIns="180000" anchor="b" anchorCtr="0">
            <a:noAutofit/>
          </a:bodyPr>
          <a:lstStyle/>
          <a:p>
            <a:pPr marL="0" lvl="0" indent="0" algn="l">
              <a:lnSpc>
                <a:spcPct val="90000"/>
              </a:lnSpc>
              <a:spcBef>
                <a:spcPts val="0"/>
              </a:spcBef>
              <a:spcAft>
                <a:spcPts val="0"/>
              </a:spcAft>
              <a:buClr>
                <a:schemeClr val="lt1"/>
              </a:buClr>
              <a:buSzPts val="2000"/>
              <a:buFont typeface="Arial"/>
              <a:buNone/>
            </a:pPr>
            <a:r>
              <a:rPr lang="en-US" sz="2400" dirty="0"/>
              <a:t>Why Reskilling?</a:t>
            </a:r>
          </a:p>
        </p:txBody>
      </p:sp>
      <p:grpSp>
        <p:nvGrpSpPr>
          <p:cNvPr id="11292" name="Google Shape;11292;p43"/>
          <p:cNvGrpSpPr/>
          <p:nvPr/>
        </p:nvGrpSpPr>
        <p:grpSpPr>
          <a:xfrm>
            <a:off x="-253475" y="7479246"/>
            <a:ext cx="12192000" cy="584200"/>
            <a:chOff x="0" y="6273800"/>
            <a:chExt cx="12192000" cy="584200"/>
          </a:xfrm>
        </p:grpSpPr>
        <p:sp>
          <p:nvSpPr>
            <p:cNvPr id="11293" name="Google Shape;11293;p43"/>
            <p:cNvSpPr/>
            <p:nvPr/>
          </p:nvSpPr>
          <p:spPr>
            <a:xfrm>
              <a:off x="0" y="6273800"/>
              <a:ext cx="12192000" cy="5842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11294" name="Google Shape;11294;p43"/>
            <p:cNvPicPr preferRelativeResize="0"/>
            <p:nvPr/>
          </p:nvPicPr>
          <p:blipFill rotWithShape="1">
            <a:blip r:embed="rId6">
              <a:alphaModFix/>
            </a:blip>
            <a:srcRect/>
            <a:stretch/>
          </p:blipFill>
          <p:spPr>
            <a:xfrm>
              <a:off x="9513888" y="6392994"/>
              <a:ext cx="2305050" cy="334291"/>
            </a:xfrm>
            <a:prstGeom prst="rect">
              <a:avLst/>
            </a:prstGeom>
            <a:noFill/>
            <a:ln>
              <a:noFill/>
            </a:ln>
          </p:spPr>
        </p:pic>
      </p:grpSp>
      <p:pic>
        <p:nvPicPr>
          <p:cNvPr id="1028" name="Picture 4">
            <a:extLst>
              <a:ext uri="{FF2B5EF4-FFF2-40B4-BE49-F238E27FC236}">
                <a16:creationId xmlns:a16="http://schemas.microsoft.com/office/drawing/2014/main" id="{5DE3B10E-A9AB-6D9C-C1B8-F97EEFA888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5650" y="1249362"/>
            <a:ext cx="8140700" cy="5087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1960006"/>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C028D838-D707-575F-7BAA-04747F7830DF}"/>
              </a:ext>
            </a:extLst>
          </p:cNvPr>
          <p:cNvSpPr/>
          <p:nvPr/>
        </p:nvSpPr>
        <p:spPr>
          <a:xfrm>
            <a:off x="0" y="-424635"/>
            <a:ext cx="12192000" cy="12192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Lora"/>
              <a:ea typeface="+mn-ea"/>
              <a:cs typeface="+mn-cs"/>
            </a:endParaRPr>
          </a:p>
        </p:txBody>
      </p:sp>
      <p:sp>
        <p:nvSpPr>
          <p:cNvPr id="7" name="Oval 6">
            <a:extLst>
              <a:ext uri="{FF2B5EF4-FFF2-40B4-BE49-F238E27FC236}">
                <a16:creationId xmlns:a16="http://schemas.microsoft.com/office/drawing/2014/main" id="{0B533941-2B94-64D9-9E34-D856499671B0}"/>
              </a:ext>
            </a:extLst>
          </p:cNvPr>
          <p:cNvSpPr/>
          <p:nvPr/>
        </p:nvSpPr>
        <p:spPr>
          <a:xfrm>
            <a:off x="1304081" y="896808"/>
            <a:ext cx="9583838" cy="95838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Lora"/>
              <a:ea typeface="+mn-ea"/>
              <a:cs typeface="+mn-cs"/>
            </a:endParaRPr>
          </a:p>
        </p:txBody>
      </p:sp>
      <p:grpSp>
        <p:nvGrpSpPr>
          <p:cNvPr id="8" name="Oval 3">
            <a:extLst>
              <a:ext uri="{FF2B5EF4-FFF2-40B4-BE49-F238E27FC236}">
                <a16:creationId xmlns:a16="http://schemas.microsoft.com/office/drawing/2014/main" id="{69025B77-7132-5D8C-234E-7416E21FB223}"/>
              </a:ext>
            </a:extLst>
          </p:cNvPr>
          <p:cNvGrpSpPr/>
          <p:nvPr/>
        </p:nvGrpSpPr>
        <p:grpSpPr>
          <a:xfrm rot="273148">
            <a:off x="2245071" y="1798268"/>
            <a:ext cx="7701858" cy="7739334"/>
            <a:chOff x="2144255" y="1569668"/>
            <a:chExt cx="7701858" cy="7739334"/>
          </a:xfrm>
        </p:grpSpPr>
        <p:sp>
          <p:nvSpPr>
            <p:cNvPr id="9" name="Oval 8">
              <a:extLst>
                <a:ext uri="{FF2B5EF4-FFF2-40B4-BE49-F238E27FC236}">
                  <a16:creationId xmlns:a16="http://schemas.microsoft.com/office/drawing/2014/main" id="{7B5FAC46-E64D-8ABE-A3BD-556ADFF1C516}"/>
                </a:ext>
              </a:extLst>
            </p:cNvPr>
            <p:cNvSpPr/>
            <p:nvPr/>
          </p:nvSpPr>
          <p:spPr>
            <a:xfrm>
              <a:off x="2476480" y="1924061"/>
              <a:ext cx="7037408" cy="703740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Lora"/>
                <a:ea typeface="+mn-ea"/>
                <a:cs typeface="+mn-cs"/>
              </a:endParaRPr>
            </a:p>
          </p:txBody>
        </p:sp>
        <p:sp>
          <p:nvSpPr>
            <p:cNvPr id="10" name="TextBox 9">
              <a:extLst>
                <a:ext uri="{FF2B5EF4-FFF2-40B4-BE49-F238E27FC236}">
                  <a16:creationId xmlns:a16="http://schemas.microsoft.com/office/drawing/2014/main" id="{06D462B4-9C8E-D889-92DA-3BE735B5542A}"/>
                </a:ext>
              </a:extLst>
            </p:cNvPr>
            <p:cNvSpPr txBox="1"/>
            <p:nvPr/>
          </p:nvSpPr>
          <p:spPr>
            <a:xfrm>
              <a:off x="2144255" y="1569668"/>
              <a:ext cx="7701858" cy="7739334"/>
            </a:xfrm>
            <a:prstGeom prst="ellipse">
              <a:avLst/>
            </a:prstGeom>
            <a:noFill/>
          </p:spPr>
          <p:txBody>
            <a:bodyPr wrap="square" rtlCol="0" anchor="ctr">
              <a:prstTxWarp prst="textArchUp">
                <a:avLst>
                  <a:gd name="adj" fmla="val 540517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00" normalizeH="0" baseline="0" noProof="0" dirty="0">
                  <a:ln>
                    <a:noFill/>
                  </a:ln>
                  <a:solidFill>
                    <a:srgbClr val="808284">
                      <a:lumMod val="60000"/>
                      <a:lumOff val="40000"/>
                    </a:srgbClr>
                  </a:solidFill>
                  <a:effectLst/>
                  <a:uLnTx/>
                  <a:uFillTx/>
                  <a:latin typeface="Roboto" panose="02000000000000000000" pitchFamily="2" charset="0"/>
                  <a:ea typeface="Roboto" panose="02000000000000000000" pitchFamily="2" charset="0"/>
                  <a:cs typeface="Roboto" panose="02000000000000000000" pitchFamily="2" charset="0"/>
                </a:rPr>
                <a:t>DIGITAL, DATA AND DESIGN</a:t>
              </a:r>
              <a:endParaRPr kumimoji="0" lang="en-GB" sz="2400" b="1" i="0" u="none" strike="noStrike" kern="1200" cap="none" spc="100" normalizeH="0" baseline="0" noProof="0" dirty="0">
                <a:ln>
                  <a:noFill/>
                </a:ln>
                <a:solidFill>
                  <a:srgbClr val="808284">
                    <a:lumMod val="60000"/>
                    <a:lumOff val="40000"/>
                  </a:srgbClr>
                </a:solidFill>
                <a:effectLst/>
                <a:uLnTx/>
                <a:uFillTx/>
                <a:latin typeface="Roboto" panose="02000000000000000000" pitchFamily="2" charset="0"/>
                <a:ea typeface="Roboto" panose="02000000000000000000" pitchFamily="2" charset="0"/>
                <a:cs typeface="Roboto" panose="02000000000000000000" pitchFamily="2" charset="0"/>
              </a:endParaRPr>
            </a:p>
          </p:txBody>
        </p:sp>
      </p:grpSp>
      <p:sp>
        <p:nvSpPr>
          <p:cNvPr id="11" name="Oval 10">
            <a:extLst>
              <a:ext uri="{FF2B5EF4-FFF2-40B4-BE49-F238E27FC236}">
                <a16:creationId xmlns:a16="http://schemas.microsoft.com/office/drawing/2014/main" id="{4A1215BD-516D-97C6-3090-9013DCB363CD}"/>
              </a:ext>
            </a:extLst>
          </p:cNvPr>
          <p:cNvSpPr/>
          <p:nvPr/>
        </p:nvSpPr>
        <p:spPr>
          <a:xfrm>
            <a:off x="3849754" y="3425119"/>
            <a:ext cx="4492492" cy="44924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Lora"/>
              <a:ea typeface="+mn-ea"/>
              <a:cs typeface="+mn-cs"/>
            </a:endParaRPr>
          </a:p>
        </p:txBody>
      </p:sp>
      <p:sp>
        <p:nvSpPr>
          <p:cNvPr id="12" name="Oval 11">
            <a:extLst>
              <a:ext uri="{FF2B5EF4-FFF2-40B4-BE49-F238E27FC236}">
                <a16:creationId xmlns:a16="http://schemas.microsoft.com/office/drawing/2014/main" id="{EAA17DE5-48B8-C0AA-1918-A0EB11CBB7A3}"/>
              </a:ext>
            </a:extLst>
          </p:cNvPr>
          <p:cNvSpPr>
            <a:spLocks/>
          </p:cNvSpPr>
          <p:nvPr/>
        </p:nvSpPr>
        <p:spPr>
          <a:xfrm>
            <a:off x="1304081" y="896808"/>
            <a:ext cx="9583838" cy="9583838"/>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Lora"/>
              <a:ea typeface="+mn-ea"/>
              <a:cs typeface="+mn-cs"/>
            </a:endParaRPr>
          </a:p>
        </p:txBody>
      </p:sp>
      <p:grpSp>
        <p:nvGrpSpPr>
          <p:cNvPr id="13" name="Group 12">
            <a:extLst>
              <a:ext uri="{FF2B5EF4-FFF2-40B4-BE49-F238E27FC236}">
                <a16:creationId xmlns:a16="http://schemas.microsoft.com/office/drawing/2014/main" id="{A2A0E1F8-8CE6-52DC-FF69-54EED9C2BE7E}"/>
              </a:ext>
            </a:extLst>
          </p:cNvPr>
          <p:cNvGrpSpPr/>
          <p:nvPr/>
        </p:nvGrpSpPr>
        <p:grpSpPr>
          <a:xfrm>
            <a:off x="4165600" y="3740965"/>
            <a:ext cx="3860800" cy="3860800"/>
            <a:chOff x="1036003" y="1807947"/>
            <a:chExt cx="3872764" cy="3872764"/>
          </a:xfrm>
        </p:grpSpPr>
        <p:sp>
          <p:nvSpPr>
            <p:cNvPr id="14" name="Oval 13">
              <a:extLst>
                <a:ext uri="{FF2B5EF4-FFF2-40B4-BE49-F238E27FC236}">
                  <a16:creationId xmlns:a16="http://schemas.microsoft.com/office/drawing/2014/main" id="{EAE58F3A-2575-2F14-B622-EF3FBB12748B}"/>
                </a:ext>
              </a:extLst>
            </p:cNvPr>
            <p:cNvSpPr/>
            <p:nvPr/>
          </p:nvSpPr>
          <p:spPr>
            <a:xfrm>
              <a:off x="1036003" y="1807947"/>
              <a:ext cx="3872764" cy="387276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Lora"/>
                <a:ea typeface="+mn-ea"/>
                <a:cs typeface="+mn-cs"/>
              </a:endParaRPr>
            </a:p>
          </p:txBody>
        </p:sp>
        <p:pic>
          <p:nvPicPr>
            <p:cNvPr id="15" name="Graphic 14">
              <a:extLst>
                <a:ext uri="{FF2B5EF4-FFF2-40B4-BE49-F238E27FC236}">
                  <a16:creationId xmlns:a16="http://schemas.microsoft.com/office/drawing/2014/main" id="{B14970FF-9D7A-46CE-349A-E71D4D15E75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0293" y="1842237"/>
              <a:ext cx="3804182" cy="3804182"/>
            </a:xfrm>
            <a:prstGeom prst="rect">
              <a:avLst/>
            </a:prstGeom>
          </p:spPr>
        </p:pic>
      </p:grpSp>
      <p:sp>
        <p:nvSpPr>
          <p:cNvPr id="17" name="Rectangle 16">
            <a:extLst>
              <a:ext uri="{FF2B5EF4-FFF2-40B4-BE49-F238E27FC236}">
                <a16:creationId xmlns:a16="http://schemas.microsoft.com/office/drawing/2014/main" id="{6CC5540A-3E1F-D73C-131D-03968F1A98F8}"/>
              </a:ext>
            </a:extLst>
          </p:cNvPr>
          <p:cNvSpPr>
            <a:spLocks/>
          </p:cNvSpPr>
          <p:nvPr/>
        </p:nvSpPr>
        <p:spPr>
          <a:xfrm>
            <a:off x="4372645" y="5326273"/>
            <a:ext cx="3446710" cy="1078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The Institute positions HBS </a:t>
            </a:r>
            <a:r>
              <a:rPr kumimoji="0" lang="en-GB" sz="18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invent the future </a:t>
            </a:r>
            <a:r>
              <a:rPr kumimoji="0" lang="en-GB" sz="18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of global business</a:t>
            </a:r>
          </a:p>
        </p:txBody>
      </p:sp>
      <p:sp>
        <p:nvSpPr>
          <p:cNvPr id="18" name="Oval 17">
            <a:extLst>
              <a:ext uri="{FF2B5EF4-FFF2-40B4-BE49-F238E27FC236}">
                <a16:creationId xmlns:a16="http://schemas.microsoft.com/office/drawing/2014/main" id="{0D2D2171-8E75-CB29-CF84-EE1C08138153}"/>
              </a:ext>
            </a:extLst>
          </p:cNvPr>
          <p:cNvSpPr>
            <a:spLocks/>
          </p:cNvSpPr>
          <p:nvPr/>
        </p:nvSpPr>
        <p:spPr>
          <a:xfrm>
            <a:off x="2577296" y="2152661"/>
            <a:ext cx="7037408" cy="7037408"/>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Lora"/>
              <a:ea typeface="+mn-ea"/>
              <a:cs typeface="+mn-cs"/>
            </a:endParaRPr>
          </a:p>
        </p:txBody>
      </p:sp>
      <p:sp>
        <p:nvSpPr>
          <p:cNvPr id="19" name="Oval 18">
            <a:extLst>
              <a:ext uri="{FF2B5EF4-FFF2-40B4-BE49-F238E27FC236}">
                <a16:creationId xmlns:a16="http://schemas.microsoft.com/office/drawing/2014/main" id="{C889A926-1A65-DA6C-0136-1824E08A1139}"/>
              </a:ext>
            </a:extLst>
          </p:cNvPr>
          <p:cNvSpPr>
            <a:spLocks/>
          </p:cNvSpPr>
          <p:nvPr/>
        </p:nvSpPr>
        <p:spPr>
          <a:xfrm>
            <a:off x="8511960" y="1335660"/>
            <a:ext cx="2084726" cy="2084726"/>
          </a:xfrm>
          <a:prstGeom prst="ellipse">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Lora"/>
              <a:ea typeface="+mn-ea"/>
              <a:cs typeface="+mn-cs"/>
            </a:endParaRPr>
          </a:p>
        </p:txBody>
      </p:sp>
      <p:sp>
        <p:nvSpPr>
          <p:cNvPr id="25" name="Oval 24">
            <a:extLst>
              <a:ext uri="{FF2B5EF4-FFF2-40B4-BE49-F238E27FC236}">
                <a16:creationId xmlns:a16="http://schemas.microsoft.com/office/drawing/2014/main" id="{8823CB4C-FDE5-15A1-45FD-544AB2121C2A}"/>
              </a:ext>
            </a:extLst>
          </p:cNvPr>
          <p:cNvSpPr>
            <a:spLocks/>
          </p:cNvSpPr>
          <p:nvPr/>
        </p:nvSpPr>
        <p:spPr>
          <a:xfrm>
            <a:off x="8713592" y="1537292"/>
            <a:ext cx="1681462" cy="16814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Upskill our</a:t>
            </a:r>
            <a:b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b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lums on the</a:t>
            </a:r>
            <a:b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br>
            <a:r>
              <a:rPr kumimoji="0" lang="en-GB" sz="1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changing world</a:t>
            </a:r>
          </a:p>
        </p:txBody>
      </p:sp>
      <p:sp>
        <p:nvSpPr>
          <p:cNvPr id="26" name="Oval 25">
            <a:extLst>
              <a:ext uri="{FF2B5EF4-FFF2-40B4-BE49-F238E27FC236}">
                <a16:creationId xmlns:a16="http://schemas.microsoft.com/office/drawing/2014/main" id="{17788EBC-277C-47E2-E1A6-09C22B493A1E}"/>
              </a:ext>
            </a:extLst>
          </p:cNvPr>
          <p:cNvSpPr/>
          <p:nvPr/>
        </p:nvSpPr>
        <p:spPr>
          <a:xfrm>
            <a:off x="261831" y="4043434"/>
            <a:ext cx="2084726" cy="2084726"/>
          </a:xfrm>
          <a:prstGeom prst="ellipse">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Lora"/>
              <a:ea typeface="+mn-ea"/>
              <a:cs typeface="+mn-cs"/>
            </a:endParaRPr>
          </a:p>
        </p:txBody>
      </p:sp>
      <p:sp>
        <p:nvSpPr>
          <p:cNvPr id="27" name="Oval 26">
            <a:extLst>
              <a:ext uri="{FF2B5EF4-FFF2-40B4-BE49-F238E27FC236}">
                <a16:creationId xmlns:a16="http://schemas.microsoft.com/office/drawing/2014/main" id="{872ED5FE-76D8-DA02-8865-F139321F60F9}"/>
              </a:ext>
            </a:extLst>
          </p:cNvPr>
          <p:cNvSpPr>
            <a:spLocks/>
          </p:cNvSpPr>
          <p:nvPr/>
        </p:nvSpPr>
        <p:spPr>
          <a:xfrm>
            <a:off x="463463" y="4245066"/>
            <a:ext cx="1681462" cy="16814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Leveraged</a:t>
            </a:r>
            <a:br>
              <a:rPr kumimoji="0" lang="en-GB" sz="1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br>
            <a:r>
              <a:rPr kumimoji="0" lang="en-GB" sz="1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esearch model</a:t>
            </a:r>
            <a:br>
              <a:rPr kumimoji="0" lang="en-GB" sz="1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b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for Faculty</a:t>
            </a:r>
            <a:endParaRPr kumimoji="0" lang="en-GB" sz="1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8" name="Oval 27">
            <a:extLst>
              <a:ext uri="{FF2B5EF4-FFF2-40B4-BE49-F238E27FC236}">
                <a16:creationId xmlns:a16="http://schemas.microsoft.com/office/drawing/2014/main" id="{C3DBDDF0-D247-62D6-CACD-F3E631CA96A7}"/>
              </a:ext>
            </a:extLst>
          </p:cNvPr>
          <p:cNvSpPr>
            <a:spLocks/>
          </p:cNvSpPr>
          <p:nvPr/>
        </p:nvSpPr>
        <p:spPr>
          <a:xfrm>
            <a:off x="9702722" y="4141558"/>
            <a:ext cx="2084726" cy="2084726"/>
          </a:xfrm>
          <a:prstGeom prst="ellipse">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Lora"/>
              <a:ea typeface="+mn-ea"/>
              <a:cs typeface="+mn-cs"/>
            </a:endParaRPr>
          </a:p>
        </p:txBody>
      </p:sp>
      <p:sp>
        <p:nvSpPr>
          <p:cNvPr id="29" name="Oval 28">
            <a:extLst>
              <a:ext uri="{FF2B5EF4-FFF2-40B4-BE49-F238E27FC236}">
                <a16:creationId xmlns:a16="http://schemas.microsoft.com/office/drawing/2014/main" id="{D0D7BF50-C4A2-8A18-A3DD-7EC7348B5506}"/>
              </a:ext>
            </a:extLst>
          </p:cNvPr>
          <p:cNvSpPr>
            <a:spLocks/>
          </p:cNvSpPr>
          <p:nvPr/>
        </p:nvSpPr>
        <p:spPr>
          <a:xfrm>
            <a:off x="9904354" y="4343190"/>
            <a:ext cx="1681462" cy="16814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Educating</a:t>
            </a: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the </a:t>
            </a:r>
            <a:b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b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next generation of</a:t>
            </a:r>
            <a:b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b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business leaders</a:t>
            </a:r>
          </a:p>
        </p:txBody>
      </p:sp>
      <p:grpSp>
        <p:nvGrpSpPr>
          <p:cNvPr id="30" name="Group 29">
            <a:extLst>
              <a:ext uri="{FF2B5EF4-FFF2-40B4-BE49-F238E27FC236}">
                <a16:creationId xmlns:a16="http://schemas.microsoft.com/office/drawing/2014/main" id="{E3DF448A-3214-5636-B386-B9F45521EE17}"/>
              </a:ext>
            </a:extLst>
          </p:cNvPr>
          <p:cNvGrpSpPr/>
          <p:nvPr/>
        </p:nvGrpSpPr>
        <p:grpSpPr>
          <a:xfrm>
            <a:off x="5578777" y="4813277"/>
            <a:ext cx="517223" cy="517223"/>
            <a:chOff x="899877" y="5179368"/>
            <a:chExt cx="517223" cy="517223"/>
          </a:xfrm>
        </p:grpSpPr>
        <p:sp>
          <p:nvSpPr>
            <p:cNvPr id="31" name="Oval 30">
              <a:extLst>
                <a:ext uri="{FF2B5EF4-FFF2-40B4-BE49-F238E27FC236}">
                  <a16:creationId xmlns:a16="http://schemas.microsoft.com/office/drawing/2014/main" id="{2E2A3D43-7B19-944E-2AE6-52DCB680B948}"/>
                </a:ext>
              </a:extLst>
            </p:cNvPr>
            <p:cNvSpPr/>
            <p:nvPr/>
          </p:nvSpPr>
          <p:spPr>
            <a:xfrm>
              <a:off x="899877" y="5179368"/>
              <a:ext cx="517223" cy="517223"/>
            </a:xfrm>
            <a:prstGeom prst="ellipse">
              <a:avLst/>
            </a:prstGeom>
            <a:solidFill>
              <a:schemeClr val="accent1">
                <a:lumMod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Lora"/>
                <a:ea typeface="+mn-ea"/>
                <a:cs typeface="+mn-cs"/>
              </a:endParaRPr>
            </a:p>
          </p:txBody>
        </p:sp>
        <p:sp>
          <p:nvSpPr>
            <p:cNvPr id="32" name="Oval 31">
              <a:extLst>
                <a:ext uri="{FF2B5EF4-FFF2-40B4-BE49-F238E27FC236}">
                  <a16:creationId xmlns:a16="http://schemas.microsoft.com/office/drawing/2014/main" id="{0CB9171D-2C0D-0007-1A78-6836968AC949}"/>
                </a:ext>
              </a:extLst>
            </p:cNvPr>
            <p:cNvSpPr/>
            <p:nvPr/>
          </p:nvSpPr>
          <p:spPr>
            <a:xfrm>
              <a:off x="983686" y="5263177"/>
              <a:ext cx="349604" cy="349604"/>
            </a:xfrm>
            <a:prstGeom prst="ellipse">
              <a:avLst/>
            </a:prstGeom>
            <a:solidFill>
              <a:schemeClr val="accent1">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Lora"/>
                <a:ea typeface="+mn-ea"/>
                <a:cs typeface="+mn-cs"/>
              </a:endParaRPr>
            </a:p>
          </p:txBody>
        </p:sp>
        <p:sp>
          <p:nvSpPr>
            <p:cNvPr id="33" name="Oval 32">
              <a:extLst>
                <a:ext uri="{FF2B5EF4-FFF2-40B4-BE49-F238E27FC236}">
                  <a16:creationId xmlns:a16="http://schemas.microsoft.com/office/drawing/2014/main" id="{E0C73083-203B-A021-FF0A-701AC4F33D78}"/>
                </a:ext>
              </a:extLst>
            </p:cNvPr>
            <p:cNvSpPr/>
            <p:nvPr/>
          </p:nvSpPr>
          <p:spPr>
            <a:xfrm>
              <a:off x="1060312" y="5339803"/>
              <a:ext cx="196353" cy="1963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Lora"/>
                <a:ea typeface="+mn-ea"/>
                <a:cs typeface="+mn-cs"/>
              </a:endParaRPr>
            </a:p>
          </p:txBody>
        </p:sp>
      </p:grpSp>
      <p:grpSp>
        <p:nvGrpSpPr>
          <p:cNvPr id="34" name="Graphic 21">
            <a:extLst>
              <a:ext uri="{FF2B5EF4-FFF2-40B4-BE49-F238E27FC236}">
                <a16:creationId xmlns:a16="http://schemas.microsoft.com/office/drawing/2014/main" id="{8CD72DDC-4809-DDEF-659E-DAB9D4EB0772}"/>
              </a:ext>
            </a:extLst>
          </p:cNvPr>
          <p:cNvGrpSpPr/>
          <p:nvPr/>
        </p:nvGrpSpPr>
        <p:grpSpPr>
          <a:xfrm>
            <a:off x="5385023" y="3532733"/>
            <a:ext cx="884216" cy="1540938"/>
            <a:chOff x="5353456" y="2338535"/>
            <a:chExt cx="977157" cy="1702908"/>
          </a:xfrm>
        </p:grpSpPr>
        <p:sp>
          <p:nvSpPr>
            <p:cNvPr id="35" name="Freeform: Shape 34">
              <a:extLst>
                <a:ext uri="{FF2B5EF4-FFF2-40B4-BE49-F238E27FC236}">
                  <a16:creationId xmlns:a16="http://schemas.microsoft.com/office/drawing/2014/main" id="{1A5781E6-B9B5-B123-35AA-69BE120DE8E0}"/>
                </a:ext>
              </a:extLst>
            </p:cNvPr>
            <p:cNvSpPr/>
            <p:nvPr/>
          </p:nvSpPr>
          <p:spPr>
            <a:xfrm>
              <a:off x="5353456" y="2338535"/>
              <a:ext cx="977157" cy="1702908"/>
            </a:xfrm>
            <a:custGeom>
              <a:avLst/>
              <a:gdLst>
                <a:gd name="connsiteX0" fmla="*/ 977158 w 977157"/>
                <a:gd name="connsiteY0" fmla="*/ 488578 h 1702908"/>
                <a:gd name="connsiteX1" fmla="*/ 488579 w 977157"/>
                <a:gd name="connsiteY1" fmla="*/ 1702909 h 1702908"/>
                <a:gd name="connsiteX2" fmla="*/ 0 w 977157"/>
                <a:gd name="connsiteY2" fmla="*/ 488578 h 1702908"/>
                <a:gd name="connsiteX3" fmla="*/ 488579 w 977157"/>
                <a:gd name="connsiteY3" fmla="*/ 0 h 1702908"/>
                <a:gd name="connsiteX4" fmla="*/ 977158 w 977157"/>
                <a:gd name="connsiteY4" fmla="*/ 488578 h 1702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157" h="1702908">
                  <a:moveTo>
                    <a:pt x="977158" y="488578"/>
                  </a:moveTo>
                  <a:cubicBezTo>
                    <a:pt x="977158" y="758956"/>
                    <a:pt x="488579" y="1702909"/>
                    <a:pt x="488579" y="1702909"/>
                  </a:cubicBezTo>
                  <a:cubicBezTo>
                    <a:pt x="488579" y="1702909"/>
                    <a:pt x="0" y="758956"/>
                    <a:pt x="0" y="488578"/>
                  </a:cubicBezTo>
                  <a:cubicBezTo>
                    <a:pt x="0" y="218200"/>
                    <a:pt x="218200" y="0"/>
                    <a:pt x="488579" y="0"/>
                  </a:cubicBezTo>
                  <a:cubicBezTo>
                    <a:pt x="758957" y="0"/>
                    <a:pt x="977158" y="218200"/>
                    <a:pt x="977158" y="488578"/>
                  </a:cubicBezTo>
                  <a:close/>
                </a:path>
              </a:pathLst>
            </a:custGeom>
            <a:solidFill>
              <a:srgbClr val="A41034"/>
            </a:solidFill>
            <a:ln w="236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36" name="Freeform: Shape 35">
              <a:extLst>
                <a:ext uri="{FF2B5EF4-FFF2-40B4-BE49-F238E27FC236}">
                  <a16:creationId xmlns:a16="http://schemas.microsoft.com/office/drawing/2014/main" id="{1E8C755F-FCE9-3FD3-E168-0C3344AB8D10}"/>
                </a:ext>
              </a:extLst>
            </p:cNvPr>
            <p:cNvSpPr/>
            <p:nvPr/>
          </p:nvSpPr>
          <p:spPr>
            <a:xfrm>
              <a:off x="5422705" y="2425596"/>
              <a:ext cx="838658" cy="838658"/>
            </a:xfrm>
            <a:custGeom>
              <a:avLst/>
              <a:gdLst>
                <a:gd name="connsiteX0" fmla="*/ 583448 w 583448"/>
                <a:gd name="connsiteY0" fmla="*/ 291724 h 583447"/>
                <a:gd name="connsiteX1" fmla="*/ 291724 w 583448"/>
                <a:gd name="connsiteY1" fmla="*/ 583448 h 583447"/>
                <a:gd name="connsiteX2" fmla="*/ 0 w 583448"/>
                <a:gd name="connsiteY2" fmla="*/ 291724 h 583447"/>
                <a:gd name="connsiteX3" fmla="*/ 291724 w 583448"/>
                <a:gd name="connsiteY3" fmla="*/ 0 h 583447"/>
                <a:gd name="connsiteX4" fmla="*/ 583448 w 583448"/>
                <a:gd name="connsiteY4" fmla="*/ 291724 h 583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3448" h="583447">
                  <a:moveTo>
                    <a:pt x="583448" y="291724"/>
                  </a:moveTo>
                  <a:cubicBezTo>
                    <a:pt x="583448" y="453002"/>
                    <a:pt x="453003" y="583448"/>
                    <a:pt x="291724" y="583448"/>
                  </a:cubicBezTo>
                  <a:cubicBezTo>
                    <a:pt x="130446" y="583448"/>
                    <a:pt x="0" y="453002"/>
                    <a:pt x="0" y="291724"/>
                  </a:cubicBezTo>
                  <a:cubicBezTo>
                    <a:pt x="0" y="130446"/>
                    <a:pt x="130446" y="0"/>
                    <a:pt x="291724" y="0"/>
                  </a:cubicBezTo>
                  <a:cubicBezTo>
                    <a:pt x="453003" y="0"/>
                    <a:pt x="583448" y="130446"/>
                    <a:pt x="583448" y="291724"/>
                  </a:cubicBezTo>
                  <a:close/>
                </a:path>
              </a:pathLst>
            </a:custGeom>
            <a:solidFill>
              <a:srgbClr val="FFFFFF"/>
            </a:solidFill>
            <a:ln w="236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37" name="Group 36">
            <a:extLst>
              <a:ext uri="{FF2B5EF4-FFF2-40B4-BE49-F238E27FC236}">
                <a16:creationId xmlns:a16="http://schemas.microsoft.com/office/drawing/2014/main" id="{0EF62401-AD6D-5D7E-F36A-CA2E182EAB5C}"/>
              </a:ext>
            </a:extLst>
          </p:cNvPr>
          <p:cNvGrpSpPr/>
          <p:nvPr/>
        </p:nvGrpSpPr>
        <p:grpSpPr>
          <a:xfrm>
            <a:off x="10448493" y="3651786"/>
            <a:ext cx="593184" cy="1140376"/>
            <a:chOff x="10890965" y="3841997"/>
            <a:chExt cx="304725" cy="585824"/>
          </a:xfrm>
        </p:grpSpPr>
        <p:grpSp>
          <p:nvGrpSpPr>
            <p:cNvPr id="38" name="Graphic 31">
              <a:extLst>
                <a:ext uri="{FF2B5EF4-FFF2-40B4-BE49-F238E27FC236}">
                  <a16:creationId xmlns:a16="http://schemas.microsoft.com/office/drawing/2014/main" id="{0BCF32F8-F381-F62E-A33A-724A101EF499}"/>
                </a:ext>
              </a:extLst>
            </p:cNvPr>
            <p:cNvGrpSpPr/>
            <p:nvPr/>
          </p:nvGrpSpPr>
          <p:grpSpPr>
            <a:xfrm>
              <a:off x="10960477" y="3841997"/>
              <a:ext cx="235213" cy="583016"/>
              <a:chOff x="12935854" y="3670088"/>
              <a:chExt cx="165465" cy="410134"/>
            </a:xfrm>
          </p:grpSpPr>
          <p:sp>
            <p:nvSpPr>
              <p:cNvPr id="53" name="Freeform: Shape 52">
                <a:extLst>
                  <a:ext uri="{FF2B5EF4-FFF2-40B4-BE49-F238E27FC236}">
                    <a16:creationId xmlns:a16="http://schemas.microsoft.com/office/drawing/2014/main" id="{442CBF8E-954E-3064-7A8D-3BF8FDB14DEE}"/>
                  </a:ext>
                </a:extLst>
              </p:cNvPr>
              <p:cNvSpPr/>
              <p:nvPr/>
            </p:nvSpPr>
            <p:spPr>
              <a:xfrm>
                <a:off x="12998582" y="3838488"/>
                <a:ext cx="47910" cy="233337"/>
              </a:xfrm>
              <a:custGeom>
                <a:avLst/>
                <a:gdLst>
                  <a:gd name="connsiteX0" fmla="*/ 3457 w 47910"/>
                  <a:gd name="connsiteY0" fmla="*/ 124180 h 233337"/>
                  <a:gd name="connsiteX1" fmla="*/ 0 w 47910"/>
                  <a:gd name="connsiteY1" fmla="*/ 66390 h 233337"/>
                  <a:gd name="connsiteX2" fmla="*/ 47911 w 47910"/>
                  <a:gd name="connsiteY2" fmla="*/ 3168 h 233337"/>
                  <a:gd name="connsiteX3" fmla="*/ 19263 w 47910"/>
                  <a:gd name="connsiteY3" fmla="*/ 108374 h 233337"/>
                  <a:gd name="connsiteX4" fmla="*/ 20745 w 47910"/>
                  <a:gd name="connsiteY4" fmla="*/ 161224 h 233337"/>
                  <a:gd name="connsiteX5" fmla="*/ 14818 w 47910"/>
                  <a:gd name="connsiteY5" fmla="*/ 223953 h 233337"/>
                  <a:gd name="connsiteX6" fmla="*/ 4445 w 47910"/>
                  <a:gd name="connsiteY6" fmla="*/ 233337 h 233337"/>
                  <a:gd name="connsiteX7" fmla="*/ 988 w 47910"/>
                  <a:gd name="connsiteY7" fmla="*/ 220001 h 233337"/>
                  <a:gd name="connsiteX8" fmla="*/ 3457 w 47910"/>
                  <a:gd name="connsiteY8" fmla="*/ 124180 h 23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10" h="233337">
                    <a:moveTo>
                      <a:pt x="3457" y="124180"/>
                    </a:moveTo>
                    <a:cubicBezTo>
                      <a:pt x="3457" y="109856"/>
                      <a:pt x="0" y="66390"/>
                      <a:pt x="0" y="66390"/>
                    </a:cubicBezTo>
                    <a:cubicBezTo>
                      <a:pt x="0" y="66390"/>
                      <a:pt x="40008" y="-17083"/>
                      <a:pt x="47911" y="3168"/>
                    </a:cubicBezTo>
                    <a:cubicBezTo>
                      <a:pt x="47911" y="3168"/>
                      <a:pt x="20251" y="100471"/>
                      <a:pt x="19263" y="108374"/>
                    </a:cubicBezTo>
                    <a:cubicBezTo>
                      <a:pt x="18275" y="116771"/>
                      <a:pt x="25190" y="132576"/>
                      <a:pt x="20745" y="161224"/>
                    </a:cubicBezTo>
                    <a:cubicBezTo>
                      <a:pt x="18275" y="175548"/>
                      <a:pt x="14818" y="223953"/>
                      <a:pt x="14818" y="223953"/>
                    </a:cubicBezTo>
                    <a:lnTo>
                      <a:pt x="4445" y="233337"/>
                    </a:lnTo>
                    <a:lnTo>
                      <a:pt x="988" y="220001"/>
                    </a:lnTo>
                    <a:cubicBezTo>
                      <a:pt x="1976" y="219507"/>
                      <a:pt x="3457" y="134058"/>
                      <a:pt x="3457" y="124180"/>
                    </a:cubicBezTo>
                    <a:close/>
                  </a:path>
                </a:pathLst>
              </a:custGeom>
              <a:solidFill>
                <a:srgbClr val="E3847C"/>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54" name="Freeform: Shape 53">
                <a:extLst>
                  <a:ext uri="{FF2B5EF4-FFF2-40B4-BE49-F238E27FC236}">
                    <a16:creationId xmlns:a16="http://schemas.microsoft.com/office/drawing/2014/main" id="{1F0EA768-E7DA-6189-D68B-1AA0A2B86EE2}"/>
                  </a:ext>
                </a:extLst>
              </p:cNvPr>
              <p:cNvSpPr/>
              <p:nvPr/>
            </p:nvSpPr>
            <p:spPr>
              <a:xfrm>
                <a:off x="13060323" y="3745834"/>
                <a:ext cx="34307" cy="98291"/>
              </a:xfrm>
              <a:custGeom>
                <a:avLst/>
                <a:gdLst>
                  <a:gd name="connsiteX0" fmla="*/ 6915 w 34307"/>
                  <a:gd name="connsiteY0" fmla="*/ 0 h 98291"/>
                  <a:gd name="connsiteX1" fmla="*/ 33587 w 34307"/>
                  <a:gd name="connsiteY1" fmla="*/ 75571 h 98291"/>
                  <a:gd name="connsiteX2" fmla="*/ 0 w 34307"/>
                  <a:gd name="connsiteY2" fmla="*/ 98291 h 98291"/>
                  <a:gd name="connsiteX3" fmla="*/ 6915 w 34307"/>
                  <a:gd name="connsiteY3" fmla="*/ 0 h 98291"/>
                </a:gdLst>
                <a:ahLst/>
                <a:cxnLst>
                  <a:cxn ang="0">
                    <a:pos x="connsiteX0" y="connsiteY0"/>
                  </a:cxn>
                  <a:cxn ang="0">
                    <a:pos x="connsiteX1" y="connsiteY1"/>
                  </a:cxn>
                  <a:cxn ang="0">
                    <a:pos x="connsiteX2" y="connsiteY2"/>
                  </a:cxn>
                  <a:cxn ang="0">
                    <a:pos x="connsiteX3" y="connsiteY3"/>
                  </a:cxn>
                </a:cxnLst>
                <a:rect l="l" t="t" r="r" b="b"/>
                <a:pathLst>
                  <a:path w="34307" h="98291">
                    <a:moveTo>
                      <a:pt x="6915" y="0"/>
                    </a:moveTo>
                    <a:cubicBezTo>
                      <a:pt x="6915" y="0"/>
                      <a:pt x="39514" y="58283"/>
                      <a:pt x="33587" y="75571"/>
                    </a:cubicBezTo>
                    <a:cubicBezTo>
                      <a:pt x="25684" y="98291"/>
                      <a:pt x="0" y="98291"/>
                      <a:pt x="0" y="98291"/>
                    </a:cubicBezTo>
                    <a:lnTo>
                      <a:pt x="6915" y="0"/>
                    </a:lnTo>
                    <a:close/>
                  </a:path>
                </a:pathLst>
              </a:custGeom>
              <a:solidFill>
                <a:srgbClr val="81B6DA"/>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55" name="Graphic 31">
                <a:extLst>
                  <a:ext uri="{FF2B5EF4-FFF2-40B4-BE49-F238E27FC236}">
                    <a16:creationId xmlns:a16="http://schemas.microsoft.com/office/drawing/2014/main" id="{B034A06B-E3ED-1FED-4185-93ED121FD5A8}"/>
                  </a:ext>
                </a:extLst>
              </p:cNvPr>
              <p:cNvGrpSpPr/>
              <p:nvPr/>
            </p:nvGrpSpPr>
            <p:grpSpPr>
              <a:xfrm>
                <a:off x="12986473" y="3728515"/>
                <a:ext cx="92180" cy="336395"/>
                <a:chOff x="12986473" y="3728515"/>
                <a:chExt cx="92180" cy="336395"/>
              </a:xfrm>
            </p:grpSpPr>
            <p:sp>
              <p:nvSpPr>
                <p:cNvPr id="63" name="Freeform: Shape 62">
                  <a:extLst>
                    <a:ext uri="{FF2B5EF4-FFF2-40B4-BE49-F238E27FC236}">
                      <a16:creationId xmlns:a16="http://schemas.microsoft.com/office/drawing/2014/main" id="{5F8AB002-85BB-5485-7E6E-290E1E962850}"/>
                    </a:ext>
                  </a:extLst>
                </p:cNvPr>
                <p:cNvSpPr/>
                <p:nvPr/>
              </p:nvSpPr>
              <p:spPr>
                <a:xfrm>
                  <a:off x="13037603" y="3858925"/>
                  <a:ext cx="35562" cy="205985"/>
                </a:xfrm>
                <a:custGeom>
                  <a:avLst/>
                  <a:gdLst>
                    <a:gd name="connsiteX0" fmla="*/ 35563 w 35562"/>
                    <a:gd name="connsiteY0" fmla="*/ 11872 h 205985"/>
                    <a:gd name="connsiteX1" fmla="*/ 29142 w 35562"/>
                    <a:gd name="connsiteY1" fmla="*/ 88925 h 205985"/>
                    <a:gd name="connsiteX2" fmla="*/ 28648 w 35562"/>
                    <a:gd name="connsiteY2" fmla="*/ 180795 h 205985"/>
                    <a:gd name="connsiteX3" fmla="*/ 27660 w 35562"/>
                    <a:gd name="connsiteY3" fmla="*/ 200552 h 205985"/>
                    <a:gd name="connsiteX4" fmla="*/ 16794 w 35562"/>
                    <a:gd name="connsiteY4" fmla="*/ 205985 h 205985"/>
                    <a:gd name="connsiteX5" fmla="*/ 0 w 35562"/>
                    <a:gd name="connsiteY5" fmla="*/ 2981 h 205985"/>
                    <a:gd name="connsiteX6" fmla="*/ 35563 w 35562"/>
                    <a:gd name="connsiteY6" fmla="*/ 11872 h 20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62" h="205985">
                      <a:moveTo>
                        <a:pt x="35563" y="11872"/>
                      </a:moveTo>
                      <a:cubicBezTo>
                        <a:pt x="35563" y="11872"/>
                        <a:pt x="30623" y="45459"/>
                        <a:pt x="29142" y="88925"/>
                      </a:cubicBezTo>
                      <a:cubicBezTo>
                        <a:pt x="27660" y="126957"/>
                        <a:pt x="35563" y="126957"/>
                        <a:pt x="28648" y="180795"/>
                      </a:cubicBezTo>
                      <a:lnTo>
                        <a:pt x="27660" y="200552"/>
                      </a:lnTo>
                      <a:lnTo>
                        <a:pt x="16794" y="205985"/>
                      </a:lnTo>
                      <a:cubicBezTo>
                        <a:pt x="16794" y="205985"/>
                        <a:pt x="14324" y="145726"/>
                        <a:pt x="0" y="2981"/>
                      </a:cubicBezTo>
                      <a:cubicBezTo>
                        <a:pt x="0" y="2981"/>
                        <a:pt x="27660" y="-7885"/>
                        <a:pt x="35563" y="11872"/>
                      </a:cubicBezTo>
                      <a:close/>
                    </a:path>
                  </a:pathLst>
                </a:custGeom>
                <a:solidFill>
                  <a:srgbClr val="564539"/>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64" name="Freeform: Shape 63">
                  <a:extLst>
                    <a:ext uri="{FF2B5EF4-FFF2-40B4-BE49-F238E27FC236}">
                      <a16:creationId xmlns:a16="http://schemas.microsoft.com/office/drawing/2014/main" id="{10F11AD7-462E-ECD4-8968-5AD052AD194E}"/>
                    </a:ext>
                  </a:extLst>
                </p:cNvPr>
                <p:cNvSpPr/>
                <p:nvPr/>
              </p:nvSpPr>
              <p:spPr>
                <a:xfrm>
                  <a:off x="12986473" y="3728515"/>
                  <a:ext cx="92180" cy="228225"/>
                </a:xfrm>
                <a:custGeom>
                  <a:avLst/>
                  <a:gdLst>
                    <a:gd name="connsiteX0" fmla="*/ 58538 w 92180"/>
                    <a:gd name="connsiteY0" fmla="*/ 32 h 228225"/>
                    <a:gd name="connsiteX1" fmla="*/ 80271 w 92180"/>
                    <a:gd name="connsiteY1" fmla="*/ 11392 h 228225"/>
                    <a:gd name="connsiteX2" fmla="*/ 86692 w 92180"/>
                    <a:gd name="connsiteY2" fmla="*/ 101287 h 228225"/>
                    <a:gd name="connsiteX3" fmla="*/ 92126 w 92180"/>
                    <a:gd name="connsiteY3" fmla="*/ 227732 h 228225"/>
                    <a:gd name="connsiteX4" fmla="*/ 6676 w 92180"/>
                    <a:gd name="connsiteY4" fmla="*/ 228226 h 228225"/>
                    <a:gd name="connsiteX5" fmla="*/ 3219 w 92180"/>
                    <a:gd name="connsiteY5" fmla="*/ 113635 h 228225"/>
                    <a:gd name="connsiteX6" fmla="*/ 15073 w 92180"/>
                    <a:gd name="connsiteY6" fmla="*/ 20283 h 228225"/>
                    <a:gd name="connsiteX7" fmla="*/ 40263 w 92180"/>
                    <a:gd name="connsiteY7" fmla="*/ 4477 h 228225"/>
                    <a:gd name="connsiteX8" fmla="*/ 58538 w 92180"/>
                    <a:gd name="connsiteY8" fmla="*/ 32 h 22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180" h="228225">
                      <a:moveTo>
                        <a:pt x="58538" y="32"/>
                      </a:moveTo>
                      <a:cubicBezTo>
                        <a:pt x="67429" y="526"/>
                        <a:pt x="77308" y="2007"/>
                        <a:pt x="80271" y="11392"/>
                      </a:cubicBezTo>
                      <a:cubicBezTo>
                        <a:pt x="82247" y="24234"/>
                        <a:pt x="79283" y="59797"/>
                        <a:pt x="86692" y="101287"/>
                      </a:cubicBezTo>
                      <a:cubicBezTo>
                        <a:pt x="93113" y="159570"/>
                        <a:pt x="92126" y="227732"/>
                        <a:pt x="92126" y="227732"/>
                      </a:cubicBezTo>
                      <a:lnTo>
                        <a:pt x="6676" y="228226"/>
                      </a:lnTo>
                      <a:cubicBezTo>
                        <a:pt x="6676" y="228226"/>
                        <a:pt x="-5672" y="171424"/>
                        <a:pt x="3219" y="113635"/>
                      </a:cubicBezTo>
                      <a:cubicBezTo>
                        <a:pt x="9146" y="74615"/>
                        <a:pt x="9146" y="38064"/>
                        <a:pt x="15073" y="20283"/>
                      </a:cubicBezTo>
                      <a:cubicBezTo>
                        <a:pt x="17543" y="11886"/>
                        <a:pt x="34830" y="5465"/>
                        <a:pt x="40263" y="4477"/>
                      </a:cubicBezTo>
                      <a:cubicBezTo>
                        <a:pt x="41251" y="4971"/>
                        <a:pt x="51130" y="-462"/>
                        <a:pt x="58538" y="32"/>
                      </a:cubicBezTo>
                      <a:close/>
                    </a:path>
                  </a:pathLst>
                </a:custGeom>
                <a:solidFill>
                  <a:srgbClr val="81B6DA"/>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56" name="Freeform: Shape 55">
                <a:extLst>
                  <a:ext uri="{FF2B5EF4-FFF2-40B4-BE49-F238E27FC236}">
                    <a16:creationId xmlns:a16="http://schemas.microsoft.com/office/drawing/2014/main" id="{57DF9D1D-6887-5291-B6C4-7EE5F9D04B91}"/>
                  </a:ext>
                </a:extLst>
              </p:cNvPr>
              <p:cNvSpPr/>
              <p:nvPr/>
            </p:nvSpPr>
            <p:spPr>
              <a:xfrm>
                <a:off x="13003506" y="3676648"/>
                <a:ext cx="42493" cy="62712"/>
              </a:xfrm>
              <a:custGeom>
                <a:avLst/>
                <a:gdLst>
                  <a:gd name="connsiteX0" fmla="*/ 19773 w 42493"/>
                  <a:gd name="connsiteY0" fmla="*/ 36 h 62712"/>
                  <a:gd name="connsiteX1" fmla="*/ 16 w 42493"/>
                  <a:gd name="connsiteY1" fmla="*/ 18806 h 62712"/>
                  <a:gd name="connsiteX2" fmla="*/ 8906 w 42493"/>
                  <a:gd name="connsiteY2" fmla="*/ 47947 h 62712"/>
                  <a:gd name="connsiteX3" fmla="*/ 22242 w 42493"/>
                  <a:gd name="connsiteY3" fmla="*/ 44984 h 62712"/>
                  <a:gd name="connsiteX4" fmla="*/ 22736 w 42493"/>
                  <a:gd name="connsiteY4" fmla="*/ 61777 h 62712"/>
                  <a:gd name="connsiteX5" fmla="*/ 42493 w 42493"/>
                  <a:gd name="connsiteY5" fmla="*/ 53380 h 62712"/>
                  <a:gd name="connsiteX6" fmla="*/ 35578 w 42493"/>
                  <a:gd name="connsiteY6" fmla="*/ 37081 h 62712"/>
                  <a:gd name="connsiteX7" fmla="*/ 19773 w 42493"/>
                  <a:gd name="connsiteY7" fmla="*/ 36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493" h="62712">
                    <a:moveTo>
                      <a:pt x="19773" y="36"/>
                    </a:moveTo>
                    <a:cubicBezTo>
                      <a:pt x="10882" y="-458"/>
                      <a:pt x="-478" y="3988"/>
                      <a:pt x="16" y="18806"/>
                    </a:cubicBezTo>
                    <a:cubicBezTo>
                      <a:pt x="509" y="29178"/>
                      <a:pt x="1991" y="46959"/>
                      <a:pt x="8906" y="47947"/>
                    </a:cubicBezTo>
                    <a:cubicBezTo>
                      <a:pt x="11870" y="48441"/>
                      <a:pt x="22242" y="44984"/>
                      <a:pt x="22242" y="44984"/>
                    </a:cubicBezTo>
                    <a:lnTo>
                      <a:pt x="22736" y="61777"/>
                    </a:lnTo>
                    <a:cubicBezTo>
                      <a:pt x="33109" y="66223"/>
                      <a:pt x="42493" y="53380"/>
                      <a:pt x="42493" y="53380"/>
                    </a:cubicBezTo>
                    <a:lnTo>
                      <a:pt x="35578" y="37081"/>
                    </a:lnTo>
                    <a:cubicBezTo>
                      <a:pt x="35084" y="37081"/>
                      <a:pt x="49408" y="1024"/>
                      <a:pt x="19773" y="36"/>
                    </a:cubicBezTo>
                    <a:close/>
                  </a:path>
                </a:pathLst>
              </a:custGeom>
              <a:solidFill>
                <a:srgbClr val="564539"/>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57" name="Freeform: Shape 56">
                <a:extLst>
                  <a:ext uri="{FF2B5EF4-FFF2-40B4-BE49-F238E27FC236}">
                    <a16:creationId xmlns:a16="http://schemas.microsoft.com/office/drawing/2014/main" id="{C8392A9A-ACE5-CA9E-99E2-3889EE31C26A}"/>
                  </a:ext>
                </a:extLst>
              </p:cNvPr>
              <p:cNvSpPr/>
              <p:nvPr/>
            </p:nvSpPr>
            <p:spPr>
              <a:xfrm>
                <a:off x="13007473" y="3670088"/>
                <a:ext cx="93846" cy="124878"/>
              </a:xfrm>
              <a:custGeom>
                <a:avLst/>
                <a:gdLst>
                  <a:gd name="connsiteX0" fmla="*/ 32105 w 93846"/>
                  <a:gd name="connsiteY0" fmla="*/ 2151 h 124878"/>
                  <a:gd name="connsiteX1" fmla="*/ 32105 w 93846"/>
                  <a:gd name="connsiteY1" fmla="*/ 2151 h 124878"/>
                  <a:gd name="connsiteX2" fmla="*/ 93846 w 93846"/>
                  <a:gd name="connsiteY2" fmla="*/ 123657 h 124878"/>
                  <a:gd name="connsiteX3" fmla="*/ 23708 w 93846"/>
                  <a:gd name="connsiteY3" fmla="*/ 36726 h 124878"/>
                  <a:gd name="connsiteX4" fmla="*/ 24202 w 93846"/>
                  <a:gd name="connsiteY4" fmla="*/ 26847 h 124878"/>
                  <a:gd name="connsiteX5" fmla="*/ 16793 w 93846"/>
                  <a:gd name="connsiteY5" fmla="*/ 28329 h 124878"/>
                  <a:gd name="connsiteX6" fmla="*/ 0 w 93846"/>
                  <a:gd name="connsiteY6" fmla="*/ 12029 h 124878"/>
                  <a:gd name="connsiteX7" fmla="*/ 32105 w 93846"/>
                  <a:gd name="connsiteY7" fmla="*/ 2151 h 12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846" h="124878">
                    <a:moveTo>
                      <a:pt x="32105" y="2151"/>
                    </a:moveTo>
                    <a:lnTo>
                      <a:pt x="32105" y="2151"/>
                    </a:lnTo>
                    <a:cubicBezTo>
                      <a:pt x="65198" y="17463"/>
                      <a:pt x="67174" y="113778"/>
                      <a:pt x="93846" y="123657"/>
                    </a:cubicBezTo>
                    <a:cubicBezTo>
                      <a:pt x="40502" y="136993"/>
                      <a:pt x="23708" y="36726"/>
                      <a:pt x="23708" y="36726"/>
                    </a:cubicBezTo>
                    <a:cubicBezTo>
                      <a:pt x="22721" y="35244"/>
                      <a:pt x="27166" y="30799"/>
                      <a:pt x="24202" y="26847"/>
                    </a:cubicBezTo>
                    <a:cubicBezTo>
                      <a:pt x="21733" y="23884"/>
                      <a:pt x="17781" y="23390"/>
                      <a:pt x="16793" y="28329"/>
                    </a:cubicBezTo>
                    <a:cubicBezTo>
                      <a:pt x="16793" y="28329"/>
                      <a:pt x="6915" y="12029"/>
                      <a:pt x="0" y="12029"/>
                    </a:cubicBezTo>
                    <a:cubicBezTo>
                      <a:pt x="2470" y="2151"/>
                      <a:pt x="23215" y="-3282"/>
                      <a:pt x="32105" y="2151"/>
                    </a:cubicBezTo>
                    <a:close/>
                  </a:path>
                </a:pathLst>
              </a:custGeom>
              <a:solidFill>
                <a:srgbClr val="000000"/>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58" name="Freeform: Shape 57">
                <a:extLst>
                  <a:ext uri="{FF2B5EF4-FFF2-40B4-BE49-F238E27FC236}">
                    <a16:creationId xmlns:a16="http://schemas.microsoft.com/office/drawing/2014/main" id="{FCFD35A3-61B0-E519-0165-1130469B21ED}"/>
                  </a:ext>
                </a:extLst>
              </p:cNvPr>
              <p:cNvSpPr/>
              <p:nvPr/>
            </p:nvSpPr>
            <p:spPr>
              <a:xfrm>
                <a:off x="12968814" y="4055526"/>
                <a:ext cx="48451" cy="22542"/>
              </a:xfrm>
              <a:custGeom>
                <a:avLst/>
                <a:gdLst>
                  <a:gd name="connsiteX0" fmla="*/ 45574 w 48451"/>
                  <a:gd name="connsiteY0" fmla="*/ 3457 h 22542"/>
                  <a:gd name="connsiteX1" fmla="*/ 48044 w 48451"/>
                  <a:gd name="connsiteY1" fmla="*/ 21733 h 22542"/>
                  <a:gd name="connsiteX2" fmla="*/ 627 w 48451"/>
                  <a:gd name="connsiteY2" fmla="*/ 20745 h 22542"/>
                  <a:gd name="connsiteX3" fmla="*/ 1615 w 48451"/>
                  <a:gd name="connsiteY3" fmla="*/ 13336 h 22542"/>
                  <a:gd name="connsiteX4" fmla="*/ 31744 w 48451"/>
                  <a:gd name="connsiteY4" fmla="*/ 0 h 22542"/>
                  <a:gd name="connsiteX5" fmla="*/ 34214 w 48451"/>
                  <a:gd name="connsiteY5" fmla="*/ 3951 h 22542"/>
                  <a:gd name="connsiteX6" fmla="*/ 33720 w 48451"/>
                  <a:gd name="connsiteY6" fmla="*/ 4939 h 22542"/>
                  <a:gd name="connsiteX7" fmla="*/ 39153 w 48451"/>
                  <a:gd name="connsiteY7" fmla="*/ 7409 h 22542"/>
                  <a:gd name="connsiteX8" fmla="*/ 45574 w 48451"/>
                  <a:gd name="connsiteY8" fmla="*/ 3457 h 2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451" h="22542">
                    <a:moveTo>
                      <a:pt x="45574" y="3457"/>
                    </a:moveTo>
                    <a:cubicBezTo>
                      <a:pt x="46562" y="3951"/>
                      <a:pt x="49526" y="20745"/>
                      <a:pt x="48044" y="21733"/>
                    </a:cubicBezTo>
                    <a:cubicBezTo>
                      <a:pt x="46562" y="22721"/>
                      <a:pt x="3096" y="23215"/>
                      <a:pt x="627" y="20745"/>
                    </a:cubicBezTo>
                    <a:cubicBezTo>
                      <a:pt x="-855" y="19263"/>
                      <a:pt x="627" y="13830"/>
                      <a:pt x="1615" y="13336"/>
                    </a:cubicBezTo>
                    <a:cubicBezTo>
                      <a:pt x="18408" y="8891"/>
                      <a:pt x="31744" y="0"/>
                      <a:pt x="31744" y="0"/>
                    </a:cubicBezTo>
                    <a:cubicBezTo>
                      <a:pt x="31744" y="0"/>
                      <a:pt x="34708" y="1482"/>
                      <a:pt x="34214" y="3951"/>
                    </a:cubicBezTo>
                    <a:lnTo>
                      <a:pt x="33720" y="4939"/>
                    </a:lnTo>
                    <a:cubicBezTo>
                      <a:pt x="33720" y="4939"/>
                      <a:pt x="36190" y="7409"/>
                      <a:pt x="39153" y="7409"/>
                    </a:cubicBezTo>
                    <a:cubicBezTo>
                      <a:pt x="41623" y="6915"/>
                      <a:pt x="43105" y="2964"/>
                      <a:pt x="45574" y="3457"/>
                    </a:cubicBezTo>
                    <a:close/>
                  </a:path>
                </a:pathLst>
              </a:custGeom>
              <a:solidFill>
                <a:srgbClr val="FFFFF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59" name="Freeform: Shape 58">
                <a:extLst>
                  <a:ext uri="{FF2B5EF4-FFF2-40B4-BE49-F238E27FC236}">
                    <a16:creationId xmlns:a16="http://schemas.microsoft.com/office/drawing/2014/main" id="{34938413-DC65-1391-9367-4B288D33C892}"/>
                  </a:ext>
                </a:extLst>
              </p:cNvPr>
              <p:cNvSpPr/>
              <p:nvPr/>
            </p:nvSpPr>
            <p:spPr>
              <a:xfrm>
                <a:off x="13049457" y="4057008"/>
                <a:ext cx="20744" cy="23214"/>
              </a:xfrm>
              <a:custGeom>
                <a:avLst/>
                <a:gdLst>
                  <a:gd name="connsiteX0" fmla="*/ 15806 w 20744"/>
                  <a:gd name="connsiteY0" fmla="*/ 1482 h 23214"/>
                  <a:gd name="connsiteX1" fmla="*/ 9879 w 20744"/>
                  <a:gd name="connsiteY1" fmla="*/ 0 h 23214"/>
                  <a:gd name="connsiteX2" fmla="*/ 4445 w 20744"/>
                  <a:gd name="connsiteY2" fmla="*/ 1482 h 23214"/>
                  <a:gd name="connsiteX3" fmla="*/ 0 w 20744"/>
                  <a:gd name="connsiteY3" fmla="*/ 17781 h 23214"/>
                  <a:gd name="connsiteX4" fmla="*/ 0 w 20744"/>
                  <a:gd name="connsiteY4" fmla="*/ 21239 h 23214"/>
                  <a:gd name="connsiteX5" fmla="*/ 0 w 20744"/>
                  <a:gd name="connsiteY5" fmla="*/ 21733 h 23214"/>
                  <a:gd name="connsiteX6" fmla="*/ 9879 w 20744"/>
                  <a:gd name="connsiteY6" fmla="*/ 23215 h 23214"/>
                  <a:gd name="connsiteX7" fmla="*/ 20745 w 20744"/>
                  <a:gd name="connsiteY7" fmla="*/ 20745 h 23214"/>
                  <a:gd name="connsiteX8" fmla="*/ 20745 w 20744"/>
                  <a:gd name="connsiteY8" fmla="*/ 17781 h 23214"/>
                  <a:gd name="connsiteX9" fmla="*/ 15806 w 20744"/>
                  <a:gd name="connsiteY9" fmla="*/ 1482 h 2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44" h="23214">
                    <a:moveTo>
                      <a:pt x="15806" y="1482"/>
                    </a:moveTo>
                    <a:cubicBezTo>
                      <a:pt x="14324" y="494"/>
                      <a:pt x="12348" y="0"/>
                      <a:pt x="9879" y="0"/>
                    </a:cubicBezTo>
                    <a:cubicBezTo>
                      <a:pt x="7903" y="0"/>
                      <a:pt x="5927" y="494"/>
                      <a:pt x="4445" y="1482"/>
                    </a:cubicBezTo>
                    <a:lnTo>
                      <a:pt x="0" y="17781"/>
                    </a:lnTo>
                    <a:lnTo>
                      <a:pt x="0" y="21239"/>
                    </a:lnTo>
                    <a:cubicBezTo>
                      <a:pt x="0" y="21239"/>
                      <a:pt x="0" y="21239"/>
                      <a:pt x="0" y="21733"/>
                    </a:cubicBezTo>
                    <a:cubicBezTo>
                      <a:pt x="2470" y="22721"/>
                      <a:pt x="5927" y="23215"/>
                      <a:pt x="9879" y="23215"/>
                    </a:cubicBezTo>
                    <a:cubicBezTo>
                      <a:pt x="14324" y="23215"/>
                      <a:pt x="18275" y="22227"/>
                      <a:pt x="20745" y="20745"/>
                    </a:cubicBezTo>
                    <a:lnTo>
                      <a:pt x="20745" y="17781"/>
                    </a:lnTo>
                    <a:lnTo>
                      <a:pt x="15806" y="1482"/>
                    </a:lnTo>
                    <a:close/>
                  </a:path>
                </a:pathLst>
              </a:custGeom>
              <a:solidFill>
                <a:srgbClr val="81B6DA"/>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60" name="Graphic 31">
                <a:extLst>
                  <a:ext uri="{FF2B5EF4-FFF2-40B4-BE49-F238E27FC236}">
                    <a16:creationId xmlns:a16="http://schemas.microsoft.com/office/drawing/2014/main" id="{47A489EA-2643-91F8-547E-63F3AA57ED50}"/>
                  </a:ext>
                </a:extLst>
              </p:cNvPr>
              <p:cNvGrpSpPr/>
              <p:nvPr/>
            </p:nvGrpSpPr>
            <p:grpSpPr>
              <a:xfrm>
                <a:off x="12935854" y="3799672"/>
                <a:ext cx="90388" cy="46923"/>
                <a:chOff x="12935854" y="3799672"/>
                <a:chExt cx="90388" cy="46923"/>
              </a:xfrm>
            </p:grpSpPr>
            <p:sp>
              <p:nvSpPr>
                <p:cNvPr id="61" name="Freeform: Shape 60">
                  <a:extLst>
                    <a:ext uri="{FF2B5EF4-FFF2-40B4-BE49-F238E27FC236}">
                      <a16:creationId xmlns:a16="http://schemas.microsoft.com/office/drawing/2014/main" id="{8D8EF911-6AE9-4C4A-2500-1FFA06F9E628}"/>
                    </a:ext>
                  </a:extLst>
                </p:cNvPr>
                <p:cNvSpPr/>
                <p:nvPr/>
              </p:nvSpPr>
              <p:spPr>
                <a:xfrm>
                  <a:off x="12935854" y="3799672"/>
                  <a:ext cx="79522" cy="32105"/>
                </a:xfrm>
                <a:custGeom>
                  <a:avLst/>
                  <a:gdLst>
                    <a:gd name="connsiteX0" fmla="*/ 79522 w 79522"/>
                    <a:gd name="connsiteY0" fmla="*/ 32105 h 32105"/>
                    <a:gd name="connsiteX1" fmla="*/ 36551 w 79522"/>
                    <a:gd name="connsiteY1" fmla="*/ 0 h 32105"/>
                    <a:gd name="connsiteX2" fmla="*/ 0 w 79522"/>
                    <a:gd name="connsiteY2" fmla="*/ 23215 h 32105"/>
                  </a:gdLst>
                  <a:ahLst/>
                  <a:cxnLst>
                    <a:cxn ang="0">
                      <a:pos x="connsiteX0" y="connsiteY0"/>
                    </a:cxn>
                    <a:cxn ang="0">
                      <a:pos x="connsiteX1" y="connsiteY1"/>
                    </a:cxn>
                    <a:cxn ang="0">
                      <a:pos x="connsiteX2" y="connsiteY2"/>
                    </a:cxn>
                  </a:cxnLst>
                  <a:rect l="l" t="t" r="r" b="b"/>
                  <a:pathLst>
                    <a:path w="79522" h="32105">
                      <a:moveTo>
                        <a:pt x="79522" y="32105"/>
                      </a:moveTo>
                      <a:lnTo>
                        <a:pt x="36551" y="0"/>
                      </a:lnTo>
                      <a:lnTo>
                        <a:pt x="0" y="23215"/>
                      </a:lnTo>
                      <a:close/>
                    </a:path>
                  </a:pathLst>
                </a:custGeom>
                <a:solidFill>
                  <a:srgbClr val="FFFFF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62" name="Freeform: Shape 61">
                  <a:extLst>
                    <a:ext uri="{FF2B5EF4-FFF2-40B4-BE49-F238E27FC236}">
                      <a16:creationId xmlns:a16="http://schemas.microsoft.com/office/drawing/2014/main" id="{F5F2A0E2-2644-7954-6BBD-7896A0E6CB18}"/>
                    </a:ext>
                  </a:extLst>
                </p:cNvPr>
                <p:cNvSpPr/>
                <p:nvPr/>
              </p:nvSpPr>
              <p:spPr>
                <a:xfrm>
                  <a:off x="12987716" y="3821899"/>
                  <a:ext cx="38526" cy="24696"/>
                </a:xfrm>
                <a:custGeom>
                  <a:avLst/>
                  <a:gdLst>
                    <a:gd name="connsiteX0" fmla="*/ 38526 w 38526"/>
                    <a:gd name="connsiteY0" fmla="*/ 12348 h 24696"/>
                    <a:gd name="connsiteX1" fmla="*/ 19263 w 38526"/>
                    <a:gd name="connsiteY1" fmla="*/ 24696 h 24696"/>
                    <a:gd name="connsiteX2" fmla="*/ 0 w 38526"/>
                    <a:gd name="connsiteY2" fmla="*/ 12348 h 24696"/>
                    <a:gd name="connsiteX3" fmla="*/ 19263 w 38526"/>
                    <a:gd name="connsiteY3" fmla="*/ 0 h 24696"/>
                    <a:gd name="connsiteX4" fmla="*/ 38526 w 38526"/>
                    <a:gd name="connsiteY4" fmla="*/ 12348 h 24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26" h="24696">
                      <a:moveTo>
                        <a:pt x="38526" y="12348"/>
                      </a:moveTo>
                      <a:cubicBezTo>
                        <a:pt x="38526" y="19263"/>
                        <a:pt x="30130" y="24696"/>
                        <a:pt x="19263" y="24696"/>
                      </a:cubicBezTo>
                      <a:cubicBezTo>
                        <a:pt x="8891" y="24696"/>
                        <a:pt x="0" y="19263"/>
                        <a:pt x="0" y="12348"/>
                      </a:cubicBezTo>
                      <a:cubicBezTo>
                        <a:pt x="0" y="5433"/>
                        <a:pt x="8397" y="0"/>
                        <a:pt x="19263" y="0"/>
                      </a:cubicBezTo>
                      <a:cubicBezTo>
                        <a:pt x="25190" y="494"/>
                        <a:pt x="38526" y="7903"/>
                        <a:pt x="38526" y="12348"/>
                      </a:cubicBezTo>
                      <a:close/>
                    </a:path>
                  </a:pathLst>
                </a:custGeom>
                <a:solidFill>
                  <a:srgbClr val="564539"/>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nvGrpSpPr>
            <p:cNvPr id="39" name="Graphic 31">
              <a:extLst>
                <a:ext uri="{FF2B5EF4-FFF2-40B4-BE49-F238E27FC236}">
                  <a16:creationId xmlns:a16="http://schemas.microsoft.com/office/drawing/2014/main" id="{AE1D59A9-1C59-E9DF-E132-786D8FD46312}"/>
                </a:ext>
              </a:extLst>
            </p:cNvPr>
            <p:cNvGrpSpPr/>
            <p:nvPr/>
          </p:nvGrpSpPr>
          <p:grpSpPr>
            <a:xfrm>
              <a:off x="10890965" y="3984911"/>
              <a:ext cx="233106" cy="442910"/>
              <a:chOff x="12886955" y="3770624"/>
              <a:chExt cx="163983" cy="311574"/>
            </a:xfrm>
          </p:grpSpPr>
          <p:grpSp>
            <p:nvGrpSpPr>
              <p:cNvPr id="40" name="Graphic 31">
                <a:extLst>
                  <a:ext uri="{FF2B5EF4-FFF2-40B4-BE49-F238E27FC236}">
                    <a16:creationId xmlns:a16="http://schemas.microsoft.com/office/drawing/2014/main" id="{CFA0A904-FDCE-F4AD-6465-91C0C6C54DD8}"/>
                  </a:ext>
                </a:extLst>
              </p:cNvPr>
              <p:cNvGrpSpPr/>
              <p:nvPr/>
            </p:nvGrpSpPr>
            <p:grpSpPr>
              <a:xfrm>
                <a:off x="12916590" y="3770624"/>
                <a:ext cx="53744" cy="52756"/>
                <a:chOff x="12916590" y="3770624"/>
                <a:chExt cx="53744" cy="52756"/>
              </a:xfrm>
              <a:solidFill>
                <a:srgbClr val="000000"/>
              </a:solidFill>
            </p:grpSpPr>
            <p:grpSp>
              <p:nvGrpSpPr>
                <p:cNvPr id="45" name="Graphic 31">
                  <a:extLst>
                    <a:ext uri="{FF2B5EF4-FFF2-40B4-BE49-F238E27FC236}">
                      <a16:creationId xmlns:a16="http://schemas.microsoft.com/office/drawing/2014/main" id="{1C689CB9-E930-B495-3B8D-2E143F7D130E}"/>
                    </a:ext>
                  </a:extLst>
                </p:cNvPr>
                <p:cNvGrpSpPr/>
                <p:nvPr/>
              </p:nvGrpSpPr>
              <p:grpSpPr>
                <a:xfrm>
                  <a:off x="12946226" y="3770624"/>
                  <a:ext cx="24109" cy="52756"/>
                  <a:chOff x="12946226" y="3770624"/>
                  <a:chExt cx="24109" cy="52756"/>
                </a:xfrm>
                <a:solidFill>
                  <a:srgbClr val="000000"/>
                </a:solidFill>
              </p:grpSpPr>
              <p:sp>
                <p:nvSpPr>
                  <p:cNvPr id="50" name="Freeform: Shape 49">
                    <a:extLst>
                      <a:ext uri="{FF2B5EF4-FFF2-40B4-BE49-F238E27FC236}">
                        <a16:creationId xmlns:a16="http://schemas.microsoft.com/office/drawing/2014/main" id="{867F1109-DC47-3A4E-9AFD-B58A55989601}"/>
                      </a:ext>
                    </a:extLst>
                  </p:cNvPr>
                  <p:cNvSpPr/>
                  <p:nvPr/>
                </p:nvSpPr>
                <p:spPr>
                  <a:xfrm>
                    <a:off x="12948202" y="3777939"/>
                    <a:ext cx="16299" cy="43959"/>
                  </a:xfrm>
                  <a:custGeom>
                    <a:avLst/>
                    <a:gdLst>
                      <a:gd name="connsiteX0" fmla="*/ 2470 w 16299"/>
                      <a:gd name="connsiteY0" fmla="*/ 43959 h 43959"/>
                      <a:gd name="connsiteX1" fmla="*/ 0 w 16299"/>
                      <a:gd name="connsiteY1" fmla="*/ 43959 h 43959"/>
                      <a:gd name="connsiteX2" fmla="*/ 0 w 16299"/>
                      <a:gd name="connsiteY2" fmla="*/ 18275 h 43959"/>
                      <a:gd name="connsiteX3" fmla="*/ 4939 w 16299"/>
                      <a:gd name="connsiteY3" fmla="*/ 6421 h 43959"/>
                      <a:gd name="connsiteX4" fmla="*/ 15806 w 16299"/>
                      <a:gd name="connsiteY4" fmla="*/ 0 h 43959"/>
                      <a:gd name="connsiteX5" fmla="*/ 16300 w 16299"/>
                      <a:gd name="connsiteY5" fmla="*/ 1976 h 43959"/>
                      <a:gd name="connsiteX6" fmla="*/ 2470 w 16299"/>
                      <a:gd name="connsiteY6" fmla="*/ 18275 h 43959"/>
                      <a:gd name="connsiteX7" fmla="*/ 2470 w 16299"/>
                      <a:gd name="connsiteY7" fmla="*/ 43959 h 43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99" h="43959">
                        <a:moveTo>
                          <a:pt x="2470" y="43959"/>
                        </a:moveTo>
                        <a:lnTo>
                          <a:pt x="0" y="43959"/>
                        </a:lnTo>
                        <a:lnTo>
                          <a:pt x="0" y="18275"/>
                        </a:lnTo>
                        <a:cubicBezTo>
                          <a:pt x="0" y="14324"/>
                          <a:pt x="1976" y="9879"/>
                          <a:pt x="4939" y="6421"/>
                        </a:cubicBezTo>
                        <a:cubicBezTo>
                          <a:pt x="7903" y="2964"/>
                          <a:pt x="11854" y="988"/>
                          <a:pt x="15806" y="0"/>
                        </a:cubicBezTo>
                        <a:lnTo>
                          <a:pt x="16300" y="1976"/>
                        </a:lnTo>
                        <a:cubicBezTo>
                          <a:pt x="9879" y="2964"/>
                          <a:pt x="2470" y="10372"/>
                          <a:pt x="2470" y="18275"/>
                        </a:cubicBezTo>
                        <a:lnTo>
                          <a:pt x="2470" y="43959"/>
                        </a:lnTo>
                        <a:close/>
                      </a:path>
                    </a:pathLst>
                  </a:custGeom>
                  <a:solidFill>
                    <a:srgbClr val="000000"/>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51" name="Freeform: Shape 50">
                    <a:extLst>
                      <a:ext uri="{FF2B5EF4-FFF2-40B4-BE49-F238E27FC236}">
                        <a16:creationId xmlns:a16="http://schemas.microsoft.com/office/drawing/2014/main" id="{3F956EBC-609E-21D1-AEB9-A07D7B1931BF}"/>
                      </a:ext>
                    </a:extLst>
                  </p:cNvPr>
                  <p:cNvSpPr/>
                  <p:nvPr/>
                </p:nvSpPr>
                <p:spPr>
                  <a:xfrm>
                    <a:off x="12946226" y="3818441"/>
                    <a:ext cx="6421" cy="4939"/>
                  </a:xfrm>
                  <a:custGeom>
                    <a:avLst/>
                    <a:gdLst>
                      <a:gd name="connsiteX0" fmla="*/ 6421 w 6421"/>
                      <a:gd name="connsiteY0" fmla="*/ 2470 h 4939"/>
                      <a:gd name="connsiteX1" fmla="*/ 3951 w 6421"/>
                      <a:gd name="connsiteY1" fmla="*/ 4939 h 4939"/>
                      <a:gd name="connsiteX2" fmla="*/ 2470 w 6421"/>
                      <a:gd name="connsiteY2" fmla="*/ 4939 h 4939"/>
                      <a:gd name="connsiteX3" fmla="*/ 0 w 6421"/>
                      <a:gd name="connsiteY3" fmla="*/ 2470 h 4939"/>
                      <a:gd name="connsiteX4" fmla="*/ 0 w 6421"/>
                      <a:gd name="connsiteY4" fmla="*/ 2470 h 4939"/>
                      <a:gd name="connsiteX5" fmla="*/ 2470 w 6421"/>
                      <a:gd name="connsiteY5" fmla="*/ 0 h 4939"/>
                      <a:gd name="connsiteX6" fmla="*/ 3951 w 6421"/>
                      <a:gd name="connsiteY6" fmla="*/ 0 h 4939"/>
                      <a:gd name="connsiteX7" fmla="*/ 6421 w 6421"/>
                      <a:gd name="connsiteY7" fmla="*/ 2470 h 4939"/>
                      <a:gd name="connsiteX8" fmla="*/ 6421 w 6421"/>
                      <a:gd name="connsiteY8" fmla="*/ 2470 h 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21" h="4939">
                        <a:moveTo>
                          <a:pt x="6421" y="2470"/>
                        </a:moveTo>
                        <a:cubicBezTo>
                          <a:pt x="6421" y="3951"/>
                          <a:pt x="5433" y="4939"/>
                          <a:pt x="3951" y="4939"/>
                        </a:cubicBezTo>
                        <a:lnTo>
                          <a:pt x="2470" y="4939"/>
                        </a:lnTo>
                        <a:cubicBezTo>
                          <a:pt x="988" y="4939"/>
                          <a:pt x="0" y="3951"/>
                          <a:pt x="0" y="2470"/>
                        </a:cubicBezTo>
                        <a:lnTo>
                          <a:pt x="0" y="2470"/>
                        </a:lnTo>
                        <a:cubicBezTo>
                          <a:pt x="0" y="988"/>
                          <a:pt x="988" y="0"/>
                          <a:pt x="2470" y="0"/>
                        </a:cubicBezTo>
                        <a:lnTo>
                          <a:pt x="3951" y="0"/>
                        </a:lnTo>
                        <a:cubicBezTo>
                          <a:pt x="4939" y="0"/>
                          <a:pt x="6421" y="988"/>
                          <a:pt x="6421" y="2470"/>
                        </a:cubicBezTo>
                        <a:lnTo>
                          <a:pt x="6421" y="2470"/>
                        </a:lnTo>
                        <a:close/>
                      </a:path>
                    </a:pathLst>
                  </a:custGeom>
                  <a:solidFill>
                    <a:srgbClr val="000000"/>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52" name="Freeform: Shape 51">
                    <a:extLst>
                      <a:ext uri="{FF2B5EF4-FFF2-40B4-BE49-F238E27FC236}">
                        <a16:creationId xmlns:a16="http://schemas.microsoft.com/office/drawing/2014/main" id="{C4074092-B9B3-607A-100E-51096637E29E}"/>
                      </a:ext>
                    </a:extLst>
                  </p:cNvPr>
                  <p:cNvSpPr/>
                  <p:nvPr/>
                </p:nvSpPr>
                <p:spPr>
                  <a:xfrm>
                    <a:off x="12955210" y="3770624"/>
                    <a:ext cx="15125" cy="13643"/>
                  </a:xfrm>
                  <a:custGeom>
                    <a:avLst/>
                    <a:gdLst>
                      <a:gd name="connsiteX0" fmla="*/ 6328 w 15125"/>
                      <a:gd name="connsiteY0" fmla="*/ 12749 h 13643"/>
                      <a:gd name="connsiteX1" fmla="*/ 895 w 15125"/>
                      <a:gd name="connsiteY1" fmla="*/ 12255 h 13643"/>
                      <a:gd name="connsiteX2" fmla="*/ 895 w 15125"/>
                      <a:gd name="connsiteY2" fmla="*/ 12255 h 13643"/>
                      <a:gd name="connsiteX3" fmla="*/ 1389 w 15125"/>
                      <a:gd name="connsiteY3" fmla="*/ 6822 h 13643"/>
                      <a:gd name="connsiteX4" fmla="*/ 8798 w 15125"/>
                      <a:gd name="connsiteY4" fmla="*/ 895 h 13643"/>
                      <a:gd name="connsiteX5" fmla="*/ 14231 w 15125"/>
                      <a:gd name="connsiteY5" fmla="*/ 1389 h 13643"/>
                      <a:gd name="connsiteX6" fmla="*/ 14231 w 15125"/>
                      <a:gd name="connsiteY6" fmla="*/ 1389 h 13643"/>
                      <a:gd name="connsiteX7" fmla="*/ 13737 w 15125"/>
                      <a:gd name="connsiteY7" fmla="*/ 6822 h 13643"/>
                      <a:gd name="connsiteX8" fmla="*/ 6328 w 15125"/>
                      <a:gd name="connsiteY8" fmla="*/ 12749 h 13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25" h="13643">
                        <a:moveTo>
                          <a:pt x="6328" y="12749"/>
                        </a:moveTo>
                        <a:cubicBezTo>
                          <a:pt x="4352" y="14231"/>
                          <a:pt x="1883" y="13737"/>
                          <a:pt x="895" y="12255"/>
                        </a:cubicBezTo>
                        <a:lnTo>
                          <a:pt x="895" y="12255"/>
                        </a:lnTo>
                        <a:cubicBezTo>
                          <a:pt x="-587" y="10279"/>
                          <a:pt x="-93" y="7810"/>
                          <a:pt x="1389" y="6822"/>
                        </a:cubicBezTo>
                        <a:lnTo>
                          <a:pt x="8798" y="895"/>
                        </a:lnTo>
                        <a:cubicBezTo>
                          <a:pt x="10773" y="-587"/>
                          <a:pt x="13243" y="-93"/>
                          <a:pt x="14231" y="1389"/>
                        </a:cubicBezTo>
                        <a:lnTo>
                          <a:pt x="14231" y="1389"/>
                        </a:lnTo>
                        <a:cubicBezTo>
                          <a:pt x="15713" y="3364"/>
                          <a:pt x="15219" y="5834"/>
                          <a:pt x="13737" y="6822"/>
                        </a:cubicBezTo>
                        <a:lnTo>
                          <a:pt x="6328" y="12749"/>
                        </a:lnTo>
                        <a:close/>
                      </a:path>
                    </a:pathLst>
                  </a:custGeom>
                  <a:solidFill>
                    <a:srgbClr val="000000"/>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46" name="Graphic 31">
                  <a:extLst>
                    <a:ext uri="{FF2B5EF4-FFF2-40B4-BE49-F238E27FC236}">
                      <a16:creationId xmlns:a16="http://schemas.microsoft.com/office/drawing/2014/main" id="{68119A61-278D-F507-120E-A13D4DADF27F}"/>
                    </a:ext>
                  </a:extLst>
                </p:cNvPr>
                <p:cNvGrpSpPr/>
                <p:nvPr/>
              </p:nvGrpSpPr>
              <p:grpSpPr>
                <a:xfrm>
                  <a:off x="12916590" y="3770624"/>
                  <a:ext cx="24603" cy="52756"/>
                  <a:chOff x="12916590" y="3770624"/>
                  <a:chExt cx="24603" cy="52756"/>
                </a:xfrm>
                <a:solidFill>
                  <a:srgbClr val="000000"/>
                </a:solidFill>
              </p:grpSpPr>
              <p:sp>
                <p:nvSpPr>
                  <p:cNvPr id="47" name="Freeform: Shape 46">
                    <a:extLst>
                      <a:ext uri="{FF2B5EF4-FFF2-40B4-BE49-F238E27FC236}">
                        <a16:creationId xmlns:a16="http://schemas.microsoft.com/office/drawing/2014/main" id="{8D3468BE-E221-8620-F212-D38BF0158FBC}"/>
                      </a:ext>
                    </a:extLst>
                  </p:cNvPr>
                  <p:cNvSpPr/>
                  <p:nvPr/>
                </p:nvSpPr>
                <p:spPr>
                  <a:xfrm>
                    <a:off x="12919554" y="3777939"/>
                    <a:ext cx="16299" cy="43959"/>
                  </a:xfrm>
                  <a:custGeom>
                    <a:avLst/>
                    <a:gdLst>
                      <a:gd name="connsiteX0" fmla="*/ 1976 w 16299"/>
                      <a:gd name="connsiteY0" fmla="*/ 43959 h 43959"/>
                      <a:gd name="connsiteX1" fmla="*/ 0 w 16299"/>
                      <a:gd name="connsiteY1" fmla="*/ 43959 h 43959"/>
                      <a:gd name="connsiteX2" fmla="*/ 0 w 16299"/>
                      <a:gd name="connsiteY2" fmla="*/ 18275 h 43959"/>
                      <a:gd name="connsiteX3" fmla="*/ 4939 w 16299"/>
                      <a:gd name="connsiteY3" fmla="*/ 6421 h 43959"/>
                      <a:gd name="connsiteX4" fmla="*/ 15806 w 16299"/>
                      <a:gd name="connsiteY4" fmla="*/ 0 h 43959"/>
                      <a:gd name="connsiteX5" fmla="*/ 16300 w 16299"/>
                      <a:gd name="connsiteY5" fmla="*/ 1976 h 43959"/>
                      <a:gd name="connsiteX6" fmla="*/ 2470 w 16299"/>
                      <a:gd name="connsiteY6" fmla="*/ 18275 h 43959"/>
                      <a:gd name="connsiteX7" fmla="*/ 2470 w 16299"/>
                      <a:gd name="connsiteY7" fmla="*/ 43959 h 43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99" h="43959">
                        <a:moveTo>
                          <a:pt x="1976" y="43959"/>
                        </a:moveTo>
                        <a:lnTo>
                          <a:pt x="0" y="43959"/>
                        </a:lnTo>
                        <a:lnTo>
                          <a:pt x="0" y="18275"/>
                        </a:lnTo>
                        <a:cubicBezTo>
                          <a:pt x="0" y="14324"/>
                          <a:pt x="1482" y="9879"/>
                          <a:pt x="4939" y="6421"/>
                        </a:cubicBezTo>
                        <a:cubicBezTo>
                          <a:pt x="7903" y="2964"/>
                          <a:pt x="11854" y="988"/>
                          <a:pt x="15806" y="0"/>
                        </a:cubicBezTo>
                        <a:lnTo>
                          <a:pt x="16300" y="1976"/>
                        </a:lnTo>
                        <a:cubicBezTo>
                          <a:pt x="9879" y="2964"/>
                          <a:pt x="2470" y="10372"/>
                          <a:pt x="2470" y="18275"/>
                        </a:cubicBezTo>
                        <a:lnTo>
                          <a:pt x="2470" y="43959"/>
                        </a:lnTo>
                        <a:close/>
                      </a:path>
                    </a:pathLst>
                  </a:custGeom>
                  <a:solidFill>
                    <a:srgbClr val="000000"/>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48" name="Freeform: Shape 47">
                    <a:extLst>
                      <a:ext uri="{FF2B5EF4-FFF2-40B4-BE49-F238E27FC236}">
                        <a16:creationId xmlns:a16="http://schemas.microsoft.com/office/drawing/2014/main" id="{08F8C540-0BB0-1F34-DE93-61E763112E9A}"/>
                      </a:ext>
                    </a:extLst>
                  </p:cNvPr>
                  <p:cNvSpPr/>
                  <p:nvPr/>
                </p:nvSpPr>
                <p:spPr>
                  <a:xfrm>
                    <a:off x="12916590" y="3818441"/>
                    <a:ext cx="6421" cy="4939"/>
                  </a:xfrm>
                  <a:custGeom>
                    <a:avLst/>
                    <a:gdLst>
                      <a:gd name="connsiteX0" fmla="*/ 6421 w 6421"/>
                      <a:gd name="connsiteY0" fmla="*/ 2470 h 4939"/>
                      <a:gd name="connsiteX1" fmla="*/ 3951 w 6421"/>
                      <a:gd name="connsiteY1" fmla="*/ 4939 h 4939"/>
                      <a:gd name="connsiteX2" fmla="*/ 2470 w 6421"/>
                      <a:gd name="connsiteY2" fmla="*/ 4939 h 4939"/>
                      <a:gd name="connsiteX3" fmla="*/ 0 w 6421"/>
                      <a:gd name="connsiteY3" fmla="*/ 2470 h 4939"/>
                      <a:gd name="connsiteX4" fmla="*/ 0 w 6421"/>
                      <a:gd name="connsiteY4" fmla="*/ 2470 h 4939"/>
                      <a:gd name="connsiteX5" fmla="*/ 2470 w 6421"/>
                      <a:gd name="connsiteY5" fmla="*/ 0 h 4939"/>
                      <a:gd name="connsiteX6" fmla="*/ 3951 w 6421"/>
                      <a:gd name="connsiteY6" fmla="*/ 0 h 4939"/>
                      <a:gd name="connsiteX7" fmla="*/ 6421 w 6421"/>
                      <a:gd name="connsiteY7" fmla="*/ 2470 h 4939"/>
                      <a:gd name="connsiteX8" fmla="*/ 6421 w 6421"/>
                      <a:gd name="connsiteY8" fmla="*/ 2470 h 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21" h="4939">
                        <a:moveTo>
                          <a:pt x="6421" y="2470"/>
                        </a:moveTo>
                        <a:cubicBezTo>
                          <a:pt x="6421" y="3951"/>
                          <a:pt x="5433" y="4939"/>
                          <a:pt x="3951" y="4939"/>
                        </a:cubicBezTo>
                        <a:lnTo>
                          <a:pt x="2470" y="4939"/>
                        </a:lnTo>
                        <a:cubicBezTo>
                          <a:pt x="988" y="4939"/>
                          <a:pt x="0" y="3951"/>
                          <a:pt x="0" y="2470"/>
                        </a:cubicBezTo>
                        <a:lnTo>
                          <a:pt x="0" y="2470"/>
                        </a:lnTo>
                        <a:cubicBezTo>
                          <a:pt x="0" y="988"/>
                          <a:pt x="988" y="0"/>
                          <a:pt x="2470" y="0"/>
                        </a:cubicBezTo>
                        <a:lnTo>
                          <a:pt x="3951" y="0"/>
                        </a:lnTo>
                        <a:cubicBezTo>
                          <a:pt x="5433" y="0"/>
                          <a:pt x="6421" y="988"/>
                          <a:pt x="6421" y="2470"/>
                        </a:cubicBezTo>
                        <a:lnTo>
                          <a:pt x="6421" y="2470"/>
                        </a:lnTo>
                        <a:close/>
                      </a:path>
                    </a:pathLst>
                  </a:custGeom>
                  <a:solidFill>
                    <a:srgbClr val="000000"/>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49" name="Freeform: Shape 48">
                    <a:extLst>
                      <a:ext uri="{FF2B5EF4-FFF2-40B4-BE49-F238E27FC236}">
                        <a16:creationId xmlns:a16="http://schemas.microsoft.com/office/drawing/2014/main" id="{D1F44BC0-7383-9031-8536-5CC2C26FC21D}"/>
                      </a:ext>
                    </a:extLst>
                  </p:cNvPr>
                  <p:cNvSpPr/>
                  <p:nvPr/>
                </p:nvSpPr>
                <p:spPr>
                  <a:xfrm>
                    <a:off x="12926068" y="3770624"/>
                    <a:ext cx="15125" cy="13643"/>
                  </a:xfrm>
                  <a:custGeom>
                    <a:avLst/>
                    <a:gdLst>
                      <a:gd name="connsiteX0" fmla="*/ 6328 w 15125"/>
                      <a:gd name="connsiteY0" fmla="*/ 12749 h 13643"/>
                      <a:gd name="connsiteX1" fmla="*/ 895 w 15125"/>
                      <a:gd name="connsiteY1" fmla="*/ 12255 h 13643"/>
                      <a:gd name="connsiteX2" fmla="*/ 895 w 15125"/>
                      <a:gd name="connsiteY2" fmla="*/ 12255 h 13643"/>
                      <a:gd name="connsiteX3" fmla="*/ 1389 w 15125"/>
                      <a:gd name="connsiteY3" fmla="*/ 6822 h 13643"/>
                      <a:gd name="connsiteX4" fmla="*/ 8797 w 15125"/>
                      <a:gd name="connsiteY4" fmla="*/ 895 h 13643"/>
                      <a:gd name="connsiteX5" fmla="*/ 14231 w 15125"/>
                      <a:gd name="connsiteY5" fmla="*/ 1389 h 13643"/>
                      <a:gd name="connsiteX6" fmla="*/ 14231 w 15125"/>
                      <a:gd name="connsiteY6" fmla="*/ 1389 h 13643"/>
                      <a:gd name="connsiteX7" fmla="*/ 13737 w 15125"/>
                      <a:gd name="connsiteY7" fmla="*/ 6822 h 13643"/>
                      <a:gd name="connsiteX8" fmla="*/ 6328 w 15125"/>
                      <a:gd name="connsiteY8" fmla="*/ 12749 h 13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25" h="13643">
                        <a:moveTo>
                          <a:pt x="6328" y="12749"/>
                        </a:moveTo>
                        <a:cubicBezTo>
                          <a:pt x="4352" y="14231"/>
                          <a:pt x="1883" y="13737"/>
                          <a:pt x="895" y="12255"/>
                        </a:cubicBezTo>
                        <a:lnTo>
                          <a:pt x="895" y="12255"/>
                        </a:lnTo>
                        <a:cubicBezTo>
                          <a:pt x="-587" y="10279"/>
                          <a:pt x="-93" y="7810"/>
                          <a:pt x="1389" y="6822"/>
                        </a:cubicBezTo>
                        <a:lnTo>
                          <a:pt x="8797" y="895"/>
                        </a:lnTo>
                        <a:cubicBezTo>
                          <a:pt x="10773" y="-587"/>
                          <a:pt x="13243" y="-93"/>
                          <a:pt x="14231" y="1389"/>
                        </a:cubicBezTo>
                        <a:lnTo>
                          <a:pt x="14231" y="1389"/>
                        </a:lnTo>
                        <a:cubicBezTo>
                          <a:pt x="15713" y="3364"/>
                          <a:pt x="15219" y="5834"/>
                          <a:pt x="13737" y="6822"/>
                        </a:cubicBezTo>
                        <a:lnTo>
                          <a:pt x="6328" y="12749"/>
                        </a:lnTo>
                        <a:close/>
                      </a:path>
                    </a:pathLst>
                  </a:custGeom>
                  <a:solidFill>
                    <a:srgbClr val="000000"/>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sp>
            <p:nvSpPr>
              <p:cNvPr id="41" name="Freeform: Shape 40">
                <a:extLst>
                  <a:ext uri="{FF2B5EF4-FFF2-40B4-BE49-F238E27FC236}">
                    <a16:creationId xmlns:a16="http://schemas.microsoft.com/office/drawing/2014/main" id="{4F56EEBB-06D8-5F00-F7FB-8C29BC09FB5A}"/>
                  </a:ext>
                </a:extLst>
              </p:cNvPr>
              <p:cNvSpPr/>
              <p:nvPr/>
            </p:nvSpPr>
            <p:spPr>
              <a:xfrm>
                <a:off x="12897821" y="3826838"/>
                <a:ext cx="143238" cy="255359"/>
              </a:xfrm>
              <a:custGeom>
                <a:avLst/>
                <a:gdLst>
                  <a:gd name="connsiteX0" fmla="*/ 0 w 143238"/>
                  <a:gd name="connsiteY0" fmla="*/ 255360 h 255359"/>
                  <a:gd name="connsiteX1" fmla="*/ 143239 w 143238"/>
                  <a:gd name="connsiteY1" fmla="*/ 255360 h 255359"/>
                  <a:gd name="connsiteX2" fmla="*/ 143239 w 143238"/>
                  <a:gd name="connsiteY2" fmla="*/ 16300 h 255359"/>
                  <a:gd name="connsiteX3" fmla="*/ 86931 w 143238"/>
                  <a:gd name="connsiteY3" fmla="*/ 0 h 255359"/>
                  <a:gd name="connsiteX4" fmla="*/ 0 w 143238"/>
                  <a:gd name="connsiteY4" fmla="*/ 0 h 255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238" h="255359">
                    <a:moveTo>
                      <a:pt x="0" y="255360"/>
                    </a:moveTo>
                    <a:lnTo>
                      <a:pt x="143239" y="255360"/>
                    </a:lnTo>
                    <a:lnTo>
                      <a:pt x="143239" y="16300"/>
                    </a:lnTo>
                    <a:lnTo>
                      <a:pt x="86931" y="0"/>
                    </a:lnTo>
                    <a:lnTo>
                      <a:pt x="0" y="0"/>
                    </a:lnTo>
                    <a:close/>
                  </a:path>
                </a:pathLst>
              </a:custGeom>
              <a:solidFill>
                <a:srgbClr val="FFFFF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42" name="Freeform: Shape 41">
                <a:extLst>
                  <a:ext uri="{FF2B5EF4-FFF2-40B4-BE49-F238E27FC236}">
                    <a16:creationId xmlns:a16="http://schemas.microsoft.com/office/drawing/2014/main" id="{E928CA9B-C586-8B3D-6E25-33671BD66845}"/>
                  </a:ext>
                </a:extLst>
              </p:cNvPr>
              <p:cNvSpPr/>
              <p:nvPr/>
            </p:nvSpPr>
            <p:spPr>
              <a:xfrm>
                <a:off x="12984752" y="3833753"/>
                <a:ext cx="56307" cy="248444"/>
              </a:xfrm>
              <a:custGeom>
                <a:avLst/>
                <a:gdLst>
                  <a:gd name="connsiteX0" fmla="*/ 0 w 56307"/>
                  <a:gd name="connsiteY0" fmla="*/ 248445 h 248444"/>
                  <a:gd name="connsiteX1" fmla="*/ 56308 w 56307"/>
                  <a:gd name="connsiteY1" fmla="*/ 248445 h 248444"/>
                  <a:gd name="connsiteX2" fmla="*/ 56308 w 56307"/>
                  <a:gd name="connsiteY2" fmla="*/ 9385 h 248444"/>
                  <a:gd name="connsiteX3" fmla="*/ 0 w 56307"/>
                  <a:gd name="connsiteY3" fmla="*/ 0 h 248444"/>
                </a:gdLst>
                <a:ahLst/>
                <a:cxnLst>
                  <a:cxn ang="0">
                    <a:pos x="connsiteX0" y="connsiteY0"/>
                  </a:cxn>
                  <a:cxn ang="0">
                    <a:pos x="connsiteX1" y="connsiteY1"/>
                  </a:cxn>
                  <a:cxn ang="0">
                    <a:pos x="connsiteX2" y="connsiteY2"/>
                  </a:cxn>
                  <a:cxn ang="0">
                    <a:pos x="connsiteX3" y="connsiteY3"/>
                  </a:cxn>
                </a:cxnLst>
                <a:rect l="l" t="t" r="r" b="b"/>
                <a:pathLst>
                  <a:path w="56307" h="248444">
                    <a:moveTo>
                      <a:pt x="0" y="248445"/>
                    </a:moveTo>
                    <a:lnTo>
                      <a:pt x="56308" y="248445"/>
                    </a:lnTo>
                    <a:lnTo>
                      <a:pt x="56308" y="9385"/>
                    </a:lnTo>
                    <a:lnTo>
                      <a:pt x="0" y="0"/>
                    </a:lnTo>
                    <a:close/>
                  </a:path>
                </a:pathLst>
              </a:custGeom>
              <a:solidFill>
                <a:srgbClr val="E5E5E5"/>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43" name="Freeform: Shape 42">
                <a:extLst>
                  <a:ext uri="{FF2B5EF4-FFF2-40B4-BE49-F238E27FC236}">
                    <a16:creationId xmlns:a16="http://schemas.microsoft.com/office/drawing/2014/main" id="{175EA444-B590-3F5A-1334-8CA412E484D0}"/>
                  </a:ext>
                </a:extLst>
              </p:cNvPr>
              <p:cNvSpPr/>
              <p:nvPr/>
            </p:nvSpPr>
            <p:spPr>
              <a:xfrm>
                <a:off x="12886955" y="3820417"/>
                <a:ext cx="97303" cy="13336"/>
              </a:xfrm>
              <a:custGeom>
                <a:avLst/>
                <a:gdLst>
                  <a:gd name="connsiteX0" fmla="*/ 0 w 97303"/>
                  <a:gd name="connsiteY0" fmla="*/ 0 h 13336"/>
                  <a:gd name="connsiteX1" fmla="*/ 97304 w 97303"/>
                  <a:gd name="connsiteY1" fmla="*/ 0 h 13336"/>
                  <a:gd name="connsiteX2" fmla="*/ 97304 w 97303"/>
                  <a:gd name="connsiteY2" fmla="*/ 13336 h 13336"/>
                  <a:gd name="connsiteX3" fmla="*/ 0 w 97303"/>
                  <a:gd name="connsiteY3" fmla="*/ 13336 h 13336"/>
                </a:gdLst>
                <a:ahLst/>
                <a:cxnLst>
                  <a:cxn ang="0">
                    <a:pos x="connsiteX0" y="connsiteY0"/>
                  </a:cxn>
                  <a:cxn ang="0">
                    <a:pos x="connsiteX1" y="connsiteY1"/>
                  </a:cxn>
                  <a:cxn ang="0">
                    <a:pos x="connsiteX2" y="connsiteY2"/>
                  </a:cxn>
                  <a:cxn ang="0">
                    <a:pos x="connsiteX3" y="connsiteY3"/>
                  </a:cxn>
                </a:cxnLst>
                <a:rect l="l" t="t" r="r" b="b"/>
                <a:pathLst>
                  <a:path w="97303" h="13336">
                    <a:moveTo>
                      <a:pt x="0" y="0"/>
                    </a:moveTo>
                    <a:lnTo>
                      <a:pt x="97304" y="0"/>
                    </a:lnTo>
                    <a:lnTo>
                      <a:pt x="97304" y="13336"/>
                    </a:lnTo>
                    <a:lnTo>
                      <a:pt x="0" y="13336"/>
                    </a:lnTo>
                    <a:close/>
                  </a:path>
                </a:pathLst>
              </a:custGeom>
              <a:solidFill>
                <a:srgbClr val="E5E5E5"/>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44" name="Freeform: Shape 43">
                <a:extLst>
                  <a:ext uri="{FF2B5EF4-FFF2-40B4-BE49-F238E27FC236}">
                    <a16:creationId xmlns:a16="http://schemas.microsoft.com/office/drawing/2014/main" id="{49A18519-E1F5-B072-E937-72D109EB8DB4}"/>
                  </a:ext>
                </a:extLst>
              </p:cNvPr>
              <p:cNvSpPr/>
              <p:nvPr/>
            </p:nvSpPr>
            <p:spPr>
              <a:xfrm>
                <a:off x="12984752" y="3820417"/>
                <a:ext cx="66186" cy="33093"/>
              </a:xfrm>
              <a:custGeom>
                <a:avLst/>
                <a:gdLst>
                  <a:gd name="connsiteX0" fmla="*/ 0 w 66186"/>
                  <a:gd name="connsiteY0" fmla="*/ 13336 h 33093"/>
                  <a:gd name="connsiteX1" fmla="*/ 66186 w 66186"/>
                  <a:gd name="connsiteY1" fmla="*/ 33093 h 33093"/>
                  <a:gd name="connsiteX2" fmla="*/ 66186 w 66186"/>
                  <a:gd name="connsiteY2" fmla="*/ 20251 h 33093"/>
                  <a:gd name="connsiteX3" fmla="*/ 0 w 66186"/>
                  <a:gd name="connsiteY3" fmla="*/ 0 h 33093"/>
                </a:gdLst>
                <a:ahLst/>
                <a:cxnLst>
                  <a:cxn ang="0">
                    <a:pos x="connsiteX0" y="connsiteY0"/>
                  </a:cxn>
                  <a:cxn ang="0">
                    <a:pos x="connsiteX1" y="connsiteY1"/>
                  </a:cxn>
                  <a:cxn ang="0">
                    <a:pos x="connsiteX2" y="connsiteY2"/>
                  </a:cxn>
                  <a:cxn ang="0">
                    <a:pos x="connsiteX3" y="connsiteY3"/>
                  </a:cxn>
                </a:cxnLst>
                <a:rect l="l" t="t" r="r" b="b"/>
                <a:pathLst>
                  <a:path w="66186" h="33093">
                    <a:moveTo>
                      <a:pt x="0" y="13336"/>
                    </a:moveTo>
                    <a:lnTo>
                      <a:pt x="66186" y="33093"/>
                    </a:lnTo>
                    <a:lnTo>
                      <a:pt x="66186" y="20251"/>
                    </a:lnTo>
                    <a:lnTo>
                      <a:pt x="0" y="0"/>
                    </a:lnTo>
                    <a:close/>
                  </a:path>
                </a:pathLst>
              </a:custGeom>
              <a:solidFill>
                <a:srgbClr val="CCCCCC"/>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nvGrpSpPr>
          <p:cNvPr id="65" name="Group 64">
            <a:extLst>
              <a:ext uri="{FF2B5EF4-FFF2-40B4-BE49-F238E27FC236}">
                <a16:creationId xmlns:a16="http://schemas.microsoft.com/office/drawing/2014/main" id="{11BB41BD-9887-33A1-430D-3E99030458CB}"/>
              </a:ext>
            </a:extLst>
          </p:cNvPr>
          <p:cNvGrpSpPr/>
          <p:nvPr/>
        </p:nvGrpSpPr>
        <p:grpSpPr>
          <a:xfrm>
            <a:off x="8969147" y="1127703"/>
            <a:ext cx="1201404" cy="810976"/>
            <a:chOff x="9219792" y="759632"/>
            <a:chExt cx="955820" cy="645201"/>
          </a:xfrm>
        </p:grpSpPr>
        <p:grpSp>
          <p:nvGrpSpPr>
            <p:cNvPr id="66" name="Group 65">
              <a:extLst>
                <a:ext uri="{FF2B5EF4-FFF2-40B4-BE49-F238E27FC236}">
                  <a16:creationId xmlns:a16="http://schemas.microsoft.com/office/drawing/2014/main" id="{7B021054-8458-60F9-6E55-8945F86595A3}"/>
                </a:ext>
              </a:extLst>
            </p:cNvPr>
            <p:cNvGrpSpPr/>
            <p:nvPr/>
          </p:nvGrpSpPr>
          <p:grpSpPr>
            <a:xfrm>
              <a:off x="9219792" y="759632"/>
              <a:ext cx="955820" cy="645201"/>
              <a:chOff x="1222490" y="0"/>
              <a:chExt cx="9589843" cy="6473374"/>
            </a:xfrm>
          </p:grpSpPr>
          <p:sp>
            <p:nvSpPr>
              <p:cNvPr id="101" name="Freeform: Shape 100">
                <a:extLst>
                  <a:ext uri="{FF2B5EF4-FFF2-40B4-BE49-F238E27FC236}">
                    <a16:creationId xmlns:a16="http://schemas.microsoft.com/office/drawing/2014/main" id="{CD24083D-6E5B-D2F7-0042-279134D1DEC8}"/>
                  </a:ext>
                </a:extLst>
              </p:cNvPr>
              <p:cNvSpPr/>
              <p:nvPr/>
            </p:nvSpPr>
            <p:spPr>
              <a:xfrm>
                <a:off x="1378348" y="6274348"/>
                <a:ext cx="9380212" cy="199026"/>
              </a:xfrm>
              <a:custGeom>
                <a:avLst/>
                <a:gdLst>
                  <a:gd name="connsiteX0" fmla="*/ 344335 w 9380212"/>
                  <a:gd name="connsiteY0" fmla="*/ 198524 h 199026"/>
                  <a:gd name="connsiteX1" fmla="*/ 9035673 w 9380212"/>
                  <a:gd name="connsiteY1" fmla="*/ 198524 h 199026"/>
                  <a:gd name="connsiteX2" fmla="*/ 9380016 w 9380212"/>
                  <a:gd name="connsiteY2" fmla="*/ -502 h 199026"/>
                  <a:gd name="connsiteX3" fmla="*/ -196 w 9380212"/>
                  <a:gd name="connsiteY3" fmla="*/ -502 h 199026"/>
                  <a:gd name="connsiteX4" fmla="*/ 344335 w 9380212"/>
                  <a:gd name="connsiteY4" fmla="*/ 198524 h 199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80212" h="199026">
                    <a:moveTo>
                      <a:pt x="344335" y="198524"/>
                    </a:moveTo>
                    <a:lnTo>
                      <a:pt x="9035673" y="198524"/>
                    </a:lnTo>
                    <a:cubicBezTo>
                      <a:pt x="9177790" y="198461"/>
                      <a:pt x="9309052" y="122603"/>
                      <a:pt x="9380016" y="-502"/>
                    </a:cubicBezTo>
                    <a:lnTo>
                      <a:pt x="-196" y="-502"/>
                    </a:lnTo>
                    <a:cubicBezTo>
                      <a:pt x="70787" y="122666"/>
                      <a:pt x="202162" y="198587"/>
                      <a:pt x="344335" y="198524"/>
                    </a:cubicBezTo>
                    <a:close/>
                  </a:path>
                </a:pathLst>
              </a:custGeom>
              <a:solidFill>
                <a:srgbClr val="EDEDEF"/>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02" name="Freeform: Shape 101">
                <a:extLst>
                  <a:ext uri="{FF2B5EF4-FFF2-40B4-BE49-F238E27FC236}">
                    <a16:creationId xmlns:a16="http://schemas.microsoft.com/office/drawing/2014/main" id="{3E36E72D-C86C-765B-3BB2-E27BC87362DF}"/>
                  </a:ext>
                </a:extLst>
              </p:cNvPr>
              <p:cNvSpPr/>
              <p:nvPr/>
            </p:nvSpPr>
            <p:spPr>
              <a:xfrm>
                <a:off x="1324890" y="6075385"/>
                <a:ext cx="9487443" cy="199151"/>
              </a:xfrm>
              <a:custGeom>
                <a:avLst/>
                <a:gdLst>
                  <a:gd name="connsiteX0" fmla="*/ 5363600 w 9487443"/>
                  <a:gd name="connsiteY0" fmla="*/ -502 h 199151"/>
                  <a:gd name="connsiteX1" fmla="*/ 5223429 w 9487443"/>
                  <a:gd name="connsiteY1" fmla="*/ 73788 h 199151"/>
                  <a:gd name="connsiteX2" fmla="*/ 4263434 w 9487443"/>
                  <a:gd name="connsiteY2" fmla="*/ 73788 h 199151"/>
                  <a:gd name="connsiteX3" fmla="*/ 4123262 w 9487443"/>
                  <a:gd name="connsiteY3" fmla="*/ -314 h 199151"/>
                  <a:gd name="connsiteX4" fmla="*/ -196 w 9487443"/>
                  <a:gd name="connsiteY4" fmla="*/ -314 h 199151"/>
                  <a:gd name="connsiteX5" fmla="*/ 53513 w 9487443"/>
                  <a:gd name="connsiteY5" fmla="*/ 198650 h 199151"/>
                  <a:gd name="connsiteX6" fmla="*/ 9433600 w 9487443"/>
                  <a:gd name="connsiteY6" fmla="*/ 198650 h 199151"/>
                  <a:gd name="connsiteX7" fmla="*/ 9487247 w 9487443"/>
                  <a:gd name="connsiteY7" fmla="*/ -314 h 19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7443" h="199151">
                    <a:moveTo>
                      <a:pt x="5363600" y="-502"/>
                    </a:moveTo>
                    <a:cubicBezTo>
                      <a:pt x="5332102" y="45929"/>
                      <a:pt x="5279585" y="73788"/>
                      <a:pt x="5223429" y="73788"/>
                    </a:cubicBezTo>
                    <a:lnTo>
                      <a:pt x="4263434" y="73788"/>
                    </a:lnTo>
                    <a:cubicBezTo>
                      <a:pt x="4207322" y="73850"/>
                      <a:pt x="4154829" y="46054"/>
                      <a:pt x="4123262" y="-314"/>
                    </a:cubicBezTo>
                    <a:lnTo>
                      <a:pt x="-196" y="-314"/>
                    </a:lnTo>
                    <a:cubicBezTo>
                      <a:pt x="-203" y="69583"/>
                      <a:pt x="18332" y="138227"/>
                      <a:pt x="53513" y="198650"/>
                    </a:cubicBezTo>
                    <a:lnTo>
                      <a:pt x="9433600" y="198650"/>
                    </a:lnTo>
                    <a:cubicBezTo>
                      <a:pt x="9468737" y="138227"/>
                      <a:pt x="9487247" y="69583"/>
                      <a:pt x="9487247" y="-314"/>
                    </a:cubicBezTo>
                    <a:close/>
                  </a:path>
                </a:pathLst>
              </a:custGeom>
              <a:solidFill>
                <a:srgbClr val="F9F9F9"/>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03" name="Freeform: Shape 102">
                <a:extLst>
                  <a:ext uri="{FF2B5EF4-FFF2-40B4-BE49-F238E27FC236}">
                    <a16:creationId xmlns:a16="http://schemas.microsoft.com/office/drawing/2014/main" id="{01627812-0DCC-33E4-1C49-950FCBC246AA}"/>
                  </a:ext>
                </a:extLst>
              </p:cNvPr>
              <p:cNvSpPr/>
              <p:nvPr/>
            </p:nvSpPr>
            <p:spPr>
              <a:xfrm>
                <a:off x="5448411" y="6075572"/>
                <a:ext cx="1240275" cy="74102"/>
              </a:xfrm>
              <a:custGeom>
                <a:avLst/>
                <a:gdLst>
                  <a:gd name="connsiteX0" fmla="*/ 139913 w 1240275"/>
                  <a:gd name="connsiteY0" fmla="*/ 73600 h 74102"/>
                  <a:gd name="connsiteX1" fmla="*/ 1099907 w 1240275"/>
                  <a:gd name="connsiteY1" fmla="*/ 73600 h 74102"/>
                  <a:gd name="connsiteX2" fmla="*/ 1240079 w 1240275"/>
                  <a:gd name="connsiteY2" fmla="*/ -502 h 74102"/>
                  <a:gd name="connsiteX3" fmla="*/ -196 w 1240275"/>
                  <a:gd name="connsiteY3" fmla="*/ -502 h 74102"/>
                  <a:gd name="connsiteX4" fmla="*/ 139913 w 1240275"/>
                  <a:gd name="connsiteY4" fmla="*/ 73600 h 74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275" h="74102">
                    <a:moveTo>
                      <a:pt x="139913" y="73600"/>
                    </a:moveTo>
                    <a:lnTo>
                      <a:pt x="1099907" y="73600"/>
                    </a:lnTo>
                    <a:cubicBezTo>
                      <a:pt x="1156001" y="73663"/>
                      <a:pt x="1208519" y="45867"/>
                      <a:pt x="1240079" y="-502"/>
                    </a:cubicBezTo>
                    <a:lnTo>
                      <a:pt x="-196" y="-502"/>
                    </a:lnTo>
                    <a:cubicBezTo>
                      <a:pt x="31358" y="45867"/>
                      <a:pt x="83825" y="73600"/>
                      <a:pt x="139913" y="73600"/>
                    </a:cubicBezTo>
                    <a:close/>
                  </a:path>
                </a:pathLst>
              </a:custGeom>
              <a:solidFill>
                <a:srgbClr val="DEDFE0"/>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04" name="Freeform: Shape 103">
                <a:extLst>
                  <a:ext uri="{FF2B5EF4-FFF2-40B4-BE49-F238E27FC236}">
                    <a16:creationId xmlns:a16="http://schemas.microsoft.com/office/drawing/2014/main" id="{323803CB-8A53-694E-046F-AA7C995C6DFD}"/>
                  </a:ext>
                </a:extLst>
              </p:cNvPr>
              <p:cNvSpPr/>
              <p:nvPr/>
            </p:nvSpPr>
            <p:spPr>
              <a:xfrm>
                <a:off x="2330437" y="1096338"/>
                <a:ext cx="7476349" cy="4979046"/>
              </a:xfrm>
              <a:custGeom>
                <a:avLst/>
                <a:gdLst>
                  <a:gd name="connsiteX0" fmla="*/ 7312460 w 7476349"/>
                  <a:gd name="connsiteY0" fmla="*/ 0 h 4979046"/>
                  <a:gd name="connsiteX1" fmla="*/ 7476350 w 7476349"/>
                  <a:gd name="connsiteY1" fmla="*/ 0 h 4979046"/>
                  <a:gd name="connsiteX2" fmla="*/ 7476350 w 7476349"/>
                  <a:gd name="connsiteY2" fmla="*/ 4979046 h 4979046"/>
                  <a:gd name="connsiteX3" fmla="*/ 7312460 w 7476349"/>
                  <a:gd name="connsiteY3" fmla="*/ 4979046 h 4979046"/>
                  <a:gd name="connsiteX4" fmla="*/ 163890 w 7476349"/>
                  <a:gd name="connsiteY4" fmla="*/ 4979046 h 4979046"/>
                  <a:gd name="connsiteX5" fmla="*/ 0 w 7476349"/>
                  <a:gd name="connsiteY5" fmla="*/ 4979046 h 4979046"/>
                  <a:gd name="connsiteX6" fmla="*/ 0 w 7476349"/>
                  <a:gd name="connsiteY6" fmla="*/ 0 h 4979046"/>
                  <a:gd name="connsiteX7" fmla="*/ 163890 w 7476349"/>
                  <a:gd name="connsiteY7" fmla="*/ 0 h 49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76349" h="4979046">
                    <a:moveTo>
                      <a:pt x="7312460" y="0"/>
                    </a:moveTo>
                    <a:cubicBezTo>
                      <a:pt x="7402974" y="0"/>
                      <a:pt x="7476350" y="0"/>
                      <a:pt x="7476350" y="0"/>
                    </a:cubicBezTo>
                    <a:lnTo>
                      <a:pt x="7476350" y="4979046"/>
                    </a:lnTo>
                    <a:cubicBezTo>
                      <a:pt x="7476350" y="4979046"/>
                      <a:pt x="7402974" y="4979046"/>
                      <a:pt x="7312460" y="4979046"/>
                    </a:cubicBezTo>
                    <a:lnTo>
                      <a:pt x="163890" y="4979046"/>
                    </a:lnTo>
                    <a:cubicBezTo>
                      <a:pt x="73376" y="4979046"/>
                      <a:pt x="0" y="4979046"/>
                      <a:pt x="0" y="4979046"/>
                    </a:cubicBezTo>
                    <a:lnTo>
                      <a:pt x="0" y="0"/>
                    </a:lnTo>
                    <a:cubicBezTo>
                      <a:pt x="0" y="0"/>
                      <a:pt x="73376" y="0"/>
                      <a:pt x="163890" y="0"/>
                    </a:cubicBezTo>
                    <a:close/>
                  </a:path>
                </a:pathLst>
              </a:custGeom>
              <a:solidFill>
                <a:schemeClr val="accent5">
                  <a:lumMod val="75000"/>
                </a:scheme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05" name="Freeform: Shape 104">
                <a:extLst>
                  <a:ext uri="{FF2B5EF4-FFF2-40B4-BE49-F238E27FC236}">
                    <a16:creationId xmlns:a16="http://schemas.microsoft.com/office/drawing/2014/main" id="{DD24A716-3778-9B58-0928-E1DD89624956}"/>
                  </a:ext>
                </a:extLst>
              </p:cNvPr>
              <p:cNvSpPr/>
              <p:nvPr/>
            </p:nvSpPr>
            <p:spPr>
              <a:xfrm>
                <a:off x="4434205" y="1096338"/>
                <a:ext cx="4077529" cy="4979046"/>
              </a:xfrm>
              <a:custGeom>
                <a:avLst/>
                <a:gdLst>
                  <a:gd name="connsiteX0" fmla="*/ 0 w 4077529"/>
                  <a:gd name="connsiteY0" fmla="*/ 0 h 4979046"/>
                  <a:gd name="connsiteX1" fmla="*/ 2694887 w 4077529"/>
                  <a:gd name="connsiteY1" fmla="*/ 4979046 h 4979046"/>
                  <a:gd name="connsiteX2" fmla="*/ 4077530 w 4077529"/>
                  <a:gd name="connsiteY2" fmla="*/ 4979046 h 4979046"/>
                  <a:gd name="connsiteX3" fmla="*/ 515260 w 4077529"/>
                  <a:gd name="connsiteY3" fmla="*/ 0 h 4979046"/>
                  <a:gd name="connsiteX4" fmla="*/ 0 w 4077529"/>
                  <a:gd name="connsiteY4" fmla="*/ 0 h 4979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7529" h="4979046">
                    <a:moveTo>
                      <a:pt x="0" y="0"/>
                    </a:moveTo>
                    <a:lnTo>
                      <a:pt x="2694887" y="4979046"/>
                    </a:lnTo>
                    <a:lnTo>
                      <a:pt x="4077530" y="4979046"/>
                    </a:lnTo>
                    <a:lnTo>
                      <a:pt x="515260" y="0"/>
                    </a:lnTo>
                    <a:lnTo>
                      <a:pt x="0" y="0"/>
                    </a:lnTo>
                    <a:close/>
                  </a:path>
                </a:pathLst>
              </a:custGeom>
              <a:solidFill>
                <a:srgbClr val="FFFFFF">
                  <a:alpha val="30000"/>
                </a:srgb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06" name="Freeform: Shape 105">
                <a:extLst>
                  <a:ext uri="{FF2B5EF4-FFF2-40B4-BE49-F238E27FC236}">
                    <a16:creationId xmlns:a16="http://schemas.microsoft.com/office/drawing/2014/main" id="{260D6FE5-76CE-D640-E6AE-CAA962205ACD}"/>
                  </a:ext>
                </a:extLst>
              </p:cNvPr>
              <p:cNvSpPr/>
              <p:nvPr/>
            </p:nvSpPr>
            <p:spPr>
              <a:xfrm>
                <a:off x="5404929" y="1096338"/>
                <a:ext cx="4401794" cy="4979046"/>
              </a:xfrm>
              <a:custGeom>
                <a:avLst/>
                <a:gdLst>
                  <a:gd name="connsiteX0" fmla="*/ 4401598 w 4401794"/>
                  <a:gd name="connsiteY0" fmla="*/ 4814404 h 4979046"/>
                  <a:gd name="connsiteX1" fmla="*/ 4401598 w 4401794"/>
                  <a:gd name="connsiteY1" fmla="*/ 3299181 h 4979046"/>
                  <a:gd name="connsiteX2" fmla="*/ 2641797 w 4401794"/>
                  <a:gd name="connsiteY2" fmla="*/ -502 h 4979046"/>
                  <a:gd name="connsiteX3" fmla="*/ -196 w 4401794"/>
                  <a:gd name="connsiteY3" fmla="*/ -502 h 4979046"/>
                  <a:gd name="connsiteX4" fmla="*/ 3536223 w 4401794"/>
                  <a:gd name="connsiteY4" fmla="*/ 4978545 h 4979046"/>
                  <a:gd name="connsiteX5" fmla="*/ 4237709 w 4401794"/>
                  <a:gd name="connsiteY5" fmla="*/ 4978545 h 4979046"/>
                  <a:gd name="connsiteX6" fmla="*/ 4401598 w 4401794"/>
                  <a:gd name="connsiteY6" fmla="*/ 4814655 h 4979046"/>
                  <a:gd name="connsiteX7" fmla="*/ 4401598 w 4401794"/>
                  <a:gd name="connsiteY7" fmla="*/ 4814404 h 497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1794" h="4979046">
                    <a:moveTo>
                      <a:pt x="4401598" y="4814404"/>
                    </a:moveTo>
                    <a:lnTo>
                      <a:pt x="4401598" y="3299181"/>
                    </a:lnTo>
                    <a:lnTo>
                      <a:pt x="2641797" y="-502"/>
                    </a:lnTo>
                    <a:lnTo>
                      <a:pt x="-196" y="-502"/>
                    </a:lnTo>
                    <a:lnTo>
                      <a:pt x="3536223" y="4978545"/>
                    </a:lnTo>
                    <a:lnTo>
                      <a:pt x="4237709" y="4978545"/>
                    </a:lnTo>
                    <a:cubicBezTo>
                      <a:pt x="4328249" y="4978545"/>
                      <a:pt x="4401598" y="4905196"/>
                      <a:pt x="4401598" y="4814655"/>
                    </a:cubicBezTo>
                    <a:cubicBezTo>
                      <a:pt x="4401598" y="4814593"/>
                      <a:pt x="4401598" y="4814467"/>
                      <a:pt x="4401598" y="4814404"/>
                    </a:cubicBezTo>
                    <a:close/>
                  </a:path>
                </a:pathLst>
              </a:custGeom>
              <a:solidFill>
                <a:srgbClr val="FFFFFF">
                  <a:alpha val="20000"/>
                </a:srgb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07" name="Freeform: Shape 106">
                <a:extLst>
                  <a:ext uri="{FF2B5EF4-FFF2-40B4-BE49-F238E27FC236}">
                    <a16:creationId xmlns:a16="http://schemas.microsoft.com/office/drawing/2014/main" id="{AEE252F4-5FD6-F8F4-5BE4-540B03353A09}"/>
                  </a:ext>
                </a:extLst>
              </p:cNvPr>
              <p:cNvSpPr/>
              <p:nvPr/>
            </p:nvSpPr>
            <p:spPr>
              <a:xfrm>
                <a:off x="2753023" y="1474438"/>
                <a:ext cx="6631177" cy="4222720"/>
              </a:xfrm>
              <a:custGeom>
                <a:avLst/>
                <a:gdLst>
                  <a:gd name="connsiteX0" fmla="*/ 0 w 6631177"/>
                  <a:gd name="connsiteY0" fmla="*/ 0 h 4222720"/>
                  <a:gd name="connsiteX1" fmla="*/ 6631177 w 6631177"/>
                  <a:gd name="connsiteY1" fmla="*/ 0 h 4222720"/>
                  <a:gd name="connsiteX2" fmla="*/ 6631177 w 6631177"/>
                  <a:gd name="connsiteY2" fmla="*/ 4222721 h 4222720"/>
                  <a:gd name="connsiteX3" fmla="*/ 0 w 6631177"/>
                  <a:gd name="connsiteY3" fmla="*/ 4222721 h 4222720"/>
                </a:gdLst>
                <a:ahLst/>
                <a:cxnLst>
                  <a:cxn ang="0">
                    <a:pos x="connsiteX0" y="connsiteY0"/>
                  </a:cxn>
                  <a:cxn ang="0">
                    <a:pos x="connsiteX1" y="connsiteY1"/>
                  </a:cxn>
                  <a:cxn ang="0">
                    <a:pos x="connsiteX2" y="connsiteY2"/>
                  </a:cxn>
                  <a:cxn ang="0">
                    <a:pos x="connsiteX3" y="connsiteY3"/>
                  </a:cxn>
                </a:cxnLst>
                <a:rect l="l" t="t" r="r" b="b"/>
                <a:pathLst>
                  <a:path w="6631177" h="4222720">
                    <a:moveTo>
                      <a:pt x="0" y="0"/>
                    </a:moveTo>
                    <a:lnTo>
                      <a:pt x="6631177" y="0"/>
                    </a:lnTo>
                    <a:lnTo>
                      <a:pt x="6631177" y="4222721"/>
                    </a:lnTo>
                    <a:lnTo>
                      <a:pt x="0" y="4222721"/>
                    </a:lnTo>
                    <a:close/>
                  </a:path>
                </a:pathLst>
              </a:custGeom>
              <a:solidFill>
                <a:schemeClr val="accent5"/>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08" name="Freeform: Shape 107">
                <a:extLst>
                  <a:ext uri="{FF2B5EF4-FFF2-40B4-BE49-F238E27FC236}">
                    <a16:creationId xmlns:a16="http://schemas.microsoft.com/office/drawing/2014/main" id="{8808119B-9909-FBFE-BDBF-0F0C71D43217}"/>
                  </a:ext>
                </a:extLst>
              </p:cNvPr>
              <p:cNvSpPr/>
              <p:nvPr/>
            </p:nvSpPr>
            <p:spPr>
              <a:xfrm>
                <a:off x="3034935" y="1683441"/>
                <a:ext cx="6010694" cy="417628"/>
              </a:xfrm>
              <a:custGeom>
                <a:avLst/>
                <a:gdLst>
                  <a:gd name="connsiteX0" fmla="*/ 0 w 6010694"/>
                  <a:gd name="connsiteY0" fmla="*/ 0 h 417628"/>
                  <a:gd name="connsiteX1" fmla="*/ 6010695 w 6010694"/>
                  <a:gd name="connsiteY1" fmla="*/ 0 h 417628"/>
                  <a:gd name="connsiteX2" fmla="*/ 6010695 w 6010694"/>
                  <a:gd name="connsiteY2" fmla="*/ 417629 h 417628"/>
                  <a:gd name="connsiteX3" fmla="*/ 0 w 6010694"/>
                  <a:gd name="connsiteY3" fmla="*/ 417629 h 417628"/>
                </a:gdLst>
                <a:ahLst/>
                <a:cxnLst>
                  <a:cxn ang="0">
                    <a:pos x="connsiteX0" y="connsiteY0"/>
                  </a:cxn>
                  <a:cxn ang="0">
                    <a:pos x="connsiteX1" y="connsiteY1"/>
                  </a:cxn>
                  <a:cxn ang="0">
                    <a:pos x="connsiteX2" y="connsiteY2"/>
                  </a:cxn>
                  <a:cxn ang="0">
                    <a:pos x="connsiteX3" y="connsiteY3"/>
                  </a:cxn>
                </a:cxnLst>
                <a:rect l="l" t="t" r="r" b="b"/>
                <a:pathLst>
                  <a:path w="6010694" h="417628">
                    <a:moveTo>
                      <a:pt x="0" y="0"/>
                    </a:moveTo>
                    <a:lnTo>
                      <a:pt x="6010695" y="0"/>
                    </a:lnTo>
                    <a:lnTo>
                      <a:pt x="6010695" y="417629"/>
                    </a:lnTo>
                    <a:lnTo>
                      <a:pt x="0" y="417629"/>
                    </a:lnTo>
                    <a:close/>
                  </a:path>
                </a:pathLst>
              </a:custGeom>
              <a:solidFill>
                <a:schemeClr val="accent5">
                  <a:lumMod val="20000"/>
                  <a:lumOff val="80000"/>
                </a:scheme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09" name="Freeform: Shape 108">
                <a:extLst>
                  <a:ext uri="{FF2B5EF4-FFF2-40B4-BE49-F238E27FC236}">
                    <a16:creationId xmlns:a16="http://schemas.microsoft.com/office/drawing/2014/main" id="{5966FCE7-0E32-9906-3EBA-FB5BA849F177}"/>
                  </a:ext>
                </a:extLst>
              </p:cNvPr>
              <p:cNvSpPr/>
              <p:nvPr/>
            </p:nvSpPr>
            <p:spPr>
              <a:xfrm>
                <a:off x="3236032" y="1799707"/>
                <a:ext cx="1131287" cy="193693"/>
              </a:xfrm>
              <a:custGeom>
                <a:avLst/>
                <a:gdLst>
                  <a:gd name="connsiteX0" fmla="*/ 0 w 1131287"/>
                  <a:gd name="connsiteY0" fmla="*/ 0 h 193693"/>
                  <a:gd name="connsiteX1" fmla="*/ 1131288 w 1131287"/>
                  <a:gd name="connsiteY1" fmla="*/ 0 h 193693"/>
                  <a:gd name="connsiteX2" fmla="*/ 1131288 w 1131287"/>
                  <a:gd name="connsiteY2" fmla="*/ 193693 h 193693"/>
                  <a:gd name="connsiteX3" fmla="*/ 0 w 1131287"/>
                  <a:gd name="connsiteY3" fmla="*/ 193693 h 193693"/>
                </a:gdLst>
                <a:ahLst/>
                <a:cxnLst>
                  <a:cxn ang="0">
                    <a:pos x="connsiteX0" y="connsiteY0"/>
                  </a:cxn>
                  <a:cxn ang="0">
                    <a:pos x="connsiteX1" y="connsiteY1"/>
                  </a:cxn>
                  <a:cxn ang="0">
                    <a:pos x="connsiteX2" y="connsiteY2"/>
                  </a:cxn>
                  <a:cxn ang="0">
                    <a:pos x="connsiteX3" y="connsiteY3"/>
                  </a:cxn>
                </a:cxnLst>
                <a:rect l="l" t="t" r="r" b="b"/>
                <a:pathLst>
                  <a:path w="1131287" h="193693">
                    <a:moveTo>
                      <a:pt x="0" y="0"/>
                    </a:moveTo>
                    <a:lnTo>
                      <a:pt x="1131288" y="0"/>
                    </a:lnTo>
                    <a:lnTo>
                      <a:pt x="1131288" y="193693"/>
                    </a:lnTo>
                    <a:lnTo>
                      <a:pt x="0" y="193693"/>
                    </a:lnTo>
                    <a:close/>
                  </a:path>
                </a:pathLst>
              </a:custGeom>
              <a:solidFill>
                <a:srgbClr val="FFFFFF"/>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10" name="Freeform: Shape 109">
                <a:extLst>
                  <a:ext uri="{FF2B5EF4-FFF2-40B4-BE49-F238E27FC236}">
                    <a16:creationId xmlns:a16="http://schemas.microsoft.com/office/drawing/2014/main" id="{260D7CA1-9982-5CD4-9BED-EED4F2CC51C8}"/>
                  </a:ext>
                </a:extLst>
              </p:cNvPr>
              <p:cNvSpPr/>
              <p:nvPr/>
            </p:nvSpPr>
            <p:spPr>
              <a:xfrm>
                <a:off x="4367319" y="1799707"/>
                <a:ext cx="193693" cy="193693"/>
              </a:xfrm>
              <a:custGeom>
                <a:avLst/>
                <a:gdLst>
                  <a:gd name="connsiteX0" fmla="*/ 0 w 193693"/>
                  <a:gd name="connsiteY0" fmla="*/ 0 h 193693"/>
                  <a:gd name="connsiteX1" fmla="*/ 193693 w 193693"/>
                  <a:gd name="connsiteY1" fmla="*/ 0 h 193693"/>
                  <a:gd name="connsiteX2" fmla="*/ 193693 w 193693"/>
                  <a:gd name="connsiteY2" fmla="*/ 193693 h 193693"/>
                  <a:gd name="connsiteX3" fmla="*/ 0 w 193693"/>
                  <a:gd name="connsiteY3" fmla="*/ 193693 h 193693"/>
                </a:gdLst>
                <a:ahLst/>
                <a:cxnLst>
                  <a:cxn ang="0">
                    <a:pos x="connsiteX0" y="connsiteY0"/>
                  </a:cxn>
                  <a:cxn ang="0">
                    <a:pos x="connsiteX1" y="connsiteY1"/>
                  </a:cxn>
                  <a:cxn ang="0">
                    <a:pos x="connsiteX2" y="connsiteY2"/>
                  </a:cxn>
                  <a:cxn ang="0">
                    <a:pos x="connsiteX3" y="connsiteY3"/>
                  </a:cxn>
                </a:cxnLst>
                <a:rect l="l" t="t" r="r" b="b"/>
                <a:pathLst>
                  <a:path w="193693" h="193693">
                    <a:moveTo>
                      <a:pt x="0" y="0"/>
                    </a:moveTo>
                    <a:lnTo>
                      <a:pt x="193693" y="0"/>
                    </a:lnTo>
                    <a:lnTo>
                      <a:pt x="193693" y="193693"/>
                    </a:lnTo>
                    <a:lnTo>
                      <a:pt x="0" y="193693"/>
                    </a:lnTo>
                    <a:close/>
                  </a:path>
                </a:pathLst>
              </a:custGeom>
              <a:solidFill>
                <a:schemeClr val="accent5"/>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11" name="Freeform: Shape 110">
                <a:extLst>
                  <a:ext uri="{FF2B5EF4-FFF2-40B4-BE49-F238E27FC236}">
                    <a16:creationId xmlns:a16="http://schemas.microsoft.com/office/drawing/2014/main" id="{4431AA7B-0A14-1BB6-DE60-CB5BCF34DA2D}"/>
                  </a:ext>
                </a:extLst>
              </p:cNvPr>
              <p:cNvSpPr/>
              <p:nvPr/>
            </p:nvSpPr>
            <p:spPr>
              <a:xfrm>
                <a:off x="8640675" y="1794468"/>
                <a:ext cx="248218" cy="41414"/>
              </a:xfrm>
              <a:custGeom>
                <a:avLst/>
                <a:gdLst>
                  <a:gd name="connsiteX0" fmla="*/ 248022 w 248218"/>
                  <a:gd name="connsiteY0" fmla="*/ 20235 h 41414"/>
                  <a:gd name="connsiteX1" fmla="*/ 224870 w 248218"/>
                  <a:gd name="connsiteY1" fmla="*/ 40878 h 41414"/>
                  <a:gd name="connsiteX2" fmla="*/ 22957 w 248218"/>
                  <a:gd name="connsiteY2" fmla="*/ 40878 h 41414"/>
                  <a:gd name="connsiteX3" fmla="*/ -196 w 248218"/>
                  <a:gd name="connsiteY3" fmla="*/ 20235 h 41414"/>
                  <a:gd name="connsiteX4" fmla="*/ -196 w 248218"/>
                  <a:gd name="connsiteY4" fmla="*/ 20235 h 41414"/>
                  <a:gd name="connsiteX5" fmla="*/ 22957 w 248218"/>
                  <a:gd name="connsiteY5" fmla="*/ -471 h 41414"/>
                  <a:gd name="connsiteX6" fmla="*/ 224870 w 248218"/>
                  <a:gd name="connsiteY6" fmla="*/ -471 h 41414"/>
                  <a:gd name="connsiteX7" fmla="*/ 248022 w 248218"/>
                  <a:gd name="connsiteY7" fmla="*/ 20235 h 4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218" h="41414">
                    <a:moveTo>
                      <a:pt x="248022" y="20235"/>
                    </a:moveTo>
                    <a:cubicBezTo>
                      <a:pt x="247332" y="32320"/>
                      <a:pt x="236979" y="41556"/>
                      <a:pt x="224870" y="40878"/>
                    </a:cubicBezTo>
                    <a:lnTo>
                      <a:pt x="22957" y="40878"/>
                    </a:lnTo>
                    <a:cubicBezTo>
                      <a:pt x="10847" y="41556"/>
                      <a:pt x="494" y="32320"/>
                      <a:pt x="-196" y="20235"/>
                    </a:cubicBezTo>
                    <a:lnTo>
                      <a:pt x="-196" y="20235"/>
                    </a:lnTo>
                    <a:cubicBezTo>
                      <a:pt x="494" y="8138"/>
                      <a:pt x="10847" y="-1111"/>
                      <a:pt x="22957" y="-471"/>
                    </a:cubicBezTo>
                    <a:lnTo>
                      <a:pt x="224870" y="-471"/>
                    </a:lnTo>
                    <a:cubicBezTo>
                      <a:pt x="236979" y="-1111"/>
                      <a:pt x="247332" y="8138"/>
                      <a:pt x="248022" y="20235"/>
                    </a:cubicBezTo>
                    <a:close/>
                  </a:path>
                </a:pathLst>
              </a:custGeom>
              <a:solidFill>
                <a:schemeClr val="accent5"/>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12" name="Freeform: Shape 111">
                <a:extLst>
                  <a:ext uri="{FF2B5EF4-FFF2-40B4-BE49-F238E27FC236}">
                    <a16:creationId xmlns:a16="http://schemas.microsoft.com/office/drawing/2014/main" id="{3AC7BF3F-90D1-C04B-0095-9C5BC6A100C4}"/>
                  </a:ext>
                </a:extLst>
              </p:cNvPr>
              <p:cNvSpPr/>
              <p:nvPr/>
            </p:nvSpPr>
            <p:spPr>
              <a:xfrm>
                <a:off x="8640675" y="1871577"/>
                <a:ext cx="248218" cy="41356"/>
              </a:xfrm>
              <a:custGeom>
                <a:avLst/>
                <a:gdLst>
                  <a:gd name="connsiteX0" fmla="*/ 248022 w 248218"/>
                  <a:gd name="connsiteY0" fmla="*/ 20176 h 41356"/>
                  <a:gd name="connsiteX1" fmla="*/ 224870 w 248218"/>
                  <a:gd name="connsiteY1" fmla="*/ 40819 h 41356"/>
                  <a:gd name="connsiteX2" fmla="*/ 22957 w 248218"/>
                  <a:gd name="connsiteY2" fmla="*/ 40819 h 41356"/>
                  <a:gd name="connsiteX3" fmla="*/ -196 w 248218"/>
                  <a:gd name="connsiteY3" fmla="*/ 20176 h 41356"/>
                  <a:gd name="connsiteX4" fmla="*/ -196 w 248218"/>
                  <a:gd name="connsiteY4" fmla="*/ 20176 h 41356"/>
                  <a:gd name="connsiteX5" fmla="*/ 22957 w 248218"/>
                  <a:gd name="connsiteY5" fmla="*/ -467 h 41356"/>
                  <a:gd name="connsiteX6" fmla="*/ 224870 w 248218"/>
                  <a:gd name="connsiteY6" fmla="*/ -467 h 41356"/>
                  <a:gd name="connsiteX7" fmla="*/ 248022 w 248218"/>
                  <a:gd name="connsiteY7" fmla="*/ 20176 h 41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218" h="41356">
                    <a:moveTo>
                      <a:pt x="248022" y="20176"/>
                    </a:moveTo>
                    <a:cubicBezTo>
                      <a:pt x="247332" y="32261"/>
                      <a:pt x="236979" y="41497"/>
                      <a:pt x="224870" y="40819"/>
                    </a:cubicBezTo>
                    <a:lnTo>
                      <a:pt x="22957" y="40819"/>
                    </a:lnTo>
                    <a:cubicBezTo>
                      <a:pt x="10847" y="41497"/>
                      <a:pt x="494" y="32261"/>
                      <a:pt x="-196" y="20176"/>
                    </a:cubicBezTo>
                    <a:lnTo>
                      <a:pt x="-196" y="20176"/>
                    </a:lnTo>
                    <a:cubicBezTo>
                      <a:pt x="494" y="8092"/>
                      <a:pt x="10847" y="-1144"/>
                      <a:pt x="22957" y="-467"/>
                    </a:cubicBezTo>
                    <a:lnTo>
                      <a:pt x="224870" y="-467"/>
                    </a:lnTo>
                    <a:cubicBezTo>
                      <a:pt x="236979" y="-1144"/>
                      <a:pt x="247332" y="8092"/>
                      <a:pt x="248022" y="20176"/>
                    </a:cubicBezTo>
                    <a:close/>
                  </a:path>
                </a:pathLst>
              </a:custGeom>
              <a:solidFill>
                <a:schemeClr val="accent5"/>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13" name="Freeform: Shape 112">
                <a:extLst>
                  <a:ext uri="{FF2B5EF4-FFF2-40B4-BE49-F238E27FC236}">
                    <a16:creationId xmlns:a16="http://schemas.microsoft.com/office/drawing/2014/main" id="{4A23FAD8-859D-5820-294E-5EAE39335D66}"/>
                  </a:ext>
                </a:extLst>
              </p:cNvPr>
              <p:cNvSpPr/>
              <p:nvPr/>
            </p:nvSpPr>
            <p:spPr>
              <a:xfrm>
                <a:off x="8640675" y="1948632"/>
                <a:ext cx="248218" cy="41411"/>
              </a:xfrm>
              <a:custGeom>
                <a:avLst/>
                <a:gdLst>
                  <a:gd name="connsiteX0" fmla="*/ 248022 w 248218"/>
                  <a:gd name="connsiteY0" fmla="*/ 20172 h 41411"/>
                  <a:gd name="connsiteX1" fmla="*/ 224870 w 248218"/>
                  <a:gd name="connsiteY1" fmla="*/ 40878 h 41411"/>
                  <a:gd name="connsiteX2" fmla="*/ 22957 w 248218"/>
                  <a:gd name="connsiteY2" fmla="*/ 40878 h 41411"/>
                  <a:gd name="connsiteX3" fmla="*/ -196 w 248218"/>
                  <a:gd name="connsiteY3" fmla="*/ 20172 h 41411"/>
                  <a:gd name="connsiteX4" fmla="*/ -196 w 248218"/>
                  <a:gd name="connsiteY4" fmla="*/ 20172 h 41411"/>
                  <a:gd name="connsiteX5" fmla="*/ 22957 w 248218"/>
                  <a:gd name="connsiteY5" fmla="*/ -470 h 41411"/>
                  <a:gd name="connsiteX6" fmla="*/ 224870 w 248218"/>
                  <a:gd name="connsiteY6" fmla="*/ -470 h 41411"/>
                  <a:gd name="connsiteX7" fmla="*/ 248022 w 248218"/>
                  <a:gd name="connsiteY7" fmla="*/ 20172 h 41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218" h="41411">
                    <a:moveTo>
                      <a:pt x="248022" y="20172"/>
                    </a:moveTo>
                    <a:cubicBezTo>
                      <a:pt x="247332" y="32270"/>
                      <a:pt x="236979" y="41518"/>
                      <a:pt x="224870" y="40878"/>
                    </a:cubicBezTo>
                    <a:lnTo>
                      <a:pt x="22957" y="40878"/>
                    </a:lnTo>
                    <a:cubicBezTo>
                      <a:pt x="10847" y="41518"/>
                      <a:pt x="494" y="32270"/>
                      <a:pt x="-196" y="20172"/>
                    </a:cubicBezTo>
                    <a:lnTo>
                      <a:pt x="-196" y="20172"/>
                    </a:lnTo>
                    <a:cubicBezTo>
                      <a:pt x="557" y="8100"/>
                      <a:pt x="10910" y="-1111"/>
                      <a:pt x="22957" y="-470"/>
                    </a:cubicBezTo>
                    <a:lnTo>
                      <a:pt x="224870" y="-470"/>
                    </a:lnTo>
                    <a:cubicBezTo>
                      <a:pt x="236916" y="-1111"/>
                      <a:pt x="247269" y="8100"/>
                      <a:pt x="248022" y="20172"/>
                    </a:cubicBezTo>
                    <a:close/>
                  </a:path>
                </a:pathLst>
              </a:custGeom>
              <a:solidFill>
                <a:schemeClr val="accent5"/>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14" name="Graphic 32">
                <a:extLst>
                  <a:ext uri="{FF2B5EF4-FFF2-40B4-BE49-F238E27FC236}">
                    <a16:creationId xmlns:a16="http://schemas.microsoft.com/office/drawing/2014/main" id="{DA5320A1-21ED-A0C4-E84F-028217C4A725}"/>
                  </a:ext>
                </a:extLst>
              </p:cNvPr>
              <p:cNvGrpSpPr/>
              <p:nvPr/>
            </p:nvGrpSpPr>
            <p:grpSpPr>
              <a:xfrm>
                <a:off x="3396094" y="437077"/>
                <a:ext cx="5390588" cy="5260835"/>
                <a:chOff x="3396094" y="437077"/>
                <a:chExt cx="5390588" cy="5260835"/>
              </a:xfrm>
            </p:grpSpPr>
            <p:sp>
              <p:nvSpPr>
                <p:cNvPr id="120" name="Freeform: Shape 119">
                  <a:extLst>
                    <a:ext uri="{FF2B5EF4-FFF2-40B4-BE49-F238E27FC236}">
                      <a16:creationId xmlns:a16="http://schemas.microsoft.com/office/drawing/2014/main" id="{DE4B90F6-A4B8-4316-20C8-0A5F1D8C5AE6}"/>
                    </a:ext>
                  </a:extLst>
                </p:cNvPr>
                <p:cNvSpPr/>
                <p:nvPr/>
              </p:nvSpPr>
              <p:spPr>
                <a:xfrm>
                  <a:off x="3396094" y="3432395"/>
                  <a:ext cx="5390588" cy="2265517"/>
                </a:xfrm>
                <a:custGeom>
                  <a:avLst/>
                  <a:gdLst>
                    <a:gd name="connsiteX0" fmla="*/ -196 w 5390588"/>
                    <a:gd name="connsiteY0" fmla="*/ 2265016 h 2265517"/>
                    <a:gd name="connsiteX1" fmla="*/ 2312449 w 5390588"/>
                    <a:gd name="connsiteY1" fmla="*/ 99443 h 2265517"/>
                    <a:gd name="connsiteX2" fmla="*/ 3091802 w 5390588"/>
                    <a:gd name="connsiteY2" fmla="*/ 99443 h 2265517"/>
                    <a:gd name="connsiteX3" fmla="*/ 5390392 w 5390588"/>
                    <a:gd name="connsiteY3" fmla="*/ 2265016 h 2265517"/>
                  </a:gdLst>
                  <a:ahLst/>
                  <a:cxnLst>
                    <a:cxn ang="0">
                      <a:pos x="connsiteX0" y="connsiteY0"/>
                    </a:cxn>
                    <a:cxn ang="0">
                      <a:pos x="connsiteX1" y="connsiteY1"/>
                    </a:cxn>
                    <a:cxn ang="0">
                      <a:pos x="connsiteX2" y="connsiteY2"/>
                    </a:cxn>
                    <a:cxn ang="0">
                      <a:pos x="connsiteX3" y="connsiteY3"/>
                    </a:cxn>
                  </a:cxnLst>
                  <a:rect l="l" t="t" r="r" b="b"/>
                  <a:pathLst>
                    <a:path w="5390588" h="2265517">
                      <a:moveTo>
                        <a:pt x="-196" y="2265016"/>
                      </a:moveTo>
                      <a:cubicBezTo>
                        <a:pt x="-196" y="2265016"/>
                        <a:pt x="110171" y="615896"/>
                        <a:pt x="2312449" y="99443"/>
                      </a:cubicBezTo>
                      <a:cubicBezTo>
                        <a:pt x="2990093" y="-125434"/>
                        <a:pt x="3091802" y="99443"/>
                        <a:pt x="3091802" y="99443"/>
                      </a:cubicBezTo>
                      <a:cubicBezTo>
                        <a:pt x="3091802" y="99443"/>
                        <a:pt x="4686835" y="206988"/>
                        <a:pt x="5390392" y="2265016"/>
                      </a:cubicBezTo>
                      <a:close/>
                    </a:path>
                  </a:pathLst>
                </a:custGeom>
                <a:solidFill>
                  <a:schemeClr val="accent4">
                    <a:lumMod val="20000"/>
                    <a:lumOff val="80000"/>
                  </a:scheme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21" name="Graphic 32">
                  <a:extLst>
                    <a:ext uri="{FF2B5EF4-FFF2-40B4-BE49-F238E27FC236}">
                      <a16:creationId xmlns:a16="http://schemas.microsoft.com/office/drawing/2014/main" id="{56362243-5225-ECE8-4AE0-A5EF5DAE91E7}"/>
                    </a:ext>
                  </a:extLst>
                </p:cNvPr>
                <p:cNvGrpSpPr/>
                <p:nvPr/>
              </p:nvGrpSpPr>
              <p:grpSpPr>
                <a:xfrm>
                  <a:off x="5212026" y="437077"/>
                  <a:ext cx="1824043" cy="3229620"/>
                  <a:chOff x="5212026" y="437077"/>
                  <a:chExt cx="1824043" cy="3229620"/>
                </a:xfrm>
              </p:grpSpPr>
              <p:sp>
                <p:nvSpPr>
                  <p:cNvPr id="261" name="Freeform: Shape 260">
                    <a:extLst>
                      <a:ext uri="{FF2B5EF4-FFF2-40B4-BE49-F238E27FC236}">
                        <a16:creationId xmlns:a16="http://schemas.microsoft.com/office/drawing/2014/main" id="{028605A4-B56D-9BCF-34DC-DB2EB90E5D6D}"/>
                      </a:ext>
                    </a:extLst>
                  </p:cNvPr>
                  <p:cNvSpPr/>
                  <p:nvPr/>
                </p:nvSpPr>
                <p:spPr>
                  <a:xfrm>
                    <a:off x="5243170" y="437077"/>
                    <a:ext cx="1792899" cy="1627161"/>
                  </a:xfrm>
                  <a:custGeom>
                    <a:avLst/>
                    <a:gdLst>
                      <a:gd name="connsiteX0" fmla="*/ 27163 w 1792899"/>
                      <a:gd name="connsiteY0" fmla="*/ 1573139 h 1627161"/>
                      <a:gd name="connsiteX1" fmla="*/ 102457 w 1792899"/>
                      <a:gd name="connsiteY1" fmla="*/ 699167 h 1627161"/>
                      <a:gd name="connsiteX2" fmla="*/ 1427124 w 1792899"/>
                      <a:gd name="connsiteY2" fmla="*/ 32379 h 1627161"/>
                      <a:gd name="connsiteX3" fmla="*/ 1372850 w 1792899"/>
                      <a:gd name="connsiteY3" fmla="*/ 468517 h 1627161"/>
                      <a:gd name="connsiteX4" fmla="*/ 1666746 w 1792899"/>
                      <a:gd name="connsiteY4" fmla="*/ 306762 h 1627161"/>
                      <a:gd name="connsiteX5" fmla="*/ 1635374 w 1792899"/>
                      <a:gd name="connsiteY5" fmla="*/ 1626660 h 1627161"/>
                      <a:gd name="connsiteX6" fmla="*/ 544431 w 1792899"/>
                      <a:gd name="connsiteY6" fmla="*/ 1163102 h 162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2899" h="1627161">
                        <a:moveTo>
                          <a:pt x="27163" y="1573139"/>
                        </a:moveTo>
                        <a:cubicBezTo>
                          <a:pt x="27163" y="1573139"/>
                          <a:pt x="-70217" y="1033032"/>
                          <a:pt x="102457" y="699167"/>
                        </a:cubicBezTo>
                        <a:cubicBezTo>
                          <a:pt x="319930" y="279154"/>
                          <a:pt x="1177463" y="-119212"/>
                          <a:pt x="1427124" y="32379"/>
                        </a:cubicBezTo>
                        <a:cubicBezTo>
                          <a:pt x="1676785" y="183970"/>
                          <a:pt x="1256898" y="420392"/>
                          <a:pt x="1372850" y="468517"/>
                        </a:cubicBezTo>
                        <a:cubicBezTo>
                          <a:pt x="1488802" y="516643"/>
                          <a:pt x="1592457" y="246464"/>
                          <a:pt x="1666746" y="306762"/>
                        </a:cubicBezTo>
                        <a:cubicBezTo>
                          <a:pt x="1967419" y="551466"/>
                          <a:pt x="1635374" y="1626660"/>
                          <a:pt x="1635374" y="1626660"/>
                        </a:cubicBezTo>
                        <a:lnTo>
                          <a:pt x="544431" y="1163102"/>
                        </a:lnTo>
                        <a:close/>
                      </a:path>
                    </a:pathLst>
                  </a:custGeom>
                  <a:solidFill>
                    <a:schemeClr val="tx1">
                      <a:lumMod val="85000"/>
                      <a:lumOff val="15000"/>
                    </a:scheme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262" name="Freeform: Shape 261">
                    <a:extLst>
                      <a:ext uri="{FF2B5EF4-FFF2-40B4-BE49-F238E27FC236}">
                        <a16:creationId xmlns:a16="http://schemas.microsoft.com/office/drawing/2014/main" id="{EA4CED9C-5A65-75B9-ABCE-2F7BB9784F9E}"/>
                      </a:ext>
                    </a:extLst>
                  </p:cNvPr>
                  <p:cNvSpPr/>
                  <p:nvPr/>
                </p:nvSpPr>
                <p:spPr>
                  <a:xfrm>
                    <a:off x="5704347" y="2739309"/>
                    <a:ext cx="779352" cy="927388"/>
                  </a:xfrm>
                  <a:custGeom>
                    <a:avLst/>
                    <a:gdLst>
                      <a:gd name="connsiteX0" fmla="*/ 779156 w 779352"/>
                      <a:gd name="connsiteY0" fmla="*/ 838960 h 927388"/>
                      <a:gd name="connsiteX1" fmla="*/ -196 w 779352"/>
                      <a:gd name="connsiteY1" fmla="*/ 838960 h 927388"/>
                      <a:gd name="connsiteX2" fmla="*/ 68321 w 779352"/>
                      <a:gd name="connsiteY2" fmla="*/ -502 h 927388"/>
                      <a:gd name="connsiteX3" fmla="*/ 710576 w 779352"/>
                      <a:gd name="connsiteY3" fmla="*/ -502 h 927388"/>
                    </a:gdLst>
                    <a:ahLst/>
                    <a:cxnLst>
                      <a:cxn ang="0">
                        <a:pos x="connsiteX0" y="connsiteY0"/>
                      </a:cxn>
                      <a:cxn ang="0">
                        <a:pos x="connsiteX1" y="connsiteY1"/>
                      </a:cxn>
                      <a:cxn ang="0">
                        <a:pos x="connsiteX2" y="connsiteY2"/>
                      </a:cxn>
                      <a:cxn ang="0">
                        <a:pos x="connsiteX3" y="connsiteY3"/>
                      </a:cxn>
                    </a:cxnLst>
                    <a:rect l="l" t="t" r="r" b="b"/>
                    <a:pathLst>
                      <a:path w="779352" h="927388">
                        <a:moveTo>
                          <a:pt x="779156" y="838960"/>
                        </a:moveTo>
                        <a:cubicBezTo>
                          <a:pt x="501322" y="1036795"/>
                          <a:pt x="-196" y="838960"/>
                          <a:pt x="-196" y="838960"/>
                        </a:cubicBezTo>
                        <a:lnTo>
                          <a:pt x="68321" y="-502"/>
                        </a:lnTo>
                        <a:lnTo>
                          <a:pt x="710576" y="-502"/>
                        </a:lnTo>
                        <a:close/>
                      </a:path>
                    </a:pathLst>
                  </a:custGeom>
                  <a:solidFill>
                    <a:srgbClr val="D67D7B"/>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263" name="Freeform: Shape 262">
                    <a:extLst>
                      <a:ext uri="{FF2B5EF4-FFF2-40B4-BE49-F238E27FC236}">
                        <a16:creationId xmlns:a16="http://schemas.microsoft.com/office/drawing/2014/main" id="{9D077AF7-20F7-4541-4268-4260DC59633A}"/>
                      </a:ext>
                    </a:extLst>
                  </p:cNvPr>
                  <p:cNvSpPr/>
                  <p:nvPr/>
                </p:nvSpPr>
                <p:spPr>
                  <a:xfrm>
                    <a:off x="5212026" y="1897348"/>
                    <a:ext cx="267990" cy="505586"/>
                  </a:xfrm>
                  <a:custGeom>
                    <a:avLst/>
                    <a:gdLst>
                      <a:gd name="connsiteX0" fmla="*/ 195090 w 267990"/>
                      <a:gd name="connsiteY0" fmla="*/ 17934 h 505586"/>
                      <a:gd name="connsiteX1" fmla="*/ 31578 w 267990"/>
                      <a:gd name="connsiteY1" fmla="*/ 53322 h 505586"/>
                      <a:gd name="connsiteX2" fmla="*/ 186118 w 267990"/>
                      <a:gd name="connsiteY2" fmla="*/ 505085 h 505586"/>
                      <a:gd name="connsiteX3" fmla="*/ 195090 w 267990"/>
                      <a:gd name="connsiteY3" fmla="*/ 17934 h 505586"/>
                    </a:gdLst>
                    <a:ahLst/>
                    <a:cxnLst>
                      <a:cxn ang="0">
                        <a:pos x="connsiteX0" y="connsiteY0"/>
                      </a:cxn>
                      <a:cxn ang="0">
                        <a:pos x="connsiteX1" y="connsiteY1"/>
                      </a:cxn>
                      <a:cxn ang="0">
                        <a:pos x="connsiteX2" y="connsiteY2"/>
                      </a:cxn>
                      <a:cxn ang="0">
                        <a:pos x="connsiteX3" y="connsiteY3"/>
                      </a:cxn>
                    </a:cxnLst>
                    <a:rect l="l" t="t" r="r" b="b"/>
                    <a:pathLst>
                      <a:path w="267990" h="505586">
                        <a:moveTo>
                          <a:pt x="195090" y="17934"/>
                        </a:moveTo>
                        <a:cubicBezTo>
                          <a:pt x="195090" y="17934"/>
                          <a:pt x="102856" y="-41610"/>
                          <a:pt x="31578" y="53322"/>
                        </a:cubicBezTo>
                        <a:cubicBezTo>
                          <a:pt x="-39700" y="148255"/>
                          <a:pt x="7735" y="505085"/>
                          <a:pt x="186118" y="505085"/>
                        </a:cubicBezTo>
                        <a:cubicBezTo>
                          <a:pt x="364501" y="505085"/>
                          <a:pt x="195090" y="17934"/>
                          <a:pt x="195090" y="17934"/>
                        </a:cubicBezTo>
                        <a:close/>
                      </a:path>
                    </a:pathLst>
                  </a:custGeom>
                  <a:solidFill>
                    <a:srgbClr val="D67D7B"/>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264" name="Freeform: Shape 263">
                    <a:extLst>
                      <a:ext uri="{FF2B5EF4-FFF2-40B4-BE49-F238E27FC236}">
                        <a16:creationId xmlns:a16="http://schemas.microsoft.com/office/drawing/2014/main" id="{0CA591B0-BF6F-AA39-049E-C08DF10386CE}"/>
                      </a:ext>
                    </a:extLst>
                  </p:cNvPr>
                  <p:cNvSpPr/>
                  <p:nvPr/>
                </p:nvSpPr>
                <p:spPr>
                  <a:xfrm>
                    <a:off x="6713481" y="1897348"/>
                    <a:ext cx="268117" cy="505586"/>
                  </a:xfrm>
                  <a:custGeom>
                    <a:avLst/>
                    <a:gdLst>
                      <a:gd name="connsiteX0" fmla="*/ 72389 w 268117"/>
                      <a:gd name="connsiteY0" fmla="*/ 17934 h 505586"/>
                      <a:gd name="connsiteX1" fmla="*/ 236089 w 268117"/>
                      <a:gd name="connsiteY1" fmla="*/ 53322 h 505586"/>
                      <a:gd name="connsiteX2" fmla="*/ 81487 w 268117"/>
                      <a:gd name="connsiteY2" fmla="*/ 505085 h 505586"/>
                      <a:gd name="connsiteX3" fmla="*/ 72389 w 268117"/>
                      <a:gd name="connsiteY3" fmla="*/ 17934 h 505586"/>
                    </a:gdLst>
                    <a:ahLst/>
                    <a:cxnLst>
                      <a:cxn ang="0">
                        <a:pos x="connsiteX0" y="connsiteY0"/>
                      </a:cxn>
                      <a:cxn ang="0">
                        <a:pos x="connsiteX1" y="connsiteY1"/>
                      </a:cxn>
                      <a:cxn ang="0">
                        <a:pos x="connsiteX2" y="connsiteY2"/>
                      </a:cxn>
                      <a:cxn ang="0">
                        <a:pos x="connsiteX3" y="connsiteY3"/>
                      </a:cxn>
                    </a:cxnLst>
                    <a:rect l="l" t="t" r="r" b="b"/>
                    <a:pathLst>
                      <a:path w="268117" h="505586">
                        <a:moveTo>
                          <a:pt x="72389" y="17934"/>
                        </a:moveTo>
                        <a:cubicBezTo>
                          <a:pt x="72389" y="17934"/>
                          <a:pt x="164624" y="-41610"/>
                          <a:pt x="236089" y="53322"/>
                        </a:cubicBezTo>
                        <a:cubicBezTo>
                          <a:pt x="307556" y="148255"/>
                          <a:pt x="259807" y="505085"/>
                          <a:pt x="81487" y="505085"/>
                        </a:cubicBezTo>
                        <a:cubicBezTo>
                          <a:pt x="-96834" y="505085"/>
                          <a:pt x="72389" y="17934"/>
                          <a:pt x="72389" y="17934"/>
                        </a:cubicBezTo>
                        <a:close/>
                      </a:path>
                    </a:pathLst>
                  </a:custGeom>
                  <a:solidFill>
                    <a:srgbClr val="D67D7B"/>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265" name="Freeform: Shape 264">
                    <a:extLst>
                      <a:ext uri="{FF2B5EF4-FFF2-40B4-BE49-F238E27FC236}">
                        <a16:creationId xmlns:a16="http://schemas.microsoft.com/office/drawing/2014/main" id="{F42E59D4-6D82-87EF-A380-97D157A2521F}"/>
                      </a:ext>
                    </a:extLst>
                  </p:cNvPr>
                  <p:cNvSpPr/>
                  <p:nvPr/>
                </p:nvSpPr>
                <p:spPr>
                  <a:xfrm>
                    <a:off x="5340490" y="1154566"/>
                    <a:ext cx="1507066" cy="2060097"/>
                  </a:xfrm>
                  <a:custGeom>
                    <a:avLst/>
                    <a:gdLst>
                      <a:gd name="connsiteX0" fmla="*/ 1475309 w 1507066"/>
                      <a:gd name="connsiteY0" fmla="*/ 661580 h 2060097"/>
                      <a:gd name="connsiteX1" fmla="*/ 753306 w 1507066"/>
                      <a:gd name="connsiteY1" fmla="*/ -502 h 2060097"/>
                      <a:gd name="connsiteX2" fmla="*/ 31176 w 1507066"/>
                      <a:gd name="connsiteY2" fmla="*/ 661580 h 2060097"/>
                      <a:gd name="connsiteX3" fmla="*/ -196 w 1507066"/>
                      <a:gd name="connsiteY3" fmla="*/ 1196919 h 2060097"/>
                      <a:gd name="connsiteX4" fmla="*/ 753306 w 1507066"/>
                      <a:gd name="connsiteY4" fmla="*/ 2059596 h 2060097"/>
                      <a:gd name="connsiteX5" fmla="*/ 1506870 w 1507066"/>
                      <a:gd name="connsiteY5" fmla="*/ 1196919 h 2060097"/>
                      <a:gd name="connsiteX6" fmla="*/ 1475309 w 1507066"/>
                      <a:gd name="connsiteY6" fmla="*/ 661580 h 206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7066" h="2060097">
                        <a:moveTo>
                          <a:pt x="1475309" y="661580"/>
                        </a:moveTo>
                        <a:cubicBezTo>
                          <a:pt x="1475309" y="261520"/>
                          <a:pt x="1152174" y="-502"/>
                          <a:pt x="753306" y="-502"/>
                        </a:cubicBezTo>
                        <a:cubicBezTo>
                          <a:pt x="354437" y="-502"/>
                          <a:pt x="31176" y="261520"/>
                          <a:pt x="31176" y="661580"/>
                        </a:cubicBezTo>
                        <a:cubicBezTo>
                          <a:pt x="31176" y="661580"/>
                          <a:pt x="-196" y="1172134"/>
                          <a:pt x="-196" y="1196919"/>
                        </a:cubicBezTo>
                        <a:cubicBezTo>
                          <a:pt x="-196" y="1577152"/>
                          <a:pt x="465244" y="2059596"/>
                          <a:pt x="753306" y="2059596"/>
                        </a:cubicBezTo>
                        <a:cubicBezTo>
                          <a:pt x="1085853" y="2059596"/>
                          <a:pt x="1506870" y="1485042"/>
                          <a:pt x="1506870" y="1196919"/>
                        </a:cubicBezTo>
                        <a:cubicBezTo>
                          <a:pt x="1506870" y="1172134"/>
                          <a:pt x="1475309" y="661580"/>
                          <a:pt x="1475309" y="661580"/>
                        </a:cubicBezTo>
                        <a:close/>
                      </a:path>
                    </a:pathLst>
                  </a:custGeom>
                  <a:solidFill>
                    <a:srgbClr val="E2857E"/>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122" name="Freeform: Shape 121">
                  <a:extLst>
                    <a:ext uri="{FF2B5EF4-FFF2-40B4-BE49-F238E27FC236}">
                      <a16:creationId xmlns:a16="http://schemas.microsoft.com/office/drawing/2014/main" id="{7E83EDA9-DEC5-65B8-F87B-9D5E92F048BB}"/>
                    </a:ext>
                  </a:extLst>
                </p:cNvPr>
                <p:cNvSpPr/>
                <p:nvPr/>
              </p:nvSpPr>
              <p:spPr>
                <a:xfrm>
                  <a:off x="6244918" y="1778440"/>
                  <a:ext cx="487988" cy="140993"/>
                </a:xfrm>
                <a:custGeom>
                  <a:avLst/>
                  <a:gdLst>
                    <a:gd name="connsiteX0" fmla="*/ 2226 w 487988"/>
                    <a:gd name="connsiteY0" fmla="*/ 24278 h 140993"/>
                    <a:gd name="connsiteX1" fmla="*/ 356922 w 487988"/>
                    <a:gd name="connsiteY1" fmla="*/ 184 h 140993"/>
                    <a:gd name="connsiteX2" fmla="*/ 487744 w 487988"/>
                    <a:gd name="connsiteY2" fmla="*/ 105031 h 140993"/>
                    <a:gd name="connsiteX3" fmla="*/ 42257 w 487988"/>
                    <a:gd name="connsiteY3" fmla="*/ 134458 h 140993"/>
                    <a:gd name="connsiteX4" fmla="*/ 2226 w 487988"/>
                    <a:gd name="connsiteY4" fmla="*/ 24278 h 140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988" h="140993">
                      <a:moveTo>
                        <a:pt x="2226" y="24278"/>
                      </a:moveTo>
                      <a:cubicBezTo>
                        <a:pt x="2226" y="24278"/>
                        <a:pt x="299573" y="-5337"/>
                        <a:pt x="356922" y="184"/>
                      </a:cubicBezTo>
                      <a:cubicBezTo>
                        <a:pt x="452482" y="9470"/>
                        <a:pt x="473000" y="71399"/>
                        <a:pt x="487744" y="105031"/>
                      </a:cubicBezTo>
                      <a:cubicBezTo>
                        <a:pt x="492764" y="116639"/>
                        <a:pt x="99480" y="155227"/>
                        <a:pt x="42257" y="134458"/>
                      </a:cubicBezTo>
                      <a:cubicBezTo>
                        <a:pt x="-14966" y="113690"/>
                        <a:pt x="2226" y="24278"/>
                        <a:pt x="2226" y="24278"/>
                      </a:cubicBezTo>
                      <a:close/>
                    </a:path>
                  </a:pathLst>
                </a:custGeom>
                <a:solidFill>
                  <a:schemeClr val="tx1">
                    <a:lumMod val="85000"/>
                    <a:lumOff val="15000"/>
                  </a:scheme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25" name="Freeform: Shape 124">
                  <a:extLst>
                    <a:ext uri="{FF2B5EF4-FFF2-40B4-BE49-F238E27FC236}">
                      <a16:creationId xmlns:a16="http://schemas.microsoft.com/office/drawing/2014/main" id="{7E149F36-A5B9-26BD-3078-8CE1252568C9}"/>
                    </a:ext>
                  </a:extLst>
                </p:cNvPr>
                <p:cNvSpPr/>
                <p:nvPr/>
              </p:nvSpPr>
              <p:spPr>
                <a:xfrm>
                  <a:off x="5464990" y="1778440"/>
                  <a:ext cx="488006" cy="140993"/>
                </a:xfrm>
                <a:custGeom>
                  <a:avLst/>
                  <a:gdLst>
                    <a:gd name="connsiteX0" fmla="*/ 485371 w 488006"/>
                    <a:gd name="connsiteY0" fmla="*/ 24278 h 140993"/>
                    <a:gd name="connsiteX1" fmla="*/ 130612 w 488006"/>
                    <a:gd name="connsiteY1" fmla="*/ 184 h 140993"/>
                    <a:gd name="connsiteX2" fmla="*/ -148 w 488006"/>
                    <a:gd name="connsiteY2" fmla="*/ 105031 h 140993"/>
                    <a:gd name="connsiteX3" fmla="*/ 445340 w 488006"/>
                    <a:gd name="connsiteY3" fmla="*/ 134458 h 140993"/>
                    <a:gd name="connsiteX4" fmla="*/ 485371 w 488006"/>
                    <a:gd name="connsiteY4" fmla="*/ 24278 h 140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006" h="140993">
                      <a:moveTo>
                        <a:pt x="485371" y="24278"/>
                      </a:moveTo>
                      <a:cubicBezTo>
                        <a:pt x="485371" y="24278"/>
                        <a:pt x="188024" y="-5337"/>
                        <a:pt x="130612" y="184"/>
                      </a:cubicBezTo>
                      <a:cubicBezTo>
                        <a:pt x="35115" y="9470"/>
                        <a:pt x="14597" y="71399"/>
                        <a:pt x="-148" y="105031"/>
                      </a:cubicBezTo>
                      <a:cubicBezTo>
                        <a:pt x="-5230" y="116639"/>
                        <a:pt x="388054" y="155227"/>
                        <a:pt x="445340" y="134458"/>
                      </a:cubicBezTo>
                      <a:cubicBezTo>
                        <a:pt x="502626" y="113690"/>
                        <a:pt x="485371" y="24278"/>
                        <a:pt x="485371" y="24278"/>
                      </a:cubicBezTo>
                      <a:close/>
                    </a:path>
                  </a:pathLst>
                </a:custGeom>
                <a:solidFill>
                  <a:schemeClr val="tx1">
                    <a:lumMod val="85000"/>
                    <a:lumOff val="15000"/>
                  </a:scheme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26" name="Freeform: Shape 125">
                  <a:extLst>
                    <a:ext uri="{FF2B5EF4-FFF2-40B4-BE49-F238E27FC236}">
                      <a16:creationId xmlns:a16="http://schemas.microsoft.com/office/drawing/2014/main" id="{AF5DA1F7-581C-0C7D-B906-0A644ED5A216}"/>
                    </a:ext>
                  </a:extLst>
                </p:cNvPr>
                <p:cNvSpPr/>
                <p:nvPr/>
              </p:nvSpPr>
              <p:spPr>
                <a:xfrm>
                  <a:off x="5554387" y="1908067"/>
                  <a:ext cx="424405" cy="528938"/>
                </a:xfrm>
                <a:custGeom>
                  <a:avLst/>
                  <a:gdLst>
                    <a:gd name="connsiteX0" fmla="*/ 197772 w 424405"/>
                    <a:gd name="connsiteY0" fmla="*/ 0 h 528938"/>
                    <a:gd name="connsiteX1" fmla="*/ 0 w 424405"/>
                    <a:gd name="connsiteY1" fmla="*/ 473409 h 528938"/>
                    <a:gd name="connsiteX2" fmla="*/ 178132 w 424405"/>
                    <a:gd name="connsiteY2" fmla="*/ 528938 h 528938"/>
                    <a:gd name="connsiteX3" fmla="*/ 424406 w 424405"/>
                    <a:gd name="connsiteY3" fmla="*/ 138666 h 528938"/>
                    <a:gd name="connsiteX4" fmla="*/ 293520 w 424405"/>
                    <a:gd name="connsiteY4" fmla="*/ 26415 h 528938"/>
                    <a:gd name="connsiteX5" fmla="*/ 197772 w 424405"/>
                    <a:gd name="connsiteY5" fmla="*/ 0 h 52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05" h="528938">
                      <a:moveTo>
                        <a:pt x="197772" y="0"/>
                      </a:moveTo>
                      <a:lnTo>
                        <a:pt x="0" y="473409"/>
                      </a:lnTo>
                      <a:lnTo>
                        <a:pt x="178132" y="528938"/>
                      </a:lnTo>
                      <a:lnTo>
                        <a:pt x="424406" y="138666"/>
                      </a:lnTo>
                      <a:lnTo>
                        <a:pt x="293520" y="26415"/>
                      </a:lnTo>
                      <a:lnTo>
                        <a:pt x="197772" y="0"/>
                      </a:lnTo>
                      <a:close/>
                    </a:path>
                  </a:pathLst>
                </a:custGeom>
                <a:solidFill>
                  <a:srgbClr val="FFFFFF">
                    <a:alpha val="20000"/>
                  </a:srgb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27" name="Freeform: Shape 126">
                  <a:extLst>
                    <a:ext uri="{FF2B5EF4-FFF2-40B4-BE49-F238E27FC236}">
                      <a16:creationId xmlns:a16="http://schemas.microsoft.com/office/drawing/2014/main" id="{275DE1F7-43A2-45FB-601E-94B60A8AD11F}"/>
                    </a:ext>
                  </a:extLst>
                </p:cNvPr>
                <p:cNvSpPr/>
                <p:nvPr/>
              </p:nvSpPr>
              <p:spPr>
                <a:xfrm>
                  <a:off x="6287308" y="1908067"/>
                  <a:ext cx="424405" cy="528938"/>
                </a:xfrm>
                <a:custGeom>
                  <a:avLst/>
                  <a:gdLst>
                    <a:gd name="connsiteX0" fmla="*/ 197709 w 424405"/>
                    <a:gd name="connsiteY0" fmla="*/ 0 h 528938"/>
                    <a:gd name="connsiteX1" fmla="*/ 0 w 424405"/>
                    <a:gd name="connsiteY1" fmla="*/ 473409 h 528938"/>
                    <a:gd name="connsiteX2" fmla="*/ 178132 w 424405"/>
                    <a:gd name="connsiteY2" fmla="*/ 528938 h 528938"/>
                    <a:gd name="connsiteX3" fmla="*/ 424406 w 424405"/>
                    <a:gd name="connsiteY3" fmla="*/ 138666 h 528938"/>
                    <a:gd name="connsiteX4" fmla="*/ 293583 w 424405"/>
                    <a:gd name="connsiteY4" fmla="*/ 26415 h 528938"/>
                    <a:gd name="connsiteX5" fmla="*/ 197709 w 424405"/>
                    <a:gd name="connsiteY5" fmla="*/ 0 h 52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405" h="528938">
                      <a:moveTo>
                        <a:pt x="197709" y="0"/>
                      </a:moveTo>
                      <a:lnTo>
                        <a:pt x="0" y="473409"/>
                      </a:lnTo>
                      <a:lnTo>
                        <a:pt x="178132" y="528938"/>
                      </a:lnTo>
                      <a:lnTo>
                        <a:pt x="424406" y="138666"/>
                      </a:lnTo>
                      <a:lnTo>
                        <a:pt x="293583" y="26415"/>
                      </a:lnTo>
                      <a:lnTo>
                        <a:pt x="197709" y="0"/>
                      </a:lnTo>
                      <a:close/>
                    </a:path>
                  </a:pathLst>
                </a:custGeom>
                <a:solidFill>
                  <a:srgbClr val="FFFFFF">
                    <a:alpha val="20000"/>
                  </a:srgb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256" name="Freeform: Shape 255">
                  <a:extLst>
                    <a:ext uri="{FF2B5EF4-FFF2-40B4-BE49-F238E27FC236}">
                      <a16:creationId xmlns:a16="http://schemas.microsoft.com/office/drawing/2014/main" id="{CDC38716-7197-92B0-7A9F-471B41655CE9}"/>
                    </a:ext>
                  </a:extLst>
                </p:cNvPr>
                <p:cNvSpPr/>
                <p:nvPr/>
              </p:nvSpPr>
              <p:spPr>
                <a:xfrm>
                  <a:off x="5454246" y="1894326"/>
                  <a:ext cx="556420" cy="556420"/>
                </a:xfrm>
                <a:custGeom>
                  <a:avLst/>
                  <a:gdLst>
                    <a:gd name="connsiteX0" fmla="*/ 278014 w 556420"/>
                    <a:gd name="connsiteY0" fmla="*/ 555918 h 556420"/>
                    <a:gd name="connsiteX1" fmla="*/ -196 w 556420"/>
                    <a:gd name="connsiteY1" fmla="*/ 277708 h 556420"/>
                    <a:gd name="connsiteX2" fmla="*/ 278014 w 556420"/>
                    <a:gd name="connsiteY2" fmla="*/ -502 h 556420"/>
                    <a:gd name="connsiteX3" fmla="*/ 556224 w 556420"/>
                    <a:gd name="connsiteY3" fmla="*/ 277708 h 556420"/>
                    <a:gd name="connsiteX4" fmla="*/ 556224 w 556420"/>
                    <a:gd name="connsiteY4" fmla="*/ 277771 h 556420"/>
                    <a:gd name="connsiteX5" fmla="*/ 278014 w 556420"/>
                    <a:gd name="connsiteY5" fmla="*/ 555918 h 556420"/>
                    <a:gd name="connsiteX6" fmla="*/ 278014 w 556420"/>
                    <a:gd name="connsiteY6" fmla="*/ 26980 h 556420"/>
                    <a:gd name="connsiteX7" fmla="*/ 27035 w 556420"/>
                    <a:gd name="connsiteY7" fmla="*/ 277959 h 556420"/>
                    <a:gd name="connsiteX8" fmla="*/ 278014 w 556420"/>
                    <a:gd name="connsiteY8" fmla="*/ 528938 h 556420"/>
                    <a:gd name="connsiteX9" fmla="*/ 528993 w 556420"/>
                    <a:gd name="connsiteY9" fmla="*/ 277959 h 556420"/>
                    <a:gd name="connsiteX10" fmla="*/ 278014 w 556420"/>
                    <a:gd name="connsiteY10" fmla="*/ 26980 h 55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420" h="556420">
                      <a:moveTo>
                        <a:pt x="278014" y="555918"/>
                      </a:moveTo>
                      <a:cubicBezTo>
                        <a:pt x="124365" y="555918"/>
                        <a:pt x="-196" y="431358"/>
                        <a:pt x="-196" y="277708"/>
                      </a:cubicBezTo>
                      <a:cubicBezTo>
                        <a:pt x="-196" y="124059"/>
                        <a:pt x="124365" y="-502"/>
                        <a:pt x="278014" y="-502"/>
                      </a:cubicBezTo>
                      <a:cubicBezTo>
                        <a:pt x="431663" y="-502"/>
                        <a:pt x="556224" y="124059"/>
                        <a:pt x="556224" y="277708"/>
                      </a:cubicBezTo>
                      <a:cubicBezTo>
                        <a:pt x="556224" y="277727"/>
                        <a:pt x="556224" y="277752"/>
                        <a:pt x="556224" y="277771"/>
                      </a:cubicBezTo>
                      <a:cubicBezTo>
                        <a:pt x="556036" y="431326"/>
                        <a:pt x="431569" y="555743"/>
                        <a:pt x="278014" y="555918"/>
                      </a:cubicBezTo>
                      <a:close/>
                      <a:moveTo>
                        <a:pt x="278014" y="26980"/>
                      </a:moveTo>
                      <a:cubicBezTo>
                        <a:pt x="139405" y="26980"/>
                        <a:pt x="27035" y="139350"/>
                        <a:pt x="27035" y="277959"/>
                      </a:cubicBezTo>
                      <a:cubicBezTo>
                        <a:pt x="27035" y="416569"/>
                        <a:pt x="139405" y="528938"/>
                        <a:pt x="278014" y="528938"/>
                      </a:cubicBezTo>
                      <a:cubicBezTo>
                        <a:pt x="416623" y="528938"/>
                        <a:pt x="528993" y="416569"/>
                        <a:pt x="528993" y="277959"/>
                      </a:cubicBezTo>
                      <a:cubicBezTo>
                        <a:pt x="528993" y="139350"/>
                        <a:pt x="416623" y="26980"/>
                        <a:pt x="278014" y="26980"/>
                      </a:cubicBezTo>
                      <a:close/>
                    </a:path>
                  </a:pathLst>
                </a:custGeom>
                <a:solidFill>
                  <a:srgbClr val="FFFFFF"/>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257" name="Freeform: Shape 256">
                  <a:extLst>
                    <a:ext uri="{FF2B5EF4-FFF2-40B4-BE49-F238E27FC236}">
                      <a16:creationId xmlns:a16="http://schemas.microsoft.com/office/drawing/2014/main" id="{25E2A23F-BE5F-D2F9-2DC9-7229D0790B24}"/>
                    </a:ext>
                  </a:extLst>
                </p:cNvPr>
                <p:cNvSpPr/>
                <p:nvPr/>
              </p:nvSpPr>
              <p:spPr>
                <a:xfrm>
                  <a:off x="6188736" y="1894326"/>
                  <a:ext cx="556419" cy="556420"/>
                </a:xfrm>
                <a:custGeom>
                  <a:avLst/>
                  <a:gdLst>
                    <a:gd name="connsiteX0" fmla="*/ 278014 w 556419"/>
                    <a:gd name="connsiteY0" fmla="*/ 555918 h 556420"/>
                    <a:gd name="connsiteX1" fmla="*/ -196 w 556419"/>
                    <a:gd name="connsiteY1" fmla="*/ 277708 h 556420"/>
                    <a:gd name="connsiteX2" fmla="*/ 278014 w 556419"/>
                    <a:gd name="connsiteY2" fmla="*/ -502 h 556420"/>
                    <a:gd name="connsiteX3" fmla="*/ 556224 w 556419"/>
                    <a:gd name="connsiteY3" fmla="*/ 277708 h 556420"/>
                    <a:gd name="connsiteX4" fmla="*/ 556224 w 556419"/>
                    <a:gd name="connsiteY4" fmla="*/ 277771 h 556420"/>
                    <a:gd name="connsiteX5" fmla="*/ 278014 w 556419"/>
                    <a:gd name="connsiteY5" fmla="*/ 555918 h 556420"/>
                    <a:gd name="connsiteX6" fmla="*/ 278014 w 556419"/>
                    <a:gd name="connsiteY6" fmla="*/ 26980 h 556420"/>
                    <a:gd name="connsiteX7" fmla="*/ 27035 w 556419"/>
                    <a:gd name="connsiteY7" fmla="*/ 277959 h 556420"/>
                    <a:gd name="connsiteX8" fmla="*/ 278014 w 556419"/>
                    <a:gd name="connsiteY8" fmla="*/ 528938 h 556420"/>
                    <a:gd name="connsiteX9" fmla="*/ 528993 w 556419"/>
                    <a:gd name="connsiteY9" fmla="*/ 277959 h 556420"/>
                    <a:gd name="connsiteX10" fmla="*/ 278014 w 556419"/>
                    <a:gd name="connsiteY10" fmla="*/ 26980 h 55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6419" h="556420">
                      <a:moveTo>
                        <a:pt x="278014" y="555918"/>
                      </a:moveTo>
                      <a:cubicBezTo>
                        <a:pt x="124352" y="555918"/>
                        <a:pt x="-196" y="431358"/>
                        <a:pt x="-196" y="277708"/>
                      </a:cubicBezTo>
                      <a:cubicBezTo>
                        <a:pt x="-196" y="124059"/>
                        <a:pt x="124352" y="-502"/>
                        <a:pt x="278014" y="-502"/>
                      </a:cubicBezTo>
                      <a:cubicBezTo>
                        <a:pt x="431675" y="-502"/>
                        <a:pt x="556224" y="124059"/>
                        <a:pt x="556224" y="277708"/>
                      </a:cubicBezTo>
                      <a:cubicBezTo>
                        <a:pt x="556224" y="277727"/>
                        <a:pt x="556224" y="277752"/>
                        <a:pt x="556224" y="277771"/>
                      </a:cubicBezTo>
                      <a:cubicBezTo>
                        <a:pt x="556036" y="431326"/>
                        <a:pt x="431550" y="555743"/>
                        <a:pt x="278014" y="555918"/>
                      </a:cubicBezTo>
                      <a:close/>
                      <a:moveTo>
                        <a:pt x="278014" y="26980"/>
                      </a:moveTo>
                      <a:cubicBezTo>
                        <a:pt x="139411" y="26980"/>
                        <a:pt x="27035" y="139350"/>
                        <a:pt x="27035" y="277959"/>
                      </a:cubicBezTo>
                      <a:cubicBezTo>
                        <a:pt x="27035" y="416569"/>
                        <a:pt x="139411" y="528938"/>
                        <a:pt x="278014" y="528938"/>
                      </a:cubicBezTo>
                      <a:cubicBezTo>
                        <a:pt x="416616" y="528938"/>
                        <a:pt x="528993" y="416569"/>
                        <a:pt x="528993" y="277959"/>
                      </a:cubicBezTo>
                      <a:cubicBezTo>
                        <a:pt x="528993" y="139350"/>
                        <a:pt x="416616" y="26980"/>
                        <a:pt x="278014" y="26980"/>
                      </a:cubicBezTo>
                      <a:close/>
                    </a:path>
                  </a:pathLst>
                </a:custGeom>
                <a:solidFill>
                  <a:srgbClr val="FFFFFF"/>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258" name="Freeform: Shape 257">
                  <a:extLst>
                    <a:ext uri="{FF2B5EF4-FFF2-40B4-BE49-F238E27FC236}">
                      <a16:creationId xmlns:a16="http://schemas.microsoft.com/office/drawing/2014/main" id="{C89B0F06-5536-F895-29C6-5B8EBACDA50A}"/>
                    </a:ext>
                  </a:extLst>
                </p:cNvPr>
                <p:cNvSpPr/>
                <p:nvPr/>
              </p:nvSpPr>
              <p:spPr>
                <a:xfrm>
                  <a:off x="5996926" y="2158795"/>
                  <a:ext cx="205677" cy="27482"/>
                </a:xfrm>
                <a:custGeom>
                  <a:avLst/>
                  <a:gdLst>
                    <a:gd name="connsiteX0" fmla="*/ 0 w 205677"/>
                    <a:gd name="connsiteY0" fmla="*/ 0 h 27482"/>
                    <a:gd name="connsiteX1" fmla="*/ 205678 w 205677"/>
                    <a:gd name="connsiteY1" fmla="*/ 0 h 27482"/>
                    <a:gd name="connsiteX2" fmla="*/ 205678 w 205677"/>
                    <a:gd name="connsiteY2" fmla="*/ 27482 h 27482"/>
                    <a:gd name="connsiteX3" fmla="*/ 0 w 205677"/>
                    <a:gd name="connsiteY3" fmla="*/ 27482 h 27482"/>
                  </a:gdLst>
                  <a:ahLst/>
                  <a:cxnLst>
                    <a:cxn ang="0">
                      <a:pos x="connsiteX0" y="connsiteY0"/>
                    </a:cxn>
                    <a:cxn ang="0">
                      <a:pos x="connsiteX1" y="connsiteY1"/>
                    </a:cxn>
                    <a:cxn ang="0">
                      <a:pos x="connsiteX2" y="connsiteY2"/>
                    </a:cxn>
                    <a:cxn ang="0">
                      <a:pos x="connsiteX3" y="connsiteY3"/>
                    </a:cxn>
                  </a:cxnLst>
                  <a:rect l="l" t="t" r="r" b="b"/>
                  <a:pathLst>
                    <a:path w="205677" h="27482">
                      <a:moveTo>
                        <a:pt x="0" y="0"/>
                      </a:moveTo>
                      <a:lnTo>
                        <a:pt x="205678" y="0"/>
                      </a:lnTo>
                      <a:lnTo>
                        <a:pt x="205678" y="27482"/>
                      </a:lnTo>
                      <a:lnTo>
                        <a:pt x="0" y="27482"/>
                      </a:lnTo>
                      <a:close/>
                    </a:path>
                  </a:pathLst>
                </a:custGeom>
                <a:solidFill>
                  <a:srgbClr val="FFFFFF"/>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259" name="Freeform: Shape 258">
                  <a:extLst>
                    <a:ext uri="{FF2B5EF4-FFF2-40B4-BE49-F238E27FC236}">
                      <a16:creationId xmlns:a16="http://schemas.microsoft.com/office/drawing/2014/main" id="{B93B222F-99C8-1892-C36C-63F316CE1F0B}"/>
                    </a:ext>
                  </a:extLst>
                </p:cNvPr>
                <p:cNvSpPr/>
                <p:nvPr/>
              </p:nvSpPr>
              <p:spPr>
                <a:xfrm>
                  <a:off x="4380621" y="5046559"/>
                  <a:ext cx="185849" cy="651227"/>
                </a:xfrm>
                <a:custGeom>
                  <a:avLst/>
                  <a:gdLst>
                    <a:gd name="connsiteX0" fmla="*/ 185850 w 185849"/>
                    <a:gd name="connsiteY0" fmla="*/ 651228 h 651227"/>
                    <a:gd name="connsiteX1" fmla="*/ 185850 w 185849"/>
                    <a:gd name="connsiteY1" fmla="*/ 0 h 651227"/>
                    <a:gd name="connsiteX2" fmla="*/ 0 w 185849"/>
                    <a:gd name="connsiteY2" fmla="*/ 651228 h 651227"/>
                    <a:gd name="connsiteX3" fmla="*/ 185850 w 185849"/>
                    <a:gd name="connsiteY3" fmla="*/ 651228 h 651227"/>
                  </a:gdLst>
                  <a:ahLst/>
                  <a:cxnLst>
                    <a:cxn ang="0">
                      <a:pos x="connsiteX0" y="connsiteY0"/>
                    </a:cxn>
                    <a:cxn ang="0">
                      <a:pos x="connsiteX1" y="connsiteY1"/>
                    </a:cxn>
                    <a:cxn ang="0">
                      <a:pos x="connsiteX2" y="connsiteY2"/>
                    </a:cxn>
                    <a:cxn ang="0">
                      <a:pos x="connsiteX3" y="connsiteY3"/>
                    </a:cxn>
                  </a:cxnLst>
                  <a:rect l="l" t="t" r="r" b="b"/>
                  <a:pathLst>
                    <a:path w="185849" h="651227">
                      <a:moveTo>
                        <a:pt x="185850" y="651228"/>
                      </a:moveTo>
                      <a:lnTo>
                        <a:pt x="185850" y="0"/>
                      </a:lnTo>
                      <a:lnTo>
                        <a:pt x="0" y="651228"/>
                      </a:lnTo>
                      <a:lnTo>
                        <a:pt x="185850" y="651228"/>
                      </a:lnTo>
                      <a:close/>
                    </a:path>
                  </a:pathLst>
                </a:custGeom>
                <a:solidFill>
                  <a:srgbClr val="2A3756">
                    <a:alpha val="10000"/>
                  </a:srgb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260" name="Freeform: Shape 259">
                  <a:extLst>
                    <a:ext uri="{FF2B5EF4-FFF2-40B4-BE49-F238E27FC236}">
                      <a16:creationId xmlns:a16="http://schemas.microsoft.com/office/drawing/2014/main" id="{47053810-4392-137A-5E4F-F832C26A81CC}"/>
                    </a:ext>
                  </a:extLst>
                </p:cNvPr>
                <p:cNvSpPr/>
                <p:nvPr/>
              </p:nvSpPr>
              <p:spPr>
                <a:xfrm>
                  <a:off x="5974275" y="2619969"/>
                  <a:ext cx="271622" cy="52266"/>
                </a:xfrm>
                <a:custGeom>
                  <a:avLst/>
                  <a:gdLst>
                    <a:gd name="connsiteX0" fmla="*/ 0 w 271622"/>
                    <a:gd name="connsiteY0" fmla="*/ 0 h 52266"/>
                    <a:gd name="connsiteX1" fmla="*/ 271622 w 271622"/>
                    <a:gd name="connsiteY1" fmla="*/ 0 h 52266"/>
                    <a:gd name="connsiteX2" fmla="*/ 135843 w 271622"/>
                    <a:gd name="connsiteY2" fmla="*/ 52266 h 52266"/>
                    <a:gd name="connsiteX3" fmla="*/ 0 w 271622"/>
                    <a:gd name="connsiteY3" fmla="*/ 0 h 52266"/>
                  </a:gdLst>
                  <a:ahLst/>
                  <a:cxnLst>
                    <a:cxn ang="0">
                      <a:pos x="connsiteX0" y="connsiteY0"/>
                    </a:cxn>
                    <a:cxn ang="0">
                      <a:pos x="connsiteX1" y="connsiteY1"/>
                    </a:cxn>
                    <a:cxn ang="0">
                      <a:pos x="connsiteX2" y="connsiteY2"/>
                    </a:cxn>
                    <a:cxn ang="0">
                      <a:pos x="connsiteX3" y="connsiteY3"/>
                    </a:cxn>
                  </a:cxnLst>
                  <a:rect l="l" t="t" r="r" b="b"/>
                  <a:pathLst>
                    <a:path w="271622" h="52266">
                      <a:moveTo>
                        <a:pt x="0" y="0"/>
                      </a:moveTo>
                      <a:lnTo>
                        <a:pt x="271622" y="0"/>
                      </a:lnTo>
                      <a:lnTo>
                        <a:pt x="135843" y="52266"/>
                      </a:lnTo>
                      <a:lnTo>
                        <a:pt x="0" y="0"/>
                      </a:lnTo>
                      <a:close/>
                    </a:path>
                  </a:pathLst>
                </a:custGeom>
                <a:solidFill>
                  <a:srgbClr val="CC7979"/>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115" name="Freeform: Shape 114">
                <a:extLst>
                  <a:ext uri="{FF2B5EF4-FFF2-40B4-BE49-F238E27FC236}">
                    <a16:creationId xmlns:a16="http://schemas.microsoft.com/office/drawing/2014/main" id="{8EDF89E6-8335-613B-41D7-DB115859C9C9}"/>
                  </a:ext>
                </a:extLst>
              </p:cNvPr>
              <p:cNvSpPr/>
              <p:nvPr/>
            </p:nvSpPr>
            <p:spPr>
              <a:xfrm>
                <a:off x="1828981" y="391087"/>
                <a:ext cx="2166088" cy="1878397"/>
              </a:xfrm>
              <a:custGeom>
                <a:avLst/>
                <a:gdLst>
                  <a:gd name="connsiteX0" fmla="*/ -196 w 2166088"/>
                  <a:gd name="connsiteY0" fmla="*/ 1148229 h 1878397"/>
                  <a:gd name="connsiteX1" fmla="*/ 482562 w 2166088"/>
                  <a:gd name="connsiteY1" fmla="*/ 1843315 h 1878397"/>
                  <a:gd name="connsiteX2" fmla="*/ 1457050 w 2166088"/>
                  <a:gd name="connsiteY2" fmla="*/ 1470800 h 1878397"/>
                  <a:gd name="connsiteX3" fmla="*/ 2154333 w 2166088"/>
                  <a:gd name="connsiteY3" fmla="*/ 694585 h 1878397"/>
                  <a:gd name="connsiteX4" fmla="*/ 1671574 w 2166088"/>
                  <a:gd name="connsiteY4" fmla="*/ -502 h 1878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6088" h="1878397">
                    <a:moveTo>
                      <a:pt x="-196" y="1148229"/>
                    </a:moveTo>
                    <a:lnTo>
                      <a:pt x="482562" y="1843315"/>
                    </a:lnTo>
                    <a:cubicBezTo>
                      <a:pt x="559110" y="1954750"/>
                      <a:pt x="995437" y="1787974"/>
                      <a:pt x="1457050" y="1470800"/>
                    </a:cubicBezTo>
                    <a:cubicBezTo>
                      <a:pt x="1918663" y="1153625"/>
                      <a:pt x="2230944" y="805956"/>
                      <a:pt x="2154333" y="694585"/>
                    </a:cubicBezTo>
                    <a:lnTo>
                      <a:pt x="1671574" y="-502"/>
                    </a:lnTo>
                    <a:close/>
                  </a:path>
                </a:pathLst>
              </a:custGeom>
              <a:solidFill>
                <a:schemeClr val="accent5">
                  <a:lumMod val="50000"/>
                </a:scheme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16" name="Freeform: Shape 115">
                <a:extLst>
                  <a:ext uri="{FF2B5EF4-FFF2-40B4-BE49-F238E27FC236}">
                    <a16:creationId xmlns:a16="http://schemas.microsoft.com/office/drawing/2014/main" id="{2235856A-791C-E8CA-886B-DC4CB381E3AD}"/>
                  </a:ext>
                </a:extLst>
              </p:cNvPr>
              <p:cNvSpPr/>
              <p:nvPr/>
            </p:nvSpPr>
            <p:spPr>
              <a:xfrm>
                <a:off x="1222490" y="0"/>
                <a:ext cx="3072860" cy="2116882"/>
              </a:xfrm>
              <a:custGeom>
                <a:avLst/>
                <a:gdLst>
                  <a:gd name="connsiteX0" fmla="*/ 1861134 w 3072860"/>
                  <a:gd name="connsiteY0" fmla="*/ 1529780 h 2116882"/>
                  <a:gd name="connsiteX1" fmla="*/ 0 w 3072860"/>
                  <a:gd name="connsiteY1" fmla="*/ 2116882 h 2116882"/>
                  <a:gd name="connsiteX2" fmla="*/ 1211789 w 3072860"/>
                  <a:gd name="connsiteY2" fmla="*/ 587165 h 2116882"/>
                  <a:gd name="connsiteX3" fmla="*/ 3072861 w 3072860"/>
                  <a:gd name="connsiteY3" fmla="*/ 0 h 2116882"/>
                  <a:gd name="connsiteX4" fmla="*/ 1861134 w 3072860"/>
                  <a:gd name="connsiteY4" fmla="*/ 1529780 h 2116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860" h="2116882">
                    <a:moveTo>
                      <a:pt x="1861134" y="1529780"/>
                    </a:moveTo>
                    <a:lnTo>
                      <a:pt x="0" y="2116882"/>
                    </a:lnTo>
                    <a:lnTo>
                      <a:pt x="1211789" y="587165"/>
                    </a:lnTo>
                    <a:lnTo>
                      <a:pt x="3072861" y="0"/>
                    </a:lnTo>
                    <a:lnTo>
                      <a:pt x="1861134" y="1529780"/>
                    </a:lnTo>
                    <a:close/>
                  </a:path>
                </a:pathLst>
              </a:custGeom>
              <a:solidFill>
                <a:srgbClr val="25597D"/>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17" name="Freeform: Shape 116">
                <a:extLst>
                  <a:ext uri="{FF2B5EF4-FFF2-40B4-BE49-F238E27FC236}">
                    <a16:creationId xmlns:a16="http://schemas.microsoft.com/office/drawing/2014/main" id="{B083A846-D4C3-6FE7-495D-AC48949F1B1A}"/>
                  </a:ext>
                </a:extLst>
              </p:cNvPr>
              <p:cNvSpPr/>
              <p:nvPr/>
            </p:nvSpPr>
            <p:spPr>
              <a:xfrm>
                <a:off x="1948196" y="1014080"/>
                <a:ext cx="877359" cy="1449340"/>
              </a:xfrm>
              <a:custGeom>
                <a:avLst/>
                <a:gdLst>
                  <a:gd name="connsiteX0" fmla="*/ 71905 w 877359"/>
                  <a:gd name="connsiteY0" fmla="*/ 1447961 h 1449340"/>
                  <a:gd name="connsiteX1" fmla="*/ 58666 w 877359"/>
                  <a:gd name="connsiteY1" fmla="*/ 883885 h 1449340"/>
                  <a:gd name="connsiteX2" fmla="*/ 877360 w 877359"/>
                  <a:gd name="connsiteY2" fmla="*/ 40470 h 1449340"/>
                  <a:gd name="connsiteX3" fmla="*/ 835697 w 877359"/>
                  <a:gd name="connsiteY3" fmla="*/ 0 h 1449340"/>
                  <a:gd name="connsiteX4" fmla="*/ 0 w 877359"/>
                  <a:gd name="connsiteY4" fmla="*/ 860858 h 1449340"/>
                  <a:gd name="connsiteX5" fmla="*/ 13867 w 877359"/>
                  <a:gd name="connsiteY5" fmla="*/ 1449341 h 1449340"/>
                  <a:gd name="connsiteX6" fmla="*/ 71905 w 877359"/>
                  <a:gd name="connsiteY6" fmla="*/ 1447961 h 144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359" h="1449340">
                    <a:moveTo>
                      <a:pt x="71905" y="1447961"/>
                    </a:moveTo>
                    <a:lnTo>
                      <a:pt x="58666" y="883885"/>
                    </a:lnTo>
                    <a:lnTo>
                      <a:pt x="877360" y="40470"/>
                    </a:lnTo>
                    <a:lnTo>
                      <a:pt x="835697" y="0"/>
                    </a:lnTo>
                    <a:lnTo>
                      <a:pt x="0" y="860858"/>
                    </a:lnTo>
                    <a:lnTo>
                      <a:pt x="13867" y="1449341"/>
                    </a:lnTo>
                    <a:lnTo>
                      <a:pt x="71905" y="1447961"/>
                    </a:lnTo>
                    <a:close/>
                  </a:path>
                </a:pathLst>
              </a:custGeom>
              <a:solidFill>
                <a:schemeClr val="tx1">
                  <a:lumMod val="85000"/>
                  <a:lumOff val="15000"/>
                </a:scheme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18" name="Freeform: Shape 117">
                <a:extLst>
                  <a:ext uri="{FF2B5EF4-FFF2-40B4-BE49-F238E27FC236}">
                    <a16:creationId xmlns:a16="http://schemas.microsoft.com/office/drawing/2014/main" id="{F2CDD58C-982F-7746-4D11-174743912BDF}"/>
                  </a:ext>
                </a:extLst>
              </p:cNvPr>
              <p:cNvSpPr/>
              <p:nvPr/>
            </p:nvSpPr>
            <p:spPr>
              <a:xfrm>
                <a:off x="1905671" y="2386527"/>
                <a:ext cx="194695" cy="194646"/>
              </a:xfrm>
              <a:custGeom>
                <a:avLst/>
                <a:gdLst>
                  <a:gd name="connsiteX0" fmla="*/ 19740 w 194695"/>
                  <a:gd name="connsiteY0" fmla="*/ 155764 h 194646"/>
                  <a:gd name="connsiteX1" fmla="*/ 156122 w 194695"/>
                  <a:gd name="connsiteY1" fmla="*/ 174255 h 194646"/>
                  <a:gd name="connsiteX2" fmla="*/ 174613 w 194695"/>
                  <a:gd name="connsiteY2" fmla="*/ 37879 h 194646"/>
                  <a:gd name="connsiteX3" fmla="*/ 38231 w 194695"/>
                  <a:gd name="connsiteY3" fmla="*/ 19382 h 194646"/>
                  <a:gd name="connsiteX4" fmla="*/ 38187 w 194695"/>
                  <a:gd name="connsiteY4" fmla="*/ 19420 h 194646"/>
                  <a:gd name="connsiteX5" fmla="*/ 19621 w 194695"/>
                  <a:gd name="connsiteY5" fmla="*/ 155607 h 194646"/>
                  <a:gd name="connsiteX6" fmla="*/ 19740 w 194695"/>
                  <a:gd name="connsiteY6" fmla="*/ 155764 h 19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695" h="194646">
                    <a:moveTo>
                      <a:pt x="19740" y="155764"/>
                    </a:moveTo>
                    <a:cubicBezTo>
                      <a:pt x="52292" y="198531"/>
                      <a:pt x="113355" y="206813"/>
                      <a:pt x="156122" y="174255"/>
                    </a:cubicBezTo>
                    <a:cubicBezTo>
                      <a:pt x="198889" y="141703"/>
                      <a:pt x="207165" y="80646"/>
                      <a:pt x="174613" y="37879"/>
                    </a:cubicBezTo>
                    <a:cubicBezTo>
                      <a:pt x="142061" y="-4887"/>
                      <a:pt x="80998" y="-13170"/>
                      <a:pt x="38231" y="19382"/>
                    </a:cubicBezTo>
                    <a:cubicBezTo>
                      <a:pt x="38218" y="19395"/>
                      <a:pt x="38199" y="19408"/>
                      <a:pt x="38187" y="19420"/>
                    </a:cubicBezTo>
                    <a:cubicBezTo>
                      <a:pt x="-4548" y="51903"/>
                      <a:pt x="-12856" y="112878"/>
                      <a:pt x="19621" y="155607"/>
                    </a:cubicBezTo>
                    <a:cubicBezTo>
                      <a:pt x="19665" y="155664"/>
                      <a:pt x="19702" y="155714"/>
                      <a:pt x="19740" y="155764"/>
                    </a:cubicBezTo>
                    <a:close/>
                  </a:path>
                </a:pathLst>
              </a:custGeom>
              <a:solidFill>
                <a:schemeClr val="tx1">
                  <a:lumMod val="85000"/>
                  <a:lumOff val="15000"/>
                </a:scheme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19" name="Freeform: Shape 118">
                <a:extLst>
                  <a:ext uri="{FF2B5EF4-FFF2-40B4-BE49-F238E27FC236}">
                    <a16:creationId xmlns:a16="http://schemas.microsoft.com/office/drawing/2014/main" id="{2C7DB69D-D7CA-ACAE-B118-6EBB73A10010}"/>
                  </a:ext>
                </a:extLst>
              </p:cNvPr>
              <p:cNvSpPr/>
              <p:nvPr/>
            </p:nvSpPr>
            <p:spPr>
              <a:xfrm>
                <a:off x="1776965" y="2501820"/>
                <a:ext cx="436577" cy="746026"/>
              </a:xfrm>
              <a:custGeom>
                <a:avLst/>
                <a:gdLst>
                  <a:gd name="connsiteX0" fmla="*/ 247457 w 436577"/>
                  <a:gd name="connsiteY0" fmla="*/ 19388 h 746026"/>
                  <a:gd name="connsiteX1" fmla="*/ 436381 w 436577"/>
                  <a:gd name="connsiteY1" fmla="*/ 691635 h 746026"/>
                  <a:gd name="connsiteX2" fmla="*/ -196 w 436577"/>
                  <a:gd name="connsiteY2" fmla="*/ 704624 h 746026"/>
                  <a:gd name="connsiteX3" fmla="*/ 194312 w 436577"/>
                  <a:gd name="connsiteY3" fmla="*/ -502 h 746026"/>
                </a:gdLst>
                <a:ahLst/>
                <a:cxnLst>
                  <a:cxn ang="0">
                    <a:pos x="connsiteX0" y="connsiteY0"/>
                  </a:cxn>
                  <a:cxn ang="0">
                    <a:pos x="connsiteX1" y="connsiteY1"/>
                  </a:cxn>
                  <a:cxn ang="0">
                    <a:pos x="connsiteX2" y="connsiteY2"/>
                  </a:cxn>
                  <a:cxn ang="0">
                    <a:pos x="connsiteX3" y="connsiteY3"/>
                  </a:cxn>
                </a:cxnLst>
                <a:rect l="l" t="t" r="r" b="b"/>
                <a:pathLst>
                  <a:path w="436577" h="746026">
                    <a:moveTo>
                      <a:pt x="247457" y="19388"/>
                    </a:moveTo>
                    <a:lnTo>
                      <a:pt x="436381" y="691635"/>
                    </a:lnTo>
                    <a:cubicBezTo>
                      <a:pt x="436381" y="691635"/>
                      <a:pt x="182265" y="803698"/>
                      <a:pt x="-196" y="704624"/>
                    </a:cubicBezTo>
                    <a:lnTo>
                      <a:pt x="194312" y="-502"/>
                    </a:lnTo>
                    <a:close/>
                  </a:path>
                </a:pathLst>
              </a:custGeom>
              <a:solidFill>
                <a:schemeClr val="tx1">
                  <a:lumMod val="85000"/>
                  <a:lumOff val="15000"/>
                </a:schemeClr>
              </a:solidFill>
              <a:ln w="62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67" name="Group 66">
              <a:extLst>
                <a:ext uri="{FF2B5EF4-FFF2-40B4-BE49-F238E27FC236}">
                  <a16:creationId xmlns:a16="http://schemas.microsoft.com/office/drawing/2014/main" id="{5D8D58F1-410A-1813-3117-0D412A6A3EEC}"/>
                </a:ext>
              </a:extLst>
            </p:cNvPr>
            <p:cNvGrpSpPr/>
            <p:nvPr/>
          </p:nvGrpSpPr>
          <p:grpSpPr>
            <a:xfrm>
              <a:off x="9769392" y="957246"/>
              <a:ext cx="360247" cy="406467"/>
              <a:chOff x="3566825" y="576213"/>
              <a:chExt cx="5056061" cy="5704761"/>
            </a:xfrm>
          </p:grpSpPr>
          <p:sp>
            <p:nvSpPr>
              <p:cNvPr id="68" name="Freeform: Shape 67">
                <a:extLst>
                  <a:ext uri="{FF2B5EF4-FFF2-40B4-BE49-F238E27FC236}">
                    <a16:creationId xmlns:a16="http://schemas.microsoft.com/office/drawing/2014/main" id="{D7F6FAC5-23A6-F601-B64A-4748F472D05E}"/>
                  </a:ext>
                </a:extLst>
              </p:cNvPr>
              <p:cNvSpPr/>
              <p:nvPr/>
            </p:nvSpPr>
            <p:spPr>
              <a:xfrm>
                <a:off x="4256055" y="2575845"/>
                <a:ext cx="3339514" cy="446055"/>
              </a:xfrm>
              <a:custGeom>
                <a:avLst/>
                <a:gdLst>
                  <a:gd name="connsiteX0" fmla="*/ 3119838 w 3339514"/>
                  <a:gd name="connsiteY0" fmla="*/ 445184 h 446055"/>
                  <a:gd name="connsiteX1" fmla="*/ 3338246 w 3339514"/>
                  <a:gd name="connsiteY1" fmla="*/ 217536 h 446055"/>
                  <a:gd name="connsiteX2" fmla="*/ 3119838 w 3339514"/>
                  <a:gd name="connsiteY2" fmla="*/ -871 h 446055"/>
                  <a:gd name="connsiteX3" fmla="*/ -1219 w 3339514"/>
                  <a:gd name="connsiteY3" fmla="*/ -871 h 446055"/>
                  <a:gd name="connsiteX4" fmla="*/ -1219 w 3339514"/>
                  <a:gd name="connsiteY4" fmla="*/ 445184 h 446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9514" h="446055">
                    <a:moveTo>
                      <a:pt x="3119838" y="445184"/>
                    </a:moveTo>
                    <a:cubicBezTo>
                      <a:pt x="3242996" y="442612"/>
                      <a:pt x="3340818" y="340695"/>
                      <a:pt x="3338246" y="217536"/>
                    </a:cubicBezTo>
                    <a:cubicBezTo>
                      <a:pt x="3335770" y="97998"/>
                      <a:pt x="3239472" y="1605"/>
                      <a:pt x="3119838" y="-871"/>
                    </a:cubicBezTo>
                    <a:lnTo>
                      <a:pt x="-1219" y="-871"/>
                    </a:lnTo>
                    <a:lnTo>
                      <a:pt x="-1219" y="445184"/>
                    </a:lnTo>
                    <a:close/>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69" name="Freeform: Shape 68">
                <a:extLst>
                  <a:ext uri="{FF2B5EF4-FFF2-40B4-BE49-F238E27FC236}">
                    <a16:creationId xmlns:a16="http://schemas.microsoft.com/office/drawing/2014/main" id="{C5594B0A-9302-C4B0-CB12-B2D61ABC0E55}"/>
                  </a:ext>
                </a:extLst>
              </p:cNvPr>
              <p:cNvSpPr/>
              <p:nvPr/>
            </p:nvSpPr>
            <p:spPr>
              <a:xfrm>
                <a:off x="4084510" y="2232659"/>
                <a:ext cx="3858672" cy="1132141"/>
              </a:xfrm>
              <a:custGeom>
                <a:avLst/>
                <a:gdLst>
                  <a:gd name="connsiteX0" fmla="*/ 3291383 w 3858672"/>
                  <a:gd name="connsiteY0" fmla="*/ 1131270 h 1132141"/>
                  <a:gd name="connsiteX1" fmla="*/ 3857454 w 3858672"/>
                  <a:gd name="connsiteY1" fmla="*/ 565199 h 1132141"/>
                  <a:gd name="connsiteX2" fmla="*/ 3291383 w 3858672"/>
                  <a:gd name="connsiteY2" fmla="*/ -871 h 1132141"/>
                  <a:gd name="connsiteX3" fmla="*/ -1219 w 3858672"/>
                  <a:gd name="connsiteY3" fmla="*/ -871 h 1132141"/>
                  <a:gd name="connsiteX4" fmla="*/ -1219 w 3858672"/>
                  <a:gd name="connsiteY4" fmla="*/ 170579 h 1132141"/>
                  <a:gd name="connsiteX5" fmla="*/ 320630 w 3858672"/>
                  <a:gd name="connsiteY5" fmla="*/ 565199 h 1132141"/>
                  <a:gd name="connsiteX6" fmla="*/ -1219 w 3858672"/>
                  <a:gd name="connsiteY6" fmla="*/ 959820 h 1132141"/>
                  <a:gd name="connsiteX7" fmla="*/ -1219 w 3858672"/>
                  <a:gd name="connsiteY7" fmla="*/ 1131270 h 1132141"/>
                  <a:gd name="connsiteX8" fmla="*/ 3291383 w 3858672"/>
                  <a:gd name="connsiteY8" fmla="*/ 342124 h 1132141"/>
                  <a:gd name="connsiteX9" fmla="*/ 3509792 w 3858672"/>
                  <a:gd name="connsiteY9" fmla="*/ 569772 h 1132141"/>
                  <a:gd name="connsiteX10" fmla="*/ 3291383 w 3858672"/>
                  <a:gd name="connsiteY10" fmla="*/ 788179 h 1132141"/>
                  <a:gd name="connsiteX11" fmla="*/ 170327 w 3858672"/>
                  <a:gd name="connsiteY11" fmla="*/ 788179 h 1132141"/>
                  <a:gd name="connsiteX12" fmla="*/ 170327 w 3858672"/>
                  <a:gd name="connsiteY12" fmla="*/ 342124 h 113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58672" h="1132141">
                    <a:moveTo>
                      <a:pt x="3291383" y="1131270"/>
                    </a:moveTo>
                    <a:cubicBezTo>
                      <a:pt x="3603994" y="1131270"/>
                      <a:pt x="3857454" y="877810"/>
                      <a:pt x="3857454" y="565199"/>
                    </a:cubicBezTo>
                    <a:cubicBezTo>
                      <a:pt x="3857454" y="252589"/>
                      <a:pt x="3603994" y="-871"/>
                      <a:pt x="3291383" y="-871"/>
                    </a:cubicBezTo>
                    <a:lnTo>
                      <a:pt x="-1219" y="-871"/>
                    </a:lnTo>
                    <a:lnTo>
                      <a:pt x="-1219" y="170579"/>
                    </a:lnTo>
                    <a:lnTo>
                      <a:pt x="320630" y="565199"/>
                    </a:lnTo>
                    <a:lnTo>
                      <a:pt x="-1219" y="959820"/>
                    </a:lnTo>
                    <a:lnTo>
                      <a:pt x="-1219" y="1131270"/>
                    </a:lnTo>
                    <a:close/>
                    <a:moveTo>
                      <a:pt x="3291383" y="342124"/>
                    </a:moveTo>
                    <a:cubicBezTo>
                      <a:pt x="3414542" y="344696"/>
                      <a:pt x="3512364" y="446613"/>
                      <a:pt x="3509792" y="569772"/>
                    </a:cubicBezTo>
                    <a:cubicBezTo>
                      <a:pt x="3507315" y="689310"/>
                      <a:pt x="3411017" y="785703"/>
                      <a:pt x="3291383" y="788179"/>
                    </a:cubicBezTo>
                    <a:lnTo>
                      <a:pt x="170327" y="788179"/>
                    </a:lnTo>
                    <a:lnTo>
                      <a:pt x="170327" y="342124"/>
                    </a:lnTo>
                    <a:close/>
                  </a:path>
                </a:pathLst>
              </a:custGeom>
              <a:solidFill>
                <a:srgbClr val="2E3D5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70" name="Freeform: Shape 69">
                <a:extLst>
                  <a:ext uri="{FF2B5EF4-FFF2-40B4-BE49-F238E27FC236}">
                    <a16:creationId xmlns:a16="http://schemas.microsoft.com/office/drawing/2014/main" id="{1078D7CB-3952-B0C3-DA22-DCFBC267C974}"/>
                  </a:ext>
                </a:extLst>
              </p:cNvPr>
              <p:cNvSpPr/>
              <p:nvPr/>
            </p:nvSpPr>
            <p:spPr>
              <a:xfrm>
                <a:off x="4084510" y="2404204"/>
                <a:ext cx="3364610" cy="789146"/>
              </a:xfrm>
              <a:custGeom>
                <a:avLst/>
                <a:gdLst>
                  <a:gd name="connsiteX0" fmla="*/ 3291383 w 3364610"/>
                  <a:gd name="connsiteY0" fmla="*/ 788275 h 789146"/>
                  <a:gd name="connsiteX1" fmla="*/ 3363392 w 3364610"/>
                  <a:gd name="connsiteY1" fmla="*/ 781608 h 789146"/>
                  <a:gd name="connsiteX2" fmla="*/ 3363392 w 3364610"/>
                  <a:gd name="connsiteY2" fmla="*/ 5891 h 789146"/>
                  <a:gd name="connsiteX3" fmla="*/ 3291383 w 3364610"/>
                  <a:gd name="connsiteY3" fmla="*/ -871 h 789146"/>
                  <a:gd name="connsiteX4" fmla="*/ -1219 w 3364610"/>
                  <a:gd name="connsiteY4" fmla="*/ -871 h 789146"/>
                  <a:gd name="connsiteX5" fmla="*/ -1219 w 3364610"/>
                  <a:gd name="connsiteY5" fmla="*/ 788275 h 78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64610" h="789146">
                    <a:moveTo>
                      <a:pt x="3291383" y="788275"/>
                    </a:moveTo>
                    <a:cubicBezTo>
                      <a:pt x="3315577" y="788275"/>
                      <a:pt x="3339675" y="785989"/>
                      <a:pt x="3363392" y="781608"/>
                    </a:cubicBezTo>
                    <a:lnTo>
                      <a:pt x="3363392" y="5891"/>
                    </a:lnTo>
                    <a:cubicBezTo>
                      <a:pt x="3339675" y="1415"/>
                      <a:pt x="3315577" y="-871"/>
                      <a:pt x="3291383" y="-871"/>
                    </a:cubicBezTo>
                    <a:lnTo>
                      <a:pt x="-1219" y="-871"/>
                    </a:lnTo>
                    <a:lnTo>
                      <a:pt x="-1219" y="788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71" name="Freeform: Shape 70">
                <a:extLst>
                  <a:ext uri="{FF2B5EF4-FFF2-40B4-BE49-F238E27FC236}">
                    <a16:creationId xmlns:a16="http://schemas.microsoft.com/office/drawing/2014/main" id="{49E78372-715F-F3C6-489E-813C89BCCE8B}"/>
                  </a:ext>
                </a:extLst>
              </p:cNvPr>
              <p:cNvSpPr/>
              <p:nvPr/>
            </p:nvSpPr>
            <p:spPr>
              <a:xfrm>
                <a:off x="7448930" y="2411158"/>
                <a:ext cx="322516" cy="775715"/>
              </a:xfrm>
              <a:custGeom>
                <a:avLst/>
                <a:gdLst>
                  <a:gd name="connsiteX0" fmla="*/ 321298 w 322516"/>
                  <a:gd name="connsiteY0" fmla="*/ 386986 h 775715"/>
                  <a:gd name="connsiteX1" fmla="*/ -1219 w 322516"/>
                  <a:gd name="connsiteY1" fmla="*/ -871 h 775715"/>
                  <a:gd name="connsiteX2" fmla="*/ -1219 w 322516"/>
                  <a:gd name="connsiteY2" fmla="*/ 774844 h 775715"/>
                  <a:gd name="connsiteX3" fmla="*/ 321298 w 322516"/>
                  <a:gd name="connsiteY3" fmla="*/ 386986 h 775715"/>
                </a:gdLst>
                <a:ahLst/>
                <a:cxnLst>
                  <a:cxn ang="0">
                    <a:pos x="connsiteX0" y="connsiteY0"/>
                  </a:cxn>
                  <a:cxn ang="0">
                    <a:pos x="connsiteX1" y="connsiteY1"/>
                  </a:cxn>
                  <a:cxn ang="0">
                    <a:pos x="connsiteX2" y="connsiteY2"/>
                  </a:cxn>
                  <a:cxn ang="0">
                    <a:pos x="connsiteX3" y="connsiteY3"/>
                  </a:cxn>
                </a:cxnLst>
                <a:rect l="l" t="t" r="r" b="b"/>
                <a:pathLst>
                  <a:path w="322516" h="775715">
                    <a:moveTo>
                      <a:pt x="321298" y="386986"/>
                    </a:moveTo>
                    <a:cubicBezTo>
                      <a:pt x="321298" y="196868"/>
                      <a:pt x="185757" y="33800"/>
                      <a:pt x="-1219" y="-871"/>
                    </a:cubicBezTo>
                    <a:lnTo>
                      <a:pt x="-1219" y="774844"/>
                    </a:lnTo>
                    <a:cubicBezTo>
                      <a:pt x="185662" y="740174"/>
                      <a:pt x="321298" y="577106"/>
                      <a:pt x="321298" y="386986"/>
                    </a:cubicBez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72" name="Freeform: Shape 71">
                <a:extLst>
                  <a:ext uri="{FF2B5EF4-FFF2-40B4-BE49-F238E27FC236}">
                    <a16:creationId xmlns:a16="http://schemas.microsoft.com/office/drawing/2014/main" id="{1B21C9AF-D357-8EEA-88E3-7B559ECA6A03}"/>
                  </a:ext>
                </a:extLst>
              </p:cNvPr>
              <p:cNvSpPr/>
              <p:nvPr/>
            </p:nvSpPr>
            <p:spPr>
              <a:xfrm>
                <a:off x="4084605" y="2503836"/>
                <a:ext cx="3364611" cy="268700"/>
              </a:xfrm>
              <a:custGeom>
                <a:avLst/>
                <a:gdLst>
                  <a:gd name="connsiteX0" fmla="*/ 0 w 3364611"/>
                  <a:gd name="connsiteY0" fmla="*/ 0 h 268700"/>
                  <a:gd name="connsiteX1" fmla="*/ 3364611 w 3364611"/>
                  <a:gd name="connsiteY1" fmla="*/ 0 h 268700"/>
                  <a:gd name="connsiteX2" fmla="*/ 3364611 w 3364611"/>
                  <a:gd name="connsiteY2" fmla="*/ 268700 h 268700"/>
                  <a:gd name="connsiteX3" fmla="*/ 0 w 3364611"/>
                  <a:gd name="connsiteY3" fmla="*/ 268700 h 268700"/>
                </a:gdLst>
                <a:ahLst/>
                <a:cxnLst>
                  <a:cxn ang="0">
                    <a:pos x="connsiteX0" y="connsiteY0"/>
                  </a:cxn>
                  <a:cxn ang="0">
                    <a:pos x="connsiteX1" y="connsiteY1"/>
                  </a:cxn>
                  <a:cxn ang="0">
                    <a:pos x="connsiteX2" y="connsiteY2"/>
                  </a:cxn>
                  <a:cxn ang="0">
                    <a:pos x="connsiteX3" y="connsiteY3"/>
                  </a:cxn>
                </a:cxnLst>
                <a:rect l="l" t="t" r="r" b="b"/>
                <a:pathLst>
                  <a:path w="3364611" h="268700">
                    <a:moveTo>
                      <a:pt x="0" y="0"/>
                    </a:moveTo>
                    <a:lnTo>
                      <a:pt x="3364611" y="0"/>
                    </a:lnTo>
                    <a:lnTo>
                      <a:pt x="3364611" y="268700"/>
                    </a:lnTo>
                    <a:lnTo>
                      <a:pt x="0" y="268700"/>
                    </a:lnTo>
                    <a:close/>
                  </a:path>
                </a:pathLst>
              </a:custGeom>
              <a:solidFill>
                <a:srgbClr val="F4F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73" name="Freeform: Shape 72">
                <a:extLst>
                  <a:ext uri="{FF2B5EF4-FFF2-40B4-BE49-F238E27FC236}">
                    <a16:creationId xmlns:a16="http://schemas.microsoft.com/office/drawing/2014/main" id="{69BE8D65-22EC-64EF-2C28-1419FF036538}"/>
                  </a:ext>
                </a:extLst>
              </p:cNvPr>
              <p:cNvSpPr/>
              <p:nvPr/>
            </p:nvSpPr>
            <p:spPr>
              <a:xfrm>
                <a:off x="4084605" y="2915506"/>
                <a:ext cx="3364611" cy="106394"/>
              </a:xfrm>
              <a:custGeom>
                <a:avLst/>
                <a:gdLst>
                  <a:gd name="connsiteX0" fmla="*/ 0 w 3364611"/>
                  <a:gd name="connsiteY0" fmla="*/ 0 h 106394"/>
                  <a:gd name="connsiteX1" fmla="*/ 3364611 w 3364611"/>
                  <a:gd name="connsiteY1" fmla="*/ 0 h 106394"/>
                  <a:gd name="connsiteX2" fmla="*/ 3364611 w 3364611"/>
                  <a:gd name="connsiteY2" fmla="*/ 106394 h 106394"/>
                  <a:gd name="connsiteX3" fmla="*/ 0 w 3364611"/>
                  <a:gd name="connsiteY3" fmla="*/ 106394 h 106394"/>
                </a:gdLst>
                <a:ahLst/>
                <a:cxnLst>
                  <a:cxn ang="0">
                    <a:pos x="connsiteX0" y="connsiteY0"/>
                  </a:cxn>
                  <a:cxn ang="0">
                    <a:pos x="connsiteX1" y="connsiteY1"/>
                  </a:cxn>
                  <a:cxn ang="0">
                    <a:pos x="connsiteX2" y="connsiteY2"/>
                  </a:cxn>
                  <a:cxn ang="0">
                    <a:pos x="connsiteX3" y="connsiteY3"/>
                  </a:cxn>
                </a:cxnLst>
                <a:rect l="l" t="t" r="r" b="b"/>
                <a:pathLst>
                  <a:path w="3364611" h="106394">
                    <a:moveTo>
                      <a:pt x="0" y="0"/>
                    </a:moveTo>
                    <a:lnTo>
                      <a:pt x="3364611" y="0"/>
                    </a:lnTo>
                    <a:lnTo>
                      <a:pt x="3364611" y="106394"/>
                    </a:lnTo>
                    <a:lnTo>
                      <a:pt x="0" y="106394"/>
                    </a:lnTo>
                    <a:close/>
                  </a:path>
                </a:pathLst>
              </a:custGeom>
              <a:solidFill>
                <a:srgbClr val="F4F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74" name="Freeform: Shape 73">
                <a:extLst>
                  <a:ext uri="{FF2B5EF4-FFF2-40B4-BE49-F238E27FC236}">
                    <a16:creationId xmlns:a16="http://schemas.microsoft.com/office/drawing/2014/main" id="{E43AF9ED-157B-BE81-D89B-EFD9D71CD87F}"/>
                  </a:ext>
                </a:extLst>
              </p:cNvPr>
              <p:cNvSpPr/>
              <p:nvPr/>
            </p:nvSpPr>
            <p:spPr>
              <a:xfrm>
                <a:off x="5256227" y="816528"/>
                <a:ext cx="2583798" cy="312423"/>
              </a:xfrm>
              <a:custGeom>
                <a:avLst/>
                <a:gdLst>
                  <a:gd name="connsiteX0" fmla="*/ 158849 w 2583798"/>
                  <a:gd name="connsiteY0" fmla="*/ -823 h 312423"/>
                  <a:gd name="connsiteX1" fmla="*/ -1172 w 2583798"/>
                  <a:gd name="connsiteY1" fmla="*/ 151483 h 312423"/>
                  <a:gd name="connsiteX2" fmla="*/ 151134 w 2583798"/>
                  <a:gd name="connsiteY2" fmla="*/ 311503 h 312423"/>
                  <a:gd name="connsiteX3" fmla="*/ 158849 w 2583798"/>
                  <a:gd name="connsiteY3" fmla="*/ 311503 h 312423"/>
                  <a:gd name="connsiteX4" fmla="*/ 2582580 w 2583798"/>
                  <a:gd name="connsiteY4" fmla="*/ 311503 h 312423"/>
                  <a:gd name="connsiteX5" fmla="*/ 2582580 w 2583798"/>
                  <a:gd name="connsiteY5" fmla="*/ -823 h 31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3798" h="312423">
                    <a:moveTo>
                      <a:pt x="158849" y="-823"/>
                    </a:moveTo>
                    <a:cubicBezTo>
                      <a:pt x="72647" y="-2956"/>
                      <a:pt x="925" y="65234"/>
                      <a:pt x="-1172" y="151483"/>
                    </a:cubicBezTo>
                    <a:cubicBezTo>
                      <a:pt x="-3267" y="237732"/>
                      <a:pt x="64933" y="309369"/>
                      <a:pt x="151134" y="311503"/>
                    </a:cubicBezTo>
                    <a:cubicBezTo>
                      <a:pt x="153705" y="311569"/>
                      <a:pt x="156277" y="311569"/>
                      <a:pt x="158849" y="311503"/>
                    </a:cubicBezTo>
                    <a:lnTo>
                      <a:pt x="2582580" y="311503"/>
                    </a:lnTo>
                    <a:lnTo>
                      <a:pt x="2582580" y="-823"/>
                    </a:lnTo>
                    <a:close/>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75" name="Freeform: Shape 74">
                <a:extLst>
                  <a:ext uri="{FF2B5EF4-FFF2-40B4-BE49-F238E27FC236}">
                    <a16:creationId xmlns:a16="http://schemas.microsoft.com/office/drawing/2014/main" id="{527FC6DA-455B-0694-E59F-7C68B08CF1D8}"/>
                  </a:ext>
                </a:extLst>
              </p:cNvPr>
              <p:cNvSpPr/>
              <p:nvPr/>
            </p:nvSpPr>
            <p:spPr>
              <a:xfrm>
                <a:off x="5013623" y="576213"/>
                <a:ext cx="2946513" cy="793054"/>
              </a:xfrm>
              <a:custGeom>
                <a:avLst/>
                <a:gdLst>
                  <a:gd name="connsiteX0" fmla="*/ 401453 w 2946513"/>
                  <a:gd name="connsiteY0" fmla="*/ -823 h 793054"/>
                  <a:gd name="connsiteX1" fmla="*/ -1169 w 2946513"/>
                  <a:gd name="connsiteY1" fmla="*/ 389512 h 793054"/>
                  <a:gd name="connsiteX2" fmla="*/ 389165 w 2946513"/>
                  <a:gd name="connsiteY2" fmla="*/ 792134 h 793054"/>
                  <a:gd name="connsiteX3" fmla="*/ 401453 w 2946513"/>
                  <a:gd name="connsiteY3" fmla="*/ 792134 h 793054"/>
                  <a:gd name="connsiteX4" fmla="*/ 2945295 w 2946513"/>
                  <a:gd name="connsiteY4" fmla="*/ 792134 h 793054"/>
                  <a:gd name="connsiteX5" fmla="*/ 2945295 w 2946513"/>
                  <a:gd name="connsiteY5" fmla="*/ 672023 h 793054"/>
                  <a:gd name="connsiteX6" fmla="*/ 2744508 w 2946513"/>
                  <a:gd name="connsiteY6" fmla="*/ 408276 h 793054"/>
                  <a:gd name="connsiteX7" fmla="*/ 2945295 w 2946513"/>
                  <a:gd name="connsiteY7" fmla="*/ 119383 h 793054"/>
                  <a:gd name="connsiteX8" fmla="*/ 2945295 w 2946513"/>
                  <a:gd name="connsiteY8" fmla="*/ -823 h 793054"/>
                  <a:gd name="connsiteX9" fmla="*/ 401453 w 2946513"/>
                  <a:gd name="connsiteY9" fmla="*/ 551627 h 793054"/>
                  <a:gd name="connsiteX10" fmla="*/ 241432 w 2946513"/>
                  <a:gd name="connsiteY10" fmla="*/ 399323 h 793054"/>
                  <a:gd name="connsiteX11" fmla="*/ 393738 w 2946513"/>
                  <a:gd name="connsiteY11" fmla="*/ 239303 h 793054"/>
                  <a:gd name="connsiteX12" fmla="*/ 401453 w 2946513"/>
                  <a:gd name="connsiteY12" fmla="*/ 239303 h 793054"/>
                  <a:gd name="connsiteX13" fmla="*/ 2825184 w 2946513"/>
                  <a:gd name="connsiteY13" fmla="*/ 239303 h 793054"/>
                  <a:gd name="connsiteX14" fmla="*/ 2825184 w 2946513"/>
                  <a:gd name="connsiteY14" fmla="*/ 551627 h 79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46513" h="793054">
                    <a:moveTo>
                      <a:pt x="401453" y="-823"/>
                    </a:moveTo>
                    <a:cubicBezTo>
                      <a:pt x="182473" y="-4214"/>
                      <a:pt x="2260" y="170542"/>
                      <a:pt x="-1169" y="389512"/>
                    </a:cubicBezTo>
                    <a:cubicBezTo>
                      <a:pt x="-4598" y="608482"/>
                      <a:pt x="170186" y="788742"/>
                      <a:pt x="389165" y="792134"/>
                    </a:cubicBezTo>
                    <a:cubicBezTo>
                      <a:pt x="393262" y="792200"/>
                      <a:pt x="397358" y="792200"/>
                      <a:pt x="401453" y="792134"/>
                    </a:cubicBezTo>
                    <a:lnTo>
                      <a:pt x="2945295" y="792134"/>
                    </a:lnTo>
                    <a:lnTo>
                      <a:pt x="2945295" y="672023"/>
                    </a:lnTo>
                    <a:lnTo>
                      <a:pt x="2744508" y="408276"/>
                    </a:lnTo>
                    <a:lnTo>
                      <a:pt x="2945295" y="119383"/>
                    </a:lnTo>
                    <a:lnTo>
                      <a:pt x="2945295" y="-823"/>
                    </a:lnTo>
                    <a:close/>
                    <a:moveTo>
                      <a:pt x="401453" y="551627"/>
                    </a:moveTo>
                    <a:cubicBezTo>
                      <a:pt x="315251" y="553761"/>
                      <a:pt x="243529" y="485571"/>
                      <a:pt x="241432" y="399323"/>
                    </a:cubicBezTo>
                    <a:cubicBezTo>
                      <a:pt x="239337" y="313074"/>
                      <a:pt x="307537" y="241436"/>
                      <a:pt x="393738" y="239303"/>
                    </a:cubicBezTo>
                    <a:cubicBezTo>
                      <a:pt x="396309" y="239236"/>
                      <a:pt x="398881" y="239236"/>
                      <a:pt x="401453" y="239303"/>
                    </a:cubicBezTo>
                    <a:lnTo>
                      <a:pt x="2825184" y="239303"/>
                    </a:lnTo>
                    <a:lnTo>
                      <a:pt x="2825184" y="551627"/>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76" name="Freeform: Shape 75">
                <a:extLst>
                  <a:ext uri="{FF2B5EF4-FFF2-40B4-BE49-F238E27FC236}">
                    <a16:creationId xmlns:a16="http://schemas.microsoft.com/office/drawing/2014/main" id="{D860A861-2DFB-AA00-44E8-82ACDDB8D089}"/>
                  </a:ext>
                </a:extLst>
              </p:cNvPr>
              <p:cNvSpPr/>
              <p:nvPr/>
            </p:nvSpPr>
            <p:spPr>
              <a:xfrm>
                <a:off x="5365812" y="696277"/>
                <a:ext cx="2594325" cy="552450"/>
              </a:xfrm>
              <a:custGeom>
                <a:avLst/>
                <a:gdLst>
                  <a:gd name="connsiteX0" fmla="*/ 49264 w 2594325"/>
                  <a:gd name="connsiteY0" fmla="*/ -681 h 552450"/>
                  <a:gd name="connsiteX1" fmla="*/ -1219 w 2594325"/>
                  <a:gd name="connsiteY1" fmla="*/ 3986 h 552450"/>
                  <a:gd name="connsiteX2" fmla="*/ -1219 w 2594325"/>
                  <a:gd name="connsiteY2" fmla="*/ 546911 h 552450"/>
                  <a:gd name="connsiteX3" fmla="*/ 49264 w 2594325"/>
                  <a:gd name="connsiteY3" fmla="*/ 551579 h 552450"/>
                  <a:gd name="connsiteX4" fmla="*/ 2593107 w 2594325"/>
                  <a:gd name="connsiteY4" fmla="*/ 551579 h 552450"/>
                  <a:gd name="connsiteX5" fmla="*/ 2593107 w 2594325"/>
                  <a:gd name="connsiteY5" fmla="*/ -871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4325" h="552450">
                    <a:moveTo>
                      <a:pt x="49264" y="-681"/>
                    </a:moveTo>
                    <a:cubicBezTo>
                      <a:pt x="32310" y="-681"/>
                      <a:pt x="15450" y="881"/>
                      <a:pt x="-1219" y="3986"/>
                    </a:cubicBezTo>
                    <a:lnTo>
                      <a:pt x="-1219" y="546911"/>
                    </a:lnTo>
                    <a:cubicBezTo>
                      <a:pt x="15450" y="549969"/>
                      <a:pt x="32310" y="551531"/>
                      <a:pt x="49264" y="551579"/>
                    </a:cubicBezTo>
                    <a:lnTo>
                      <a:pt x="2593107" y="551579"/>
                    </a:lnTo>
                    <a:lnTo>
                      <a:pt x="2593107" y="-87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77" name="Freeform: Shape 76">
                <a:extLst>
                  <a:ext uri="{FF2B5EF4-FFF2-40B4-BE49-F238E27FC236}">
                    <a16:creationId xmlns:a16="http://schemas.microsoft.com/office/drawing/2014/main" id="{0161D87A-EB40-9BE5-46B2-7BA6FC65B00D}"/>
                  </a:ext>
                </a:extLst>
              </p:cNvPr>
              <p:cNvSpPr/>
              <p:nvPr/>
            </p:nvSpPr>
            <p:spPr>
              <a:xfrm>
                <a:off x="5139975" y="701515"/>
                <a:ext cx="225837" cy="542925"/>
              </a:xfrm>
              <a:custGeom>
                <a:avLst/>
                <a:gdLst>
                  <a:gd name="connsiteX0" fmla="*/ -1219 w 225837"/>
                  <a:gd name="connsiteY0" fmla="*/ 270401 h 542925"/>
                  <a:gd name="connsiteX1" fmla="*/ 224619 w 225837"/>
                  <a:gd name="connsiteY1" fmla="*/ 542054 h 542925"/>
                  <a:gd name="connsiteX2" fmla="*/ 224619 w 225837"/>
                  <a:gd name="connsiteY2" fmla="*/ -871 h 542925"/>
                  <a:gd name="connsiteX3" fmla="*/ -1219 w 225837"/>
                  <a:gd name="connsiteY3" fmla="*/ 270401 h 542925"/>
                </a:gdLst>
                <a:ahLst/>
                <a:cxnLst>
                  <a:cxn ang="0">
                    <a:pos x="connsiteX0" y="connsiteY0"/>
                  </a:cxn>
                  <a:cxn ang="0">
                    <a:pos x="connsiteX1" y="connsiteY1"/>
                  </a:cxn>
                  <a:cxn ang="0">
                    <a:pos x="connsiteX2" y="connsiteY2"/>
                  </a:cxn>
                  <a:cxn ang="0">
                    <a:pos x="connsiteX3" y="connsiteY3"/>
                  </a:cxn>
                </a:cxnLst>
                <a:rect l="l" t="t" r="r" b="b"/>
                <a:pathLst>
                  <a:path w="225837" h="542925">
                    <a:moveTo>
                      <a:pt x="-1219" y="270401"/>
                    </a:moveTo>
                    <a:cubicBezTo>
                      <a:pt x="-1219" y="403551"/>
                      <a:pt x="93745" y="517765"/>
                      <a:pt x="224619" y="542054"/>
                    </a:cubicBezTo>
                    <a:lnTo>
                      <a:pt x="224619" y="-871"/>
                    </a:lnTo>
                    <a:cubicBezTo>
                      <a:pt x="93841" y="23389"/>
                      <a:pt x="-1028" y="137403"/>
                      <a:pt x="-1219" y="270401"/>
                    </a:cubicBezTo>
                    <a:close/>
                  </a:path>
                </a:pathLst>
              </a:custGeom>
              <a:solidFill>
                <a:srgbClr val="2E3D5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78" name="Freeform: Shape 77">
                <a:extLst>
                  <a:ext uri="{FF2B5EF4-FFF2-40B4-BE49-F238E27FC236}">
                    <a16:creationId xmlns:a16="http://schemas.microsoft.com/office/drawing/2014/main" id="{EF31D5F2-4C82-C463-F9CB-01443C8A79AD}"/>
                  </a:ext>
                </a:extLst>
              </p:cNvPr>
              <p:cNvSpPr/>
              <p:nvPr/>
            </p:nvSpPr>
            <p:spPr>
              <a:xfrm>
                <a:off x="5365813" y="794384"/>
                <a:ext cx="2594324" cy="106679"/>
              </a:xfrm>
              <a:custGeom>
                <a:avLst/>
                <a:gdLst>
                  <a:gd name="connsiteX0" fmla="*/ 0 w 2594324"/>
                  <a:gd name="connsiteY0" fmla="*/ 0 h 106679"/>
                  <a:gd name="connsiteX1" fmla="*/ 2594324 w 2594324"/>
                  <a:gd name="connsiteY1" fmla="*/ 0 h 106679"/>
                  <a:gd name="connsiteX2" fmla="*/ 2594324 w 2594324"/>
                  <a:gd name="connsiteY2" fmla="*/ 106680 h 106679"/>
                  <a:gd name="connsiteX3" fmla="*/ 0 w 2594324"/>
                  <a:gd name="connsiteY3" fmla="*/ 106680 h 106679"/>
                </a:gdLst>
                <a:ahLst/>
                <a:cxnLst>
                  <a:cxn ang="0">
                    <a:pos x="connsiteX0" y="connsiteY0"/>
                  </a:cxn>
                  <a:cxn ang="0">
                    <a:pos x="connsiteX1" y="connsiteY1"/>
                  </a:cxn>
                  <a:cxn ang="0">
                    <a:pos x="connsiteX2" y="connsiteY2"/>
                  </a:cxn>
                  <a:cxn ang="0">
                    <a:pos x="connsiteX3" y="connsiteY3"/>
                  </a:cxn>
                </a:cxnLst>
                <a:rect l="l" t="t" r="r" b="b"/>
                <a:pathLst>
                  <a:path w="2594324" h="106679">
                    <a:moveTo>
                      <a:pt x="0" y="0"/>
                    </a:moveTo>
                    <a:lnTo>
                      <a:pt x="2594324" y="0"/>
                    </a:lnTo>
                    <a:lnTo>
                      <a:pt x="2594324" y="106680"/>
                    </a:lnTo>
                    <a:lnTo>
                      <a:pt x="0" y="106680"/>
                    </a:lnTo>
                    <a:close/>
                  </a:path>
                </a:pathLst>
              </a:custGeom>
              <a:solidFill>
                <a:srgbClr val="F4F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79" name="Freeform: Shape 78">
                <a:extLst>
                  <a:ext uri="{FF2B5EF4-FFF2-40B4-BE49-F238E27FC236}">
                    <a16:creationId xmlns:a16="http://schemas.microsoft.com/office/drawing/2014/main" id="{865BE884-2575-3734-38A8-FB259BA21259}"/>
                  </a:ext>
                </a:extLst>
              </p:cNvPr>
              <p:cNvSpPr/>
              <p:nvPr/>
            </p:nvSpPr>
            <p:spPr>
              <a:xfrm>
                <a:off x="5365813" y="950594"/>
                <a:ext cx="2594324" cy="152495"/>
              </a:xfrm>
              <a:custGeom>
                <a:avLst/>
                <a:gdLst>
                  <a:gd name="connsiteX0" fmla="*/ 0 w 2594324"/>
                  <a:gd name="connsiteY0" fmla="*/ 0 h 152495"/>
                  <a:gd name="connsiteX1" fmla="*/ 2594324 w 2594324"/>
                  <a:gd name="connsiteY1" fmla="*/ 0 h 152495"/>
                  <a:gd name="connsiteX2" fmla="*/ 2594324 w 2594324"/>
                  <a:gd name="connsiteY2" fmla="*/ 152495 h 152495"/>
                  <a:gd name="connsiteX3" fmla="*/ 0 w 2594324"/>
                  <a:gd name="connsiteY3" fmla="*/ 152495 h 152495"/>
                </a:gdLst>
                <a:ahLst/>
                <a:cxnLst>
                  <a:cxn ang="0">
                    <a:pos x="connsiteX0" y="connsiteY0"/>
                  </a:cxn>
                  <a:cxn ang="0">
                    <a:pos x="connsiteX1" y="connsiteY1"/>
                  </a:cxn>
                  <a:cxn ang="0">
                    <a:pos x="connsiteX2" y="connsiteY2"/>
                  </a:cxn>
                  <a:cxn ang="0">
                    <a:pos x="connsiteX3" y="connsiteY3"/>
                  </a:cxn>
                </a:cxnLst>
                <a:rect l="l" t="t" r="r" b="b"/>
                <a:pathLst>
                  <a:path w="2594324" h="152495">
                    <a:moveTo>
                      <a:pt x="0" y="0"/>
                    </a:moveTo>
                    <a:lnTo>
                      <a:pt x="2594324" y="0"/>
                    </a:lnTo>
                    <a:lnTo>
                      <a:pt x="2594324" y="152495"/>
                    </a:lnTo>
                    <a:lnTo>
                      <a:pt x="0" y="152495"/>
                    </a:lnTo>
                    <a:close/>
                  </a:path>
                </a:pathLst>
              </a:custGeom>
              <a:solidFill>
                <a:srgbClr val="F4F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80" name="Freeform: Shape 79">
                <a:extLst>
                  <a:ext uri="{FF2B5EF4-FFF2-40B4-BE49-F238E27FC236}">
                    <a16:creationId xmlns:a16="http://schemas.microsoft.com/office/drawing/2014/main" id="{21ECB5D8-C692-6216-5BBD-98FE39F1C1BF}"/>
                  </a:ext>
                </a:extLst>
              </p:cNvPr>
              <p:cNvSpPr/>
              <p:nvPr/>
            </p:nvSpPr>
            <p:spPr>
              <a:xfrm>
                <a:off x="3906296" y="5389054"/>
                <a:ext cx="4716399" cy="111537"/>
              </a:xfrm>
              <a:custGeom>
                <a:avLst/>
                <a:gdLst>
                  <a:gd name="connsiteX0" fmla="*/ 4600976 w 4716399"/>
                  <a:gd name="connsiteY0" fmla="*/ -871 h 111537"/>
                  <a:gd name="connsiteX1" fmla="*/ 113081 w 4716399"/>
                  <a:gd name="connsiteY1" fmla="*/ -871 h 111537"/>
                  <a:gd name="connsiteX2" fmla="*/ -1219 w 4716399"/>
                  <a:gd name="connsiteY2" fmla="*/ 110666 h 111537"/>
                  <a:gd name="connsiteX3" fmla="*/ 4715181 w 4716399"/>
                  <a:gd name="connsiteY3" fmla="*/ 110666 h 111537"/>
                  <a:gd name="connsiteX4" fmla="*/ 4600976 w 4716399"/>
                  <a:gd name="connsiteY4" fmla="*/ -871 h 11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6399" h="111537">
                    <a:moveTo>
                      <a:pt x="4600976" y="-871"/>
                    </a:moveTo>
                    <a:lnTo>
                      <a:pt x="113081" y="-871"/>
                    </a:lnTo>
                    <a:cubicBezTo>
                      <a:pt x="50978" y="-871"/>
                      <a:pt x="306" y="48658"/>
                      <a:pt x="-1219" y="110666"/>
                    </a:cubicBezTo>
                    <a:lnTo>
                      <a:pt x="4715181" y="110666"/>
                    </a:lnTo>
                    <a:cubicBezTo>
                      <a:pt x="4713657" y="48658"/>
                      <a:pt x="4662984" y="-871"/>
                      <a:pt x="4600976" y="-871"/>
                    </a:cubicBezTo>
                    <a:close/>
                  </a:path>
                </a:pathLst>
              </a:custGeom>
              <a:solidFill>
                <a:srgbClr val="2E3D5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81" name="Freeform: Shape 80">
                <a:extLst>
                  <a:ext uri="{FF2B5EF4-FFF2-40B4-BE49-F238E27FC236}">
                    <a16:creationId xmlns:a16="http://schemas.microsoft.com/office/drawing/2014/main" id="{91FCE9A3-6F7D-1259-2BBA-83A0A27344FD}"/>
                  </a:ext>
                </a:extLst>
              </p:cNvPr>
              <p:cNvSpPr/>
              <p:nvPr/>
            </p:nvSpPr>
            <p:spPr>
              <a:xfrm>
                <a:off x="3906392" y="6169436"/>
                <a:ext cx="4716399" cy="111538"/>
              </a:xfrm>
              <a:custGeom>
                <a:avLst/>
                <a:gdLst>
                  <a:gd name="connsiteX0" fmla="*/ 112986 w 4716399"/>
                  <a:gd name="connsiteY0" fmla="*/ 110667 h 111538"/>
                  <a:gd name="connsiteX1" fmla="*/ 4600881 w 4716399"/>
                  <a:gd name="connsiteY1" fmla="*/ 110667 h 111538"/>
                  <a:gd name="connsiteX2" fmla="*/ 4715181 w 4716399"/>
                  <a:gd name="connsiteY2" fmla="*/ -871 h 111538"/>
                  <a:gd name="connsiteX3" fmla="*/ -1219 w 4716399"/>
                  <a:gd name="connsiteY3" fmla="*/ -871 h 111538"/>
                  <a:gd name="connsiteX4" fmla="*/ 112986 w 4716399"/>
                  <a:gd name="connsiteY4" fmla="*/ 110667 h 111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6399" h="111538">
                    <a:moveTo>
                      <a:pt x="112986" y="110667"/>
                    </a:moveTo>
                    <a:lnTo>
                      <a:pt x="4600881" y="110667"/>
                    </a:lnTo>
                    <a:cubicBezTo>
                      <a:pt x="4662984" y="110667"/>
                      <a:pt x="4713657" y="61137"/>
                      <a:pt x="4715181" y="-871"/>
                    </a:cubicBezTo>
                    <a:lnTo>
                      <a:pt x="-1219" y="-871"/>
                    </a:lnTo>
                    <a:cubicBezTo>
                      <a:pt x="306" y="61137"/>
                      <a:pt x="50978" y="110667"/>
                      <a:pt x="112986" y="110667"/>
                    </a:cubicBezTo>
                    <a:close/>
                  </a:path>
                </a:pathLst>
              </a:custGeom>
              <a:solidFill>
                <a:srgbClr val="2E3D5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82" name="Freeform: Shape 81">
                <a:extLst>
                  <a:ext uri="{FF2B5EF4-FFF2-40B4-BE49-F238E27FC236}">
                    <a16:creationId xmlns:a16="http://schemas.microsoft.com/office/drawing/2014/main" id="{1799395D-A4F7-4BDA-B26E-3FC3E8E201C2}"/>
                  </a:ext>
                </a:extLst>
              </p:cNvPr>
              <p:cNvSpPr/>
              <p:nvPr/>
            </p:nvSpPr>
            <p:spPr>
              <a:xfrm>
                <a:off x="3906392" y="5500591"/>
                <a:ext cx="4716494" cy="668845"/>
              </a:xfrm>
              <a:custGeom>
                <a:avLst/>
                <a:gdLst>
                  <a:gd name="connsiteX0" fmla="*/ 4715276 w 4716494"/>
                  <a:gd name="connsiteY0" fmla="*/ 1987 h 668845"/>
                  <a:gd name="connsiteX1" fmla="*/ 4715276 w 4716494"/>
                  <a:gd name="connsiteY1" fmla="*/ -871 h 668845"/>
                  <a:gd name="connsiteX2" fmla="*/ -1219 w 4716494"/>
                  <a:gd name="connsiteY2" fmla="*/ -871 h 668845"/>
                  <a:gd name="connsiteX3" fmla="*/ -1219 w 4716494"/>
                  <a:gd name="connsiteY3" fmla="*/ 1987 h 668845"/>
                  <a:gd name="connsiteX4" fmla="*/ -1219 w 4716494"/>
                  <a:gd name="connsiteY4" fmla="*/ 665117 h 668845"/>
                  <a:gd name="connsiteX5" fmla="*/ -1219 w 4716494"/>
                  <a:gd name="connsiteY5" fmla="*/ 667974 h 668845"/>
                  <a:gd name="connsiteX6" fmla="*/ 4715181 w 4716494"/>
                  <a:gd name="connsiteY6" fmla="*/ 667974 h 668845"/>
                  <a:gd name="connsiteX7" fmla="*/ 4715181 w 4716494"/>
                  <a:gd name="connsiteY7" fmla="*/ 665117 h 66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6494" h="668845">
                    <a:moveTo>
                      <a:pt x="4715276" y="1987"/>
                    </a:moveTo>
                    <a:cubicBezTo>
                      <a:pt x="4715276" y="1034"/>
                      <a:pt x="4715276" y="81"/>
                      <a:pt x="4715276" y="-871"/>
                    </a:cubicBezTo>
                    <a:lnTo>
                      <a:pt x="-1219" y="-871"/>
                    </a:lnTo>
                    <a:cubicBezTo>
                      <a:pt x="-1219" y="81"/>
                      <a:pt x="-1219" y="1034"/>
                      <a:pt x="-1219" y="1987"/>
                    </a:cubicBezTo>
                    <a:lnTo>
                      <a:pt x="-1219" y="665117"/>
                    </a:lnTo>
                    <a:cubicBezTo>
                      <a:pt x="-1219" y="666069"/>
                      <a:pt x="-1219" y="667022"/>
                      <a:pt x="-1219" y="667974"/>
                    </a:cubicBezTo>
                    <a:lnTo>
                      <a:pt x="4715181" y="667974"/>
                    </a:lnTo>
                    <a:cubicBezTo>
                      <a:pt x="4715181" y="667022"/>
                      <a:pt x="4715181" y="666069"/>
                      <a:pt x="4715181" y="66511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83" name="Freeform: Shape 82">
                <a:extLst>
                  <a:ext uri="{FF2B5EF4-FFF2-40B4-BE49-F238E27FC236}">
                    <a16:creationId xmlns:a16="http://schemas.microsoft.com/office/drawing/2014/main" id="{45D344A2-D72B-D949-5450-C3017814D2AD}"/>
                  </a:ext>
                </a:extLst>
              </p:cNvPr>
              <p:cNvSpPr/>
              <p:nvPr/>
            </p:nvSpPr>
            <p:spPr>
              <a:xfrm>
                <a:off x="3906202" y="5642800"/>
                <a:ext cx="4716494" cy="192214"/>
              </a:xfrm>
              <a:custGeom>
                <a:avLst/>
                <a:gdLst>
                  <a:gd name="connsiteX0" fmla="*/ 0 w 4716494"/>
                  <a:gd name="connsiteY0" fmla="*/ 0 h 192214"/>
                  <a:gd name="connsiteX1" fmla="*/ 4716495 w 4716494"/>
                  <a:gd name="connsiteY1" fmla="*/ 0 h 192214"/>
                  <a:gd name="connsiteX2" fmla="*/ 4716495 w 4716494"/>
                  <a:gd name="connsiteY2" fmla="*/ 192214 h 192214"/>
                  <a:gd name="connsiteX3" fmla="*/ 0 w 4716494"/>
                  <a:gd name="connsiteY3" fmla="*/ 192214 h 192214"/>
                </a:gdLst>
                <a:ahLst/>
                <a:cxnLst>
                  <a:cxn ang="0">
                    <a:pos x="connsiteX0" y="connsiteY0"/>
                  </a:cxn>
                  <a:cxn ang="0">
                    <a:pos x="connsiteX1" y="connsiteY1"/>
                  </a:cxn>
                  <a:cxn ang="0">
                    <a:pos x="connsiteX2" y="connsiteY2"/>
                  </a:cxn>
                  <a:cxn ang="0">
                    <a:pos x="connsiteX3" y="connsiteY3"/>
                  </a:cxn>
                </a:cxnLst>
                <a:rect l="l" t="t" r="r" b="b"/>
                <a:pathLst>
                  <a:path w="4716494" h="192214">
                    <a:moveTo>
                      <a:pt x="0" y="0"/>
                    </a:moveTo>
                    <a:lnTo>
                      <a:pt x="4716495" y="0"/>
                    </a:lnTo>
                    <a:lnTo>
                      <a:pt x="4716495" y="192214"/>
                    </a:lnTo>
                    <a:lnTo>
                      <a:pt x="0" y="192214"/>
                    </a:lnTo>
                    <a:close/>
                  </a:path>
                </a:pathLst>
              </a:custGeom>
              <a:solidFill>
                <a:srgbClr val="F4F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84" name="Freeform: Shape 83">
                <a:extLst>
                  <a:ext uri="{FF2B5EF4-FFF2-40B4-BE49-F238E27FC236}">
                    <a16:creationId xmlns:a16="http://schemas.microsoft.com/office/drawing/2014/main" id="{A2D71941-4325-C059-9E51-31BA05C80D4B}"/>
                  </a:ext>
                </a:extLst>
              </p:cNvPr>
              <p:cNvSpPr/>
              <p:nvPr/>
            </p:nvSpPr>
            <p:spPr>
              <a:xfrm>
                <a:off x="3906202" y="5940075"/>
                <a:ext cx="4716494" cy="80009"/>
              </a:xfrm>
              <a:custGeom>
                <a:avLst/>
                <a:gdLst>
                  <a:gd name="connsiteX0" fmla="*/ 0 w 4716494"/>
                  <a:gd name="connsiteY0" fmla="*/ 0 h 80009"/>
                  <a:gd name="connsiteX1" fmla="*/ 4716495 w 4716494"/>
                  <a:gd name="connsiteY1" fmla="*/ 0 h 80009"/>
                  <a:gd name="connsiteX2" fmla="*/ 4716495 w 4716494"/>
                  <a:gd name="connsiteY2" fmla="*/ 80010 h 80009"/>
                  <a:gd name="connsiteX3" fmla="*/ 0 w 4716494"/>
                  <a:gd name="connsiteY3" fmla="*/ 80010 h 80009"/>
                </a:gdLst>
                <a:ahLst/>
                <a:cxnLst>
                  <a:cxn ang="0">
                    <a:pos x="connsiteX0" y="connsiteY0"/>
                  </a:cxn>
                  <a:cxn ang="0">
                    <a:pos x="connsiteX1" y="connsiteY1"/>
                  </a:cxn>
                  <a:cxn ang="0">
                    <a:pos x="connsiteX2" y="connsiteY2"/>
                  </a:cxn>
                  <a:cxn ang="0">
                    <a:pos x="connsiteX3" y="connsiteY3"/>
                  </a:cxn>
                </a:cxnLst>
                <a:rect l="l" t="t" r="r" b="b"/>
                <a:pathLst>
                  <a:path w="4716494" h="80009">
                    <a:moveTo>
                      <a:pt x="0" y="0"/>
                    </a:moveTo>
                    <a:lnTo>
                      <a:pt x="4716495" y="0"/>
                    </a:lnTo>
                    <a:lnTo>
                      <a:pt x="4716495" y="80010"/>
                    </a:lnTo>
                    <a:lnTo>
                      <a:pt x="0" y="80010"/>
                    </a:lnTo>
                    <a:close/>
                  </a:path>
                </a:pathLst>
              </a:custGeom>
              <a:solidFill>
                <a:srgbClr val="F4F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85" name="Freeform: Shape 84">
                <a:extLst>
                  <a:ext uri="{FF2B5EF4-FFF2-40B4-BE49-F238E27FC236}">
                    <a16:creationId xmlns:a16="http://schemas.microsoft.com/office/drawing/2014/main" id="{85DB4C22-7DBB-A865-7854-FCE79F3888B5}"/>
                  </a:ext>
                </a:extLst>
              </p:cNvPr>
              <p:cNvSpPr/>
              <p:nvPr/>
            </p:nvSpPr>
            <p:spPr>
              <a:xfrm>
                <a:off x="3566825" y="4256912"/>
                <a:ext cx="4525803" cy="1132141"/>
              </a:xfrm>
              <a:custGeom>
                <a:avLst/>
                <a:gdLst>
                  <a:gd name="connsiteX0" fmla="*/ 564853 w 4525803"/>
                  <a:gd name="connsiteY0" fmla="*/ -871 h 1132141"/>
                  <a:gd name="connsiteX1" fmla="*/ -1219 w 4525803"/>
                  <a:gd name="connsiteY1" fmla="*/ 565199 h 1132141"/>
                  <a:gd name="connsiteX2" fmla="*/ 564853 w 4525803"/>
                  <a:gd name="connsiteY2" fmla="*/ 1131270 h 1132141"/>
                  <a:gd name="connsiteX3" fmla="*/ 4524586 w 4525803"/>
                  <a:gd name="connsiteY3" fmla="*/ 1131270 h 1132141"/>
                  <a:gd name="connsiteX4" fmla="*/ 4524586 w 4525803"/>
                  <a:gd name="connsiteY4" fmla="*/ 959820 h 1132141"/>
                  <a:gd name="connsiteX5" fmla="*/ 3873743 w 4525803"/>
                  <a:gd name="connsiteY5" fmla="*/ 660926 h 1132141"/>
                  <a:gd name="connsiteX6" fmla="*/ 4524586 w 4525803"/>
                  <a:gd name="connsiteY6" fmla="*/ 170769 h 1132141"/>
                  <a:gd name="connsiteX7" fmla="*/ 4524586 w 4525803"/>
                  <a:gd name="connsiteY7" fmla="*/ -681 h 113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25803" h="1132141">
                    <a:moveTo>
                      <a:pt x="564853" y="-871"/>
                    </a:moveTo>
                    <a:cubicBezTo>
                      <a:pt x="252243" y="-871"/>
                      <a:pt x="-1219" y="252589"/>
                      <a:pt x="-1219" y="565199"/>
                    </a:cubicBezTo>
                    <a:cubicBezTo>
                      <a:pt x="-1219" y="877810"/>
                      <a:pt x="252243" y="1131270"/>
                      <a:pt x="564853" y="1131270"/>
                    </a:cubicBezTo>
                    <a:lnTo>
                      <a:pt x="4524586" y="1131270"/>
                    </a:lnTo>
                    <a:lnTo>
                      <a:pt x="4524586" y="959820"/>
                    </a:lnTo>
                    <a:lnTo>
                      <a:pt x="3873743" y="660926"/>
                    </a:lnTo>
                    <a:lnTo>
                      <a:pt x="4524586" y="170769"/>
                    </a:lnTo>
                    <a:lnTo>
                      <a:pt x="4524586" y="-681"/>
                    </a:lnTo>
                    <a:close/>
                  </a:path>
                </a:pathLst>
              </a:custGeom>
              <a:solidFill>
                <a:schemeClr val="accent1">
                  <a:lumMod val="60000"/>
                  <a:lumOff val="4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86" name="Freeform: Shape 85">
                <a:extLst>
                  <a:ext uri="{FF2B5EF4-FFF2-40B4-BE49-F238E27FC236}">
                    <a16:creationId xmlns:a16="http://schemas.microsoft.com/office/drawing/2014/main" id="{9575B911-F64C-7136-1630-2844BDEE045E}"/>
                  </a:ext>
                </a:extLst>
              </p:cNvPr>
              <p:cNvSpPr/>
              <p:nvPr/>
            </p:nvSpPr>
            <p:spPr>
              <a:xfrm>
                <a:off x="5029580" y="4256912"/>
                <a:ext cx="3062192" cy="1132141"/>
              </a:xfrm>
              <a:custGeom>
                <a:avLst/>
                <a:gdLst>
                  <a:gd name="connsiteX0" fmla="*/ 564852 w 3062192"/>
                  <a:gd name="connsiteY0" fmla="*/ -871 h 1132141"/>
                  <a:gd name="connsiteX1" fmla="*/ -1219 w 3062192"/>
                  <a:gd name="connsiteY1" fmla="*/ 565199 h 1132141"/>
                  <a:gd name="connsiteX2" fmla="*/ 564852 w 3062192"/>
                  <a:gd name="connsiteY2" fmla="*/ 1131270 h 1132141"/>
                  <a:gd name="connsiteX3" fmla="*/ 3060974 w 3062192"/>
                  <a:gd name="connsiteY3" fmla="*/ 1131270 h 1132141"/>
                  <a:gd name="connsiteX4" fmla="*/ 3060974 w 3062192"/>
                  <a:gd name="connsiteY4" fmla="*/ 959820 h 1132141"/>
                  <a:gd name="connsiteX5" fmla="*/ 2601869 w 3062192"/>
                  <a:gd name="connsiteY5" fmla="*/ 645495 h 1132141"/>
                  <a:gd name="connsiteX6" fmla="*/ 3060974 w 3062192"/>
                  <a:gd name="connsiteY6" fmla="*/ 170579 h 1132141"/>
                  <a:gd name="connsiteX7" fmla="*/ 3060974 w 3062192"/>
                  <a:gd name="connsiteY7" fmla="*/ -871 h 113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2192" h="1132141">
                    <a:moveTo>
                      <a:pt x="564852" y="-871"/>
                    </a:moveTo>
                    <a:cubicBezTo>
                      <a:pt x="252242" y="-871"/>
                      <a:pt x="-1219" y="252589"/>
                      <a:pt x="-1219" y="565199"/>
                    </a:cubicBezTo>
                    <a:cubicBezTo>
                      <a:pt x="-1219" y="877810"/>
                      <a:pt x="252242" y="1131270"/>
                      <a:pt x="564852" y="1131270"/>
                    </a:cubicBezTo>
                    <a:lnTo>
                      <a:pt x="3060974" y="1131270"/>
                    </a:lnTo>
                    <a:lnTo>
                      <a:pt x="3060974" y="959820"/>
                    </a:lnTo>
                    <a:lnTo>
                      <a:pt x="2601869" y="645495"/>
                    </a:lnTo>
                    <a:lnTo>
                      <a:pt x="3060974" y="170579"/>
                    </a:lnTo>
                    <a:lnTo>
                      <a:pt x="3060974" y="-871"/>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87" name="Freeform: Shape 86">
                <a:extLst>
                  <a:ext uri="{FF2B5EF4-FFF2-40B4-BE49-F238E27FC236}">
                    <a16:creationId xmlns:a16="http://schemas.microsoft.com/office/drawing/2014/main" id="{4D9717D2-223D-686C-7033-90681442BD6C}"/>
                  </a:ext>
                </a:extLst>
              </p:cNvPr>
              <p:cNvSpPr/>
              <p:nvPr/>
            </p:nvSpPr>
            <p:spPr>
              <a:xfrm>
                <a:off x="5225129" y="4428458"/>
                <a:ext cx="2867786" cy="789050"/>
              </a:xfrm>
              <a:custGeom>
                <a:avLst/>
                <a:gdLst>
                  <a:gd name="connsiteX0" fmla="*/ 393306 w 2867786"/>
                  <a:gd name="connsiteY0" fmla="*/ -871 h 789050"/>
                  <a:gd name="connsiteX1" fmla="*/ -1219 w 2867786"/>
                  <a:gd name="connsiteY1" fmla="*/ 393654 h 789050"/>
                  <a:gd name="connsiteX2" fmla="*/ 393306 w 2867786"/>
                  <a:gd name="connsiteY2" fmla="*/ 788179 h 789050"/>
                  <a:gd name="connsiteX3" fmla="*/ 2866568 w 2867786"/>
                  <a:gd name="connsiteY3" fmla="*/ 788179 h 789050"/>
                  <a:gd name="connsiteX4" fmla="*/ 2866568 w 2867786"/>
                  <a:gd name="connsiteY4" fmla="*/ -871 h 78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7786" h="789050">
                    <a:moveTo>
                      <a:pt x="393306" y="-871"/>
                    </a:moveTo>
                    <a:cubicBezTo>
                      <a:pt x="175374" y="-871"/>
                      <a:pt x="-1219" y="175721"/>
                      <a:pt x="-1219" y="393654"/>
                    </a:cubicBezTo>
                    <a:cubicBezTo>
                      <a:pt x="-1219" y="611586"/>
                      <a:pt x="175374" y="788179"/>
                      <a:pt x="393306" y="788179"/>
                    </a:cubicBezTo>
                    <a:lnTo>
                      <a:pt x="2866568" y="788179"/>
                    </a:lnTo>
                    <a:lnTo>
                      <a:pt x="2866568" y="-871"/>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88" name="Freeform: Shape 87">
                <a:extLst>
                  <a:ext uri="{FF2B5EF4-FFF2-40B4-BE49-F238E27FC236}">
                    <a16:creationId xmlns:a16="http://schemas.microsoft.com/office/drawing/2014/main" id="{53C30E34-541F-5F12-7834-7200D129F031}"/>
                  </a:ext>
                </a:extLst>
              </p:cNvPr>
              <p:cNvSpPr/>
              <p:nvPr/>
            </p:nvSpPr>
            <p:spPr>
              <a:xfrm>
                <a:off x="5225318" y="4590763"/>
                <a:ext cx="2867025" cy="232219"/>
              </a:xfrm>
              <a:custGeom>
                <a:avLst/>
                <a:gdLst>
                  <a:gd name="connsiteX0" fmla="*/ 2865236 w 2867025"/>
                  <a:gd name="connsiteY0" fmla="*/ -871 h 232219"/>
                  <a:gd name="connsiteX1" fmla="*/ 74411 w 2867025"/>
                  <a:gd name="connsiteY1" fmla="*/ -871 h 232219"/>
                  <a:gd name="connsiteX2" fmla="*/ -1218 w 2867025"/>
                  <a:gd name="connsiteY2" fmla="*/ 231348 h 232219"/>
                  <a:gd name="connsiteX3" fmla="*/ 2865807 w 2867025"/>
                  <a:gd name="connsiteY3" fmla="*/ 231348 h 232219"/>
                </a:gdLst>
                <a:ahLst/>
                <a:cxnLst>
                  <a:cxn ang="0">
                    <a:pos x="connsiteX0" y="connsiteY0"/>
                  </a:cxn>
                  <a:cxn ang="0">
                    <a:pos x="connsiteX1" y="connsiteY1"/>
                  </a:cxn>
                  <a:cxn ang="0">
                    <a:pos x="connsiteX2" y="connsiteY2"/>
                  </a:cxn>
                  <a:cxn ang="0">
                    <a:pos x="connsiteX3" y="connsiteY3"/>
                  </a:cxn>
                </a:cxnLst>
                <a:rect l="l" t="t" r="r" b="b"/>
                <a:pathLst>
                  <a:path w="2867025" h="232219">
                    <a:moveTo>
                      <a:pt x="2865236" y="-871"/>
                    </a:moveTo>
                    <a:lnTo>
                      <a:pt x="74411" y="-871"/>
                    </a:lnTo>
                    <a:cubicBezTo>
                      <a:pt x="25166" y="66567"/>
                      <a:pt x="-1313" y="147909"/>
                      <a:pt x="-1218" y="231348"/>
                    </a:cubicBezTo>
                    <a:lnTo>
                      <a:pt x="2865807" y="231348"/>
                    </a:lnTo>
                    <a:close/>
                  </a:path>
                </a:pathLst>
              </a:custGeom>
              <a:solidFill>
                <a:srgbClr val="F4F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89" name="Freeform: Shape 88">
                <a:extLst>
                  <a:ext uri="{FF2B5EF4-FFF2-40B4-BE49-F238E27FC236}">
                    <a16:creationId xmlns:a16="http://schemas.microsoft.com/office/drawing/2014/main" id="{2ECE5E6A-942D-B4ED-19CE-DADC05EF3D51}"/>
                  </a:ext>
                </a:extLst>
              </p:cNvPr>
              <p:cNvSpPr/>
              <p:nvPr/>
            </p:nvSpPr>
            <p:spPr>
              <a:xfrm>
                <a:off x="5233320" y="4903088"/>
                <a:ext cx="2858452" cy="232790"/>
              </a:xfrm>
              <a:custGeom>
                <a:avLst/>
                <a:gdLst>
                  <a:gd name="connsiteX0" fmla="*/ 2857234 w 2858452"/>
                  <a:gd name="connsiteY0" fmla="*/ -871 h 232790"/>
                  <a:gd name="connsiteX1" fmla="*/ -1219 w 2858452"/>
                  <a:gd name="connsiteY1" fmla="*/ -871 h 232790"/>
                  <a:gd name="connsiteX2" fmla="*/ 144895 w 2858452"/>
                  <a:gd name="connsiteY2" fmla="*/ 231919 h 232790"/>
                  <a:gd name="connsiteX3" fmla="*/ 2857234 w 2858452"/>
                  <a:gd name="connsiteY3" fmla="*/ 231919 h 232790"/>
                </a:gdLst>
                <a:ahLst/>
                <a:cxnLst>
                  <a:cxn ang="0">
                    <a:pos x="connsiteX0" y="connsiteY0"/>
                  </a:cxn>
                  <a:cxn ang="0">
                    <a:pos x="connsiteX1" y="connsiteY1"/>
                  </a:cxn>
                  <a:cxn ang="0">
                    <a:pos x="connsiteX2" y="connsiteY2"/>
                  </a:cxn>
                  <a:cxn ang="0">
                    <a:pos x="connsiteX3" y="connsiteY3"/>
                  </a:cxn>
                </a:cxnLst>
                <a:rect l="l" t="t" r="r" b="b"/>
                <a:pathLst>
                  <a:path w="2858452" h="232790">
                    <a:moveTo>
                      <a:pt x="2857234" y="-871"/>
                    </a:moveTo>
                    <a:lnTo>
                      <a:pt x="-1219" y="-871"/>
                    </a:lnTo>
                    <a:cubicBezTo>
                      <a:pt x="18022" y="91711"/>
                      <a:pt x="69838" y="174389"/>
                      <a:pt x="144895" y="231919"/>
                    </a:cubicBezTo>
                    <a:lnTo>
                      <a:pt x="2857234" y="231919"/>
                    </a:lnTo>
                    <a:close/>
                  </a:path>
                </a:pathLst>
              </a:custGeom>
              <a:solidFill>
                <a:srgbClr val="F4F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90" name="Freeform: Shape 89">
                <a:extLst>
                  <a:ext uri="{FF2B5EF4-FFF2-40B4-BE49-F238E27FC236}">
                    <a16:creationId xmlns:a16="http://schemas.microsoft.com/office/drawing/2014/main" id="{7DF0484C-051A-3004-9EC2-D97149FA26A0}"/>
                  </a:ext>
                </a:extLst>
              </p:cNvPr>
              <p:cNvSpPr/>
              <p:nvPr/>
            </p:nvSpPr>
            <p:spPr>
              <a:xfrm>
                <a:off x="5761386" y="4902993"/>
                <a:ext cx="400240" cy="857630"/>
              </a:xfrm>
              <a:custGeom>
                <a:avLst/>
                <a:gdLst>
                  <a:gd name="connsiteX0" fmla="*/ 400241 w 400240"/>
                  <a:gd name="connsiteY0" fmla="*/ 857631 h 857630"/>
                  <a:gd name="connsiteX1" fmla="*/ 203645 w 400240"/>
                  <a:gd name="connsiteY1" fmla="*/ 697611 h 857630"/>
                  <a:gd name="connsiteX2" fmla="*/ 0 w 400240"/>
                  <a:gd name="connsiteY2" fmla="*/ 857631 h 857630"/>
                  <a:gd name="connsiteX3" fmla="*/ 0 w 400240"/>
                  <a:gd name="connsiteY3" fmla="*/ 0 h 857630"/>
                  <a:gd name="connsiteX4" fmla="*/ 400241 w 400240"/>
                  <a:gd name="connsiteY4" fmla="*/ 0 h 857630"/>
                  <a:gd name="connsiteX5" fmla="*/ 400241 w 400240"/>
                  <a:gd name="connsiteY5" fmla="*/ 857631 h 85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240" h="857630">
                    <a:moveTo>
                      <a:pt x="400241" y="857631"/>
                    </a:moveTo>
                    <a:lnTo>
                      <a:pt x="203645" y="697611"/>
                    </a:lnTo>
                    <a:lnTo>
                      <a:pt x="0" y="857631"/>
                    </a:lnTo>
                    <a:lnTo>
                      <a:pt x="0" y="0"/>
                    </a:lnTo>
                    <a:lnTo>
                      <a:pt x="400241" y="0"/>
                    </a:lnTo>
                    <a:lnTo>
                      <a:pt x="400241" y="857631"/>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91" name="Freeform: Shape 90">
                <a:extLst>
                  <a:ext uri="{FF2B5EF4-FFF2-40B4-BE49-F238E27FC236}">
                    <a16:creationId xmlns:a16="http://schemas.microsoft.com/office/drawing/2014/main" id="{D735657C-7A35-4BD0-3CD4-D50829CF7A7B}"/>
                  </a:ext>
                </a:extLst>
              </p:cNvPr>
              <p:cNvSpPr/>
              <p:nvPr/>
            </p:nvSpPr>
            <p:spPr>
              <a:xfrm>
                <a:off x="3735228" y="3364991"/>
                <a:ext cx="4716589" cy="891730"/>
              </a:xfrm>
              <a:custGeom>
                <a:avLst/>
                <a:gdLst>
                  <a:gd name="connsiteX0" fmla="*/ 114300 w 4716589"/>
                  <a:gd name="connsiteY0" fmla="*/ 0 h 891730"/>
                  <a:gd name="connsiteX1" fmla="*/ 4602290 w 4716589"/>
                  <a:gd name="connsiteY1" fmla="*/ 0 h 891730"/>
                  <a:gd name="connsiteX2" fmla="*/ 4716590 w 4716589"/>
                  <a:gd name="connsiteY2" fmla="*/ 114300 h 891730"/>
                  <a:gd name="connsiteX3" fmla="*/ 4716590 w 4716589"/>
                  <a:gd name="connsiteY3" fmla="*/ 777430 h 891730"/>
                  <a:gd name="connsiteX4" fmla="*/ 4602290 w 4716589"/>
                  <a:gd name="connsiteY4" fmla="*/ 891730 h 891730"/>
                  <a:gd name="connsiteX5" fmla="*/ 114300 w 4716589"/>
                  <a:gd name="connsiteY5" fmla="*/ 891730 h 891730"/>
                  <a:gd name="connsiteX6" fmla="*/ 0 w 4716589"/>
                  <a:gd name="connsiteY6" fmla="*/ 777430 h 891730"/>
                  <a:gd name="connsiteX7" fmla="*/ 0 w 4716589"/>
                  <a:gd name="connsiteY7" fmla="*/ 114395 h 891730"/>
                  <a:gd name="connsiteX8" fmla="*/ 114205 w 4716589"/>
                  <a:gd name="connsiteY8" fmla="*/ 0 h 891730"/>
                  <a:gd name="connsiteX9" fmla="*/ 114300 w 4716589"/>
                  <a:gd name="connsiteY9" fmla="*/ 0 h 8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6589" h="891730">
                    <a:moveTo>
                      <a:pt x="114300" y="0"/>
                    </a:moveTo>
                    <a:lnTo>
                      <a:pt x="4602290" y="0"/>
                    </a:lnTo>
                    <a:cubicBezTo>
                      <a:pt x="4665412" y="0"/>
                      <a:pt x="4716590" y="51178"/>
                      <a:pt x="4716590" y="114300"/>
                    </a:cubicBezTo>
                    <a:lnTo>
                      <a:pt x="4716590" y="777430"/>
                    </a:lnTo>
                    <a:cubicBezTo>
                      <a:pt x="4716590" y="840553"/>
                      <a:pt x="4665412" y="891730"/>
                      <a:pt x="4602290" y="891730"/>
                    </a:cubicBezTo>
                    <a:lnTo>
                      <a:pt x="114300" y="891730"/>
                    </a:lnTo>
                    <a:cubicBezTo>
                      <a:pt x="51174" y="891730"/>
                      <a:pt x="0" y="840553"/>
                      <a:pt x="0" y="777430"/>
                    </a:cubicBezTo>
                    <a:lnTo>
                      <a:pt x="0" y="114395"/>
                    </a:lnTo>
                    <a:cubicBezTo>
                      <a:pt x="-52" y="51273"/>
                      <a:pt x="51079" y="57"/>
                      <a:pt x="114205" y="0"/>
                    </a:cubicBezTo>
                    <a:cubicBezTo>
                      <a:pt x="114236" y="0"/>
                      <a:pt x="114269" y="0"/>
                      <a:pt x="114300" y="0"/>
                    </a:cubicBez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92" name="Freeform: Shape 91">
                <a:extLst>
                  <a:ext uri="{FF2B5EF4-FFF2-40B4-BE49-F238E27FC236}">
                    <a16:creationId xmlns:a16="http://schemas.microsoft.com/office/drawing/2014/main" id="{F167B6EA-5101-940B-9860-088254CBB1CF}"/>
                  </a:ext>
                </a:extLst>
              </p:cNvPr>
              <p:cNvSpPr/>
              <p:nvPr/>
            </p:nvSpPr>
            <p:spPr>
              <a:xfrm>
                <a:off x="4042314" y="3650646"/>
                <a:ext cx="320802" cy="320801"/>
              </a:xfrm>
              <a:custGeom>
                <a:avLst/>
                <a:gdLst>
                  <a:gd name="connsiteX0" fmla="*/ 319584 w 320802"/>
                  <a:gd name="connsiteY0" fmla="*/ 159434 h 320801"/>
                  <a:gd name="connsiteX1" fmla="*/ 159278 w 320802"/>
                  <a:gd name="connsiteY1" fmla="*/ 319930 h 320801"/>
                  <a:gd name="connsiteX2" fmla="*/ -1219 w 320802"/>
                  <a:gd name="connsiteY2" fmla="*/ 159625 h 320801"/>
                  <a:gd name="connsiteX3" fmla="*/ 159087 w 320802"/>
                  <a:gd name="connsiteY3" fmla="*/ -871 h 320801"/>
                  <a:gd name="connsiteX4" fmla="*/ 159182 w 320802"/>
                  <a:gd name="connsiteY4" fmla="*/ -871 h 320801"/>
                  <a:gd name="connsiteX5" fmla="*/ 319584 w 320802"/>
                  <a:gd name="connsiteY5" fmla="*/ 159434 h 32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802" h="320801">
                    <a:moveTo>
                      <a:pt x="319584" y="159434"/>
                    </a:moveTo>
                    <a:cubicBezTo>
                      <a:pt x="319679" y="248017"/>
                      <a:pt x="247860" y="319836"/>
                      <a:pt x="159278" y="319930"/>
                    </a:cubicBezTo>
                    <a:cubicBezTo>
                      <a:pt x="70696" y="320025"/>
                      <a:pt x="-1123" y="248208"/>
                      <a:pt x="-1219" y="159625"/>
                    </a:cubicBezTo>
                    <a:cubicBezTo>
                      <a:pt x="-1314" y="71043"/>
                      <a:pt x="70505" y="-776"/>
                      <a:pt x="159087" y="-871"/>
                    </a:cubicBezTo>
                    <a:cubicBezTo>
                      <a:pt x="159087" y="-871"/>
                      <a:pt x="159182" y="-871"/>
                      <a:pt x="159182" y="-871"/>
                    </a:cubicBezTo>
                    <a:cubicBezTo>
                      <a:pt x="247765" y="-871"/>
                      <a:pt x="319489" y="70852"/>
                      <a:pt x="319584" y="159434"/>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93" name="Freeform: Shape 92">
                <a:extLst>
                  <a:ext uri="{FF2B5EF4-FFF2-40B4-BE49-F238E27FC236}">
                    <a16:creationId xmlns:a16="http://schemas.microsoft.com/office/drawing/2014/main" id="{6263C936-8D4D-8253-E2EB-8F2568023BD9}"/>
                  </a:ext>
                </a:extLst>
              </p:cNvPr>
              <p:cNvSpPr/>
              <p:nvPr/>
            </p:nvSpPr>
            <p:spPr>
              <a:xfrm>
                <a:off x="4516944" y="3650646"/>
                <a:ext cx="320802" cy="320801"/>
              </a:xfrm>
              <a:custGeom>
                <a:avLst/>
                <a:gdLst>
                  <a:gd name="connsiteX0" fmla="*/ 319584 w 320802"/>
                  <a:gd name="connsiteY0" fmla="*/ 159434 h 320801"/>
                  <a:gd name="connsiteX1" fmla="*/ 159279 w 320802"/>
                  <a:gd name="connsiteY1" fmla="*/ 319930 h 320801"/>
                  <a:gd name="connsiteX2" fmla="*/ -1219 w 320802"/>
                  <a:gd name="connsiteY2" fmla="*/ 159625 h 320801"/>
                  <a:gd name="connsiteX3" fmla="*/ 159088 w 320802"/>
                  <a:gd name="connsiteY3" fmla="*/ -871 h 320801"/>
                  <a:gd name="connsiteX4" fmla="*/ 159183 w 320802"/>
                  <a:gd name="connsiteY4" fmla="*/ -871 h 320801"/>
                  <a:gd name="connsiteX5" fmla="*/ 319584 w 320802"/>
                  <a:gd name="connsiteY5" fmla="*/ 159434 h 32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0802" h="320801">
                    <a:moveTo>
                      <a:pt x="319584" y="159434"/>
                    </a:moveTo>
                    <a:cubicBezTo>
                      <a:pt x="319679" y="248017"/>
                      <a:pt x="247860" y="319836"/>
                      <a:pt x="159279" y="319930"/>
                    </a:cubicBezTo>
                    <a:cubicBezTo>
                      <a:pt x="70696" y="320025"/>
                      <a:pt x="-1123" y="248208"/>
                      <a:pt x="-1219" y="159625"/>
                    </a:cubicBezTo>
                    <a:cubicBezTo>
                      <a:pt x="-1313" y="71043"/>
                      <a:pt x="70505" y="-776"/>
                      <a:pt x="159088" y="-871"/>
                    </a:cubicBezTo>
                    <a:cubicBezTo>
                      <a:pt x="159088" y="-871"/>
                      <a:pt x="159183" y="-871"/>
                      <a:pt x="159183" y="-871"/>
                    </a:cubicBezTo>
                    <a:cubicBezTo>
                      <a:pt x="247765" y="-871"/>
                      <a:pt x="319489" y="70852"/>
                      <a:pt x="319584" y="159434"/>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94" name="Freeform: Shape 93">
                <a:extLst>
                  <a:ext uri="{FF2B5EF4-FFF2-40B4-BE49-F238E27FC236}">
                    <a16:creationId xmlns:a16="http://schemas.microsoft.com/office/drawing/2014/main" id="{CAE52183-570D-7811-8742-86785AF916F7}"/>
                  </a:ext>
                </a:extLst>
              </p:cNvPr>
              <p:cNvSpPr/>
              <p:nvPr/>
            </p:nvSpPr>
            <p:spPr>
              <a:xfrm rot="16243200">
                <a:off x="4991834" y="3651454"/>
                <a:ext cx="320611" cy="320611"/>
              </a:xfrm>
              <a:custGeom>
                <a:avLst/>
                <a:gdLst>
                  <a:gd name="connsiteX0" fmla="*/ 319393 w 320611"/>
                  <a:gd name="connsiteY0" fmla="*/ 159434 h 320611"/>
                  <a:gd name="connsiteX1" fmla="*/ 159088 w 320611"/>
                  <a:gd name="connsiteY1" fmla="*/ 319740 h 320611"/>
                  <a:gd name="connsiteX2" fmla="*/ -1218 w 320611"/>
                  <a:gd name="connsiteY2" fmla="*/ 159434 h 320611"/>
                  <a:gd name="connsiteX3" fmla="*/ 159088 w 320611"/>
                  <a:gd name="connsiteY3" fmla="*/ -871 h 320611"/>
                  <a:gd name="connsiteX4" fmla="*/ 319393 w 320611"/>
                  <a:gd name="connsiteY4" fmla="*/ 159434 h 320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611" h="320611">
                    <a:moveTo>
                      <a:pt x="319393" y="159434"/>
                    </a:moveTo>
                    <a:cubicBezTo>
                      <a:pt x="319393" y="247968"/>
                      <a:pt x="247622" y="319740"/>
                      <a:pt x="159088" y="319740"/>
                    </a:cubicBezTo>
                    <a:cubicBezTo>
                      <a:pt x="70553" y="319740"/>
                      <a:pt x="-1218" y="247968"/>
                      <a:pt x="-1218" y="159434"/>
                    </a:cubicBezTo>
                    <a:cubicBezTo>
                      <a:pt x="-1218" y="70900"/>
                      <a:pt x="70553" y="-871"/>
                      <a:pt x="159088" y="-871"/>
                    </a:cubicBezTo>
                    <a:cubicBezTo>
                      <a:pt x="247622" y="-871"/>
                      <a:pt x="319393" y="70900"/>
                      <a:pt x="319393" y="159434"/>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95" name="Freeform: Shape 94">
                <a:extLst>
                  <a:ext uri="{FF2B5EF4-FFF2-40B4-BE49-F238E27FC236}">
                    <a16:creationId xmlns:a16="http://schemas.microsoft.com/office/drawing/2014/main" id="{D8A5F206-06F9-7797-897E-6D85B6B085DF}"/>
                  </a:ext>
                </a:extLst>
              </p:cNvPr>
              <p:cNvSpPr/>
              <p:nvPr/>
            </p:nvSpPr>
            <p:spPr>
              <a:xfrm>
                <a:off x="4466272" y="1369218"/>
                <a:ext cx="3848100" cy="876300"/>
              </a:xfrm>
              <a:custGeom>
                <a:avLst/>
                <a:gdLst>
                  <a:gd name="connsiteX0" fmla="*/ 436931 w 3848100"/>
                  <a:gd name="connsiteY0" fmla="*/ -871 h 876300"/>
                  <a:gd name="connsiteX1" fmla="*/ -1219 w 3848100"/>
                  <a:gd name="connsiteY1" fmla="*/ 437279 h 876300"/>
                  <a:gd name="connsiteX2" fmla="*/ 436931 w 3848100"/>
                  <a:gd name="connsiteY2" fmla="*/ 875429 h 876300"/>
                  <a:gd name="connsiteX3" fmla="*/ 3846882 w 3848100"/>
                  <a:gd name="connsiteY3" fmla="*/ 875429 h 876300"/>
                  <a:gd name="connsiteX4" fmla="*/ 3846882 w 3848100"/>
                  <a:gd name="connsiteY4" fmla="*/ 742079 h 876300"/>
                  <a:gd name="connsiteX5" fmla="*/ 3342818 w 3848100"/>
                  <a:gd name="connsiteY5" fmla="*/ 510621 h 876300"/>
                  <a:gd name="connsiteX6" fmla="*/ 3846882 w 3848100"/>
                  <a:gd name="connsiteY6" fmla="*/ 131907 h 876300"/>
                  <a:gd name="connsiteX7" fmla="*/ 3846882 w 3848100"/>
                  <a:gd name="connsiteY7" fmla="*/ -871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48100" h="876300">
                    <a:moveTo>
                      <a:pt x="436931" y="-871"/>
                    </a:moveTo>
                    <a:cubicBezTo>
                      <a:pt x="194901" y="-871"/>
                      <a:pt x="-1219" y="195296"/>
                      <a:pt x="-1219" y="437279"/>
                    </a:cubicBezTo>
                    <a:cubicBezTo>
                      <a:pt x="-1219" y="679309"/>
                      <a:pt x="194901" y="875429"/>
                      <a:pt x="436931" y="875429"/>
                    </a:cubicBezTo>
                    <a:lnTo>
                      <a:pt x="3846882" y="875429"/>
                    </a:lnTo>
                    <a:lnTo>
                      <a:pt x="3846882" y="742079"/>
                    </a:lnTo>
                    <a:lnTo>
                      <a:pt x="3342818" y="510621"/>
                    </a:lnTo>
                    <a:lnTo>
                      <a:pt x="3846882" y="131907"/>
                    </a:lnTo>
                    <a:lnTo>
                      <a:pt x="3846882" y="-871"/>
                    </a:lnTo>
                    <a:close/>
                  </a:path>
                </a:pathLst>
              </a:custGeom>
              <a:solidFill>
                <a:schemeClr val="accent1">
                  <a:lumMod val="60000"/>
                  <a:lumOff val="4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96" name="Freeform: Shape 95">
                <a:extLst>
                  <a:ext uri="{FF2B5EF4-FFF2-40B4-BE49-F238E27FC236}">
                    <a16:creationId xmlns:a16="http://schemas.microsoft.com/office/drawing/2014/main" id="{CF40925C-5F62-057A-9549-43741B0457A9}"/>
                  </a:ext>
                </a:extLst>
              </p:cNvPr>
              <p:cNvSpPr/>
              <p:nvPr/>
            </p:nvSpPr>
            <p:spPr>
              <a:xfrm>
                <a:off x="5942647" y="1369218"/>
                <a:ext cx="2371058" cy="876300"/>
              </a:xfrm>
              <a:custGeom>
                <a:avLst/>
                <a:gdLst>
                  <a:gd name="connsiteX0" fmla="*/ 436931 w 2371058"/>
                  <a:gd name="connsiteY0" fmla="*/ -871 h 876300"/>
                  <a:gd name="connsiteX1" fmla="*/ -1219 w 2371058"/>
                  <a:gd name="connsiteY1" fmla="*/ 437279 h 876300"/>
                  <a:gd name="connsiteX2" fmla="*/ 436931 w 2371058"/>
                  <a:gd name="connsiteY2" fmla="*/ 875429 h 876300"/>
                  <a:gd name="connsiteX3" fmla="*/ 2369840 w 2371058"/>
                  <a:gd name="connsiteY3" fmla="*/ 875429 h 876300"/>
                  <a:gd name="connsiteX4" fmla="*/ 2369840 w 2371058"/>
                  <a:gd name="connsiteY4" fmla="*/ 742079 h 876300"/>
                  <a:gd name="connsiteX5" fmla="*/ 2013891 w 2371058"/>
                  <a:gd name="connsiteY5" fmla="*/ 499287 h 876300"/>
                  <a:gd name="connsiteX6" fmla="*/ 2369364 w 2371058"/>
                  <a:gd name="connsiteY6" fmla="*/ 131527 h 876300"/>
                  <a:gd name="connsiteX7" fmla="*/ 2369364 w 2371058"/>
                  <a:gd name="connsiteY7" fmla="*/ -871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1058" h="876300">
                    <a:moveTo>
                      <a:pt x="436931" y="-871"/>
                    </a:moveTo>
                    <a:cubicBezTo>
                      <a:pt x="194901" y="-871"/>
                      <a:pt x="-1219" y="195296"/>
                      <a:pt x="-1219" y="437279"/>
                    </a:cubicBezTo>
                    <a:cubicBezTo>
                      <a:pt x="-1219" y="679309"/>
                      <a:pt x="194901" y="875429"/>
                      <a:pt x="436931" y="875429"/>
                    </a:cubicBezTo>
                    <a:lnTo>
                      <a:pt x="2369840" y="875429"/>
                    </a:lnTo>
                    <a:lnTo>
                      <a:pt x="2369840" y="742079"/>
                    </a:lnTo>
                    <a:lnTo>
                      <a:pt x="2013891" y="499287"/>
                    </a:lnTo>
                    <a:lnTo>
                      <a:pt x="2369364" y="131527"/>
                    </a:lnTo>
                    <a:lnTo>
                      <a:pt x="2369364" y="-871"/>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97" name="Freeform: Shape 96">
                <a:extLst>
                  <a:ext uri="{FF2B5EF4-FFF2-40B4-BE49-F238E27FC236}">
                    <a16:creationId xmlns:a16="http://schemas.microsoft.com/office/drawing/2014/main" id="{8486619C-E7AD-EB6A-F806-5B7454BFA826}"/>
                  </a:ext>
                </a:extLst>
              </p:cNvPr>
              <p:cNvSpPr/>
              <p:nvPr/>
            </p:nvSpPr>
            <p:spPr>
              <a:xfrm>
                <a:off x="6088046" y="1501948"/>
                <a:ext cx="2226325" cy="611148"/>
              </a:xfrm>
              <a:custGeom>
                <a:avLst/>
                <a:gdLst>
                  <a:gd name="connsiteX0" fmla="*/ 309725 w 2226325"/>
                  <a:gd name="connsiteY0" fmla="*/ -823 h 611148"/>
                  <a:gd name="connsiteX1" fmla="*/ -1171 w 2226325"/>
                  <a:gd name="connsiteY1" fmla="*/ 299301 h 611148"/>
                  <a:gd name="connsiteX2" fmla="*/ 298962 w 2226325"/>
                  <a:gd name="connsiteY2" fmla="*/ 610206 h 611148"/>
                  <a:gd name="connsiteX3" fmla="*/ 309725 w 2226325"/>
                  <a:gd name="connsiteY3" fmla="*/ 610206 h 611148"/>
                  <a:gd name="connsiteX4" fmla="*/ 2225107 w 2226325"/>
                  <a:gd name="connsiteY4" fmla="*/ 610206 h 611148"/>
                  <a:gd name="connsiteX5" fmla="*/ 2225107 w 2226325"/>
                  <a:gd name="connsiteY5" fmla="*/ -823 h 611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26325" h="611148">
                    <a:moveTo>
                      <a:pt x="309725" y="-823"/>
                    </a:moveTo>
                    <a:cubicBezTo>
                      <a:pt x="141037" y="-3804"/>
                      <a:pt x="1781" y="130565"/>
                      <a:pt x="-1171" y="299301"/>
                    </a:cubicBezTo>
                    <a:cubicBezTo>
                      <a:pt x="-4124" y="467998"/>
                      <a:pt x="130179" y="607254"/>
                      <a:pt x="298962" y="610206"/>
                    </a:cubicBezTo>
                    <a:cubicBezTo>
                      <a:pt x="302486" y="610301"/>
                      <a:pt x="306106" y="610301"/>
                      <a:pt x="309725" y="610206"/>
                    </a:cubicBezTo>
                    <a:lnTo>
                      <a:pt x="2225107" y="610206"/>
                    </a:lnTo>
                    <a:lnTo>
                      <a:pt x="2225107" y="-823"/>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98" name="Freeform: Shape 97">
                <a:extLst>
                  <a:ext uri="{FF2B5EF4-FFF2-40B4-BE49-F238E27FC236}">
                    <a16:creationId xmlns:a16="http://schemas.microsoft.com/office/drawing/2014/main" id="{0D1707E0-4270-EB44-F609-20E59F67DF59}"/>
                  </a:ext>
                </a:extLst>
              </p:cNvPr>
              <p:cNvSpPr/>
              <p:nvPr/>
            </p:nvSpPr>
            <p:spPr>
              <a:xfrm>
                <a:off x="6093426" y="1667255"/>
                <a:ext cx="2219802" cy="140303"/>
              </a:xfrm>
              <a:custGeom>
                <a:avLst/>
                <a:gdLst>
                  <a:gd name="connsiteX0" fmla="*/ 2218584 w 2219802"/>
                  <a:gd name="connsiteY0" fmla="*/ -871 h 140303"/>
                  <a:gd name="connsiteX1" fmla="*/ 32978 w 2219802"/>
                  <a:gd name="connsiteY1" fmla="*/ -871 h 140303"/>
                  <a:gd name="connsiteX2" fmla="*/ -1218 w 2219802"/>
                  <a:gd name="connsiteY2" fmla="*/ 139432 h 140303"/>
                  <a:gd name="connsiteX3" fmla="*/ 2218584 w 2219802"/>
                  <a:gd name="connsiteY3" fmla="*/ 139432 h 140303"/>
                </a:gdLst>
                <a:ahLst/>
                <a:cxnLst>
                  <a:cxn ang="0">
                    <a:pos x="connsiteX0" y="connsiteY0"/>
                  </a:cxn>
                  <a:cxn ang="0">
                    <a:pos x="connsiteX1" y="connsiteY1"/>
                  </a:cxn>
                  <a:cxn ang="0">
                    <a:pos x="connsiteX2" y="connsiteY2"/>
                  </a:cxn>
                  <a:cxn ang="0">
                    <a:pos x="connsiteX3" y="connsiteY3"/>
                  </a:cxn>
                </a:cxnLst>
                <a:rect l="l" t="t" r="r" b="b"/>
                <a:pathLst>
                  <a:path w="2219802" h="140303">
                    <a:moveTo>
                      <a:pt x="2218584" y="-871"/>
                    </a:moveTo>
                    <a:lnTo>
                      <a:pt x="32978" y="-871"/>
                    </a:lnTo>
                    <a:cubicBezTo>
                      <a:pt x="10499" y="42467"/>
                      <a:pt x="-1313" y="90597"/>
                      <a:pt x="-1218" y="139432"/>
                    </a:cubicBezTo>
                    <a:lnTo>
                      <a:pt x="2218584" y="139432"/>
                    </a:lnTo>
                    <a:close/>
                  </a:path>
                </a:pathLst>
              </a:custGeom>
              <a:solidFill>
                <a:srgbClr val="F4F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99" name="Freeform: Shape 98">
                <a:extLst>
                  <a:ext uri="{FF2B5EF4-FFF2-40B4-BE49-F238E27FC236}">
                    <a16:creationId xmlns:a16="http://schemas.microsoft.com/office/drawing/2014/main" id="{5E0B0790-DB01-23BE-6A30-5683AC1D0999}"/>
                  </a:ext>
                </a:extLst>
              </p:cNvPr>
              <p:cNvSpPr/>
              <p:nvPr/>
            </p:nvSpPr>
            <p:spPr>
              <a:xfrm>
                <a:off x="6117430" y="1926526"/>
                <a:ext cx="2196941" cy="68580"/>
              </a:xfrm>
              <a:custGeom>
                <a:avLst/>
                <a:gdLst>
                  <a:gd name="connsiteX0" fmla="*/ 39263 w 2196941"/>
                  <a:gd name="connsiteY0" fmla="*/ 67709 h 68580"/>
                  <a:gd name="connsiteX1" fmla="*/ 2195723 w 2196941"/>
                  <a:gd name="connsiteY1" fmla="*/ 67709 h 68580"/>
                  <a:gd name="connsiteX2" fmla="*/ 2195723 w 2196941"/>
                  <a:gd name="connsiteY2" fmla="*/ -871 h 68580"/>
                  <a:gd name="connsiteX3" fmla="*/ -1219 w 2196941"/>
                  <a:gd name="connsiteY3" fmla="*/ -871 h 68580"/>
                  <a:gd name="connsiteX4" fmla="*/ 39263 w 2196941"/>
                  <a:gd name="connsiteY4" fmla="*/ 67709 h 68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941" h="68580">
                    <a:moveTo>
                      <a:pt x="39263" y="67709"/>
                    </a:moveTo>
                    <a:lnTo>
                      <a:pt x="2195723" y="67709"/>
                    </a:lnTo>
                    <a:lnTo>
                      <a:pt x="2195723" y="-871"/>
                    </a:lnTo>
                    <a:lnTo>
                      <a:pt x="-1219" y="-871"/>
                    </a:lnTo>
                    <a:cubicBezTo>
                      <a:pt x="9259" y="23608"/>
                      <a:pt x="22880" y="46754"/>
                      <a:pt x="39263" y="67709"/>
                    </a:cubicBezTo>
                    <a:close/>
                  </a:path>
                </a:pathLst>
              </a:custGeom>
              <a:solidFill>
                <a:srgbClr val="F4F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00" name="Freeform: Shape 99">
                <a:extLst>
                  <a:ext uri="{FF2B5EF4-FFF2-40B4-BE49-F238E27FC236}">
                    <a16:creationId xmlns:a16="http://schemas.microsoft.com/office/drawing/2014/main" id="{2E5EC602-08CE-495D-1230-EB0081E46E2D}"/>
                  </a:ext>
                </a:extLst>
              </p:cNvPr>
              <p:cNvSpPr/>
              <p:nvPr/>
            </p:nvSpPr>
            <p:spPr>
              <a:xfrm>
                <a:off x="6501573" y="1884235"/>
                <a:ext cx="368141" cy="797051"/>
              </a:xfrm>
              <a:custGeom>
                <a:avLst/>
                <a:gdLst>
                  <a:gd name="connsiteX0" fmla="*/ 368141 w 368141"/>
                  <a:gd name="connsiteY0" fmla="*/ 797052 h 797051"/>
                  <a:gd name="connsiteX1" fmla="*/ 178689 w 368141"/>
                  <a:gd name="connsiteY1" fmla="*/ 682657 h 797051"/>
                  <a:gd name="connsiteX2" fmla="*/ 0 w 368141"/>
                  <a:gd name="connsiteY2" fmla="*/ 797052 h 797051"/>
                  <a:gd name="connsiteX3" fmla="*/ 0 w 368141"/>
                  <a:gd name="connsiteY3" fmla="*/ 0 h 797051"/>
                  <a:gd name="connsiteX4" fmla="*/ 368141 w 368141"/>
                  <a:gd name="connsiteY4" fmla="*/ 0 h 797051"/>
                  <a:gd name="connsiteX5" fmla="*/ 368141 w 368141"/>
                  <a:gd name="connsiteY5" fmla="*/ 797052 h 79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8141" h="797051">
                    <a:moveTo>
                      <a:pt x="368141" y="797052"/>
                    </a:moveTo>
                    <a:lnTo>
                      <a:pt x="178689" y="682657"/>
                    </a:lnTo>
                    <a:lnTo>
                      <a:pt x="0" y="797052"/>
                    </a:lnTo>
                    <a:lnTo>
                      <a:pt x="0" y="0"/>
                    </a:lnTo>
                    <a:lnTo>
                      <a:pt x="368141" y="0"/>
                    </a:lnTo>
                    <a:lnTo>
                      <a:pt x="368141" y="797052"/>
                    </a:ln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nvGrpSpPr>
          <p:cNvPr id="266" name="Group 265">
            <a:extLst>
              <a:ext uri="{FF2B5EF4-FFF2-40B4-BE49-F238E27FC236}">
                <a16:creationId xmlns:a16="http://schemas.microsoft.com/office/drawing/2014/main" id="{7455BCFC-4377-39ED-2105-6CBD2FD5B034}"/>
              </a:ext>
            </a:extLst>
          </p:cNvPr>
          <p:cNvGrpSpPr/>
          <p:nvPr/>
        </p:nvGrpSpPr>
        <p:grpSpPr>
          <a:xfrm>
            <a:off x="10140153" y="5541560"/>
            <a:ext cx="1235792" cy="479670"/>
            <a:chOff x="9454338" y="8203733"/>
            <a:chExt cx="3228412" cy="1253100"/>
          </a:xfrm>
        </p:grpSpPr>
        <p:grpSp>
          <p:nvGrpSpPr>
            <p:cNvPr id="267" name="Graphic 174">
              <a:extLst>
                <a:ext uri="{FF2B5EF4-FFF2-40B4-BE49-F238E27FC236}">
                  <a16:creationId xmlns:a16="http://schemas.microsoft.com/office/drawing/2014/main" id="{5C3CC1C4-5E4B-CBCF-A6A6-8A70324CA792}"/>
                </a:ext>
              </a:extLst>
            </p:cNvPr>
            <p:cNvGrpSpPr/>
            <p:nvPr/>
          </p:nvGrpSpPr>
          <p:grpSpPr>
            <a:xfrm>
              <a:off x="12068234" y="8241485"/>
              <a:ext cx="509045" cy="1013027"/>
              <a:chOff x="2936421" y="2996982"/>
              <a:chExt cx="1016844" cy="2023575"/>
            </a:xfrm>
          </p:grpSpPr>
          <p:grpSp>
            <p:nvGrpSpPr>
              <p:cNvPr id="1603" name="Graphic 174">
                <a:extLst>
                  <a:ext uri="{FF2B5EF4-FFF2-40B4-BE49-F238E27FC236}">
                    <a16:creationId xmlns:a16="http://schemas.microsoft.com/office/drawing/2014/main" id="{22CD769B-E779-FD73-F4EC-EB38759D44C3}"/>
                  </a:ext>
                </a:extLst>
              </p:cNvPr>
              <p:cNvGrpSpPr/>
              <p:nvPr/>
            </p:nvGrpSpPr>
            <p:grpSpPr>
              <a:xfrm>
                <a:off x="2936421" y="3516816"/>
                <a:ext cx="1016844" cy="1503741"/>
                <a:chOff x="2936421" y="3516816"/>
                <a:chExt cx="1016844" cy="1503741"/>
              </a:xfrm>
            </p:grpSpPr>
            <p:sp>
              <p:nvSpPr>
                <p:cNvPr id="1605" name="Graphic 174">
                  <a:extLst>
                    <a:ext uri="{FF2B5EF4-FFF2-40B4-BE49-F238E27FC236}">
                      <a16:creationId xmlns:a16="http://schemas.microsoft.com/office/drawing/2014/main" id="{29C70C2C-98FB-C4D6-90B1-C1BDBB4D9A62}"/>
                    </a:ext>
                  </a:extLst>
                </p:cNvPr>
                <p:cNvSpPr/>
                <p:nvPr/>
              </p:nvSpPr>
              <p:spPr>
                <a:xfrm>
                  <a:off x="3640989" y="3578077"/>
                  <a:ext cx="312276" cy="1328115"/>
                </a:xfrm>
                <a:custGeom>
                  <a:avLst/>
                  <a:gdLst>
                    <a:gd name="connsiteX0" fmla="*/ 38941 w 312276"/>
                    <a:gd name="connsiteY0" fmla="*/ 0 h 1328115"/>
                    <a:gd name="connsiteX1" fmla="*/ 306209 w 312276"/>
                    <a:gd name="connsiteY1" fmla="*/ 750125 h 1328115"/>
                    <a:gd name="connsiteX2" fmla="*/ 159803 w 312276"/>
                    <a:gd name="connsiteY2" fmla="*/ 1304186 h 1328115"/>
                    <a:gd name="connsiteX3" fmla="*/ 0 w 312276"/>
                    <a:gd name="connsiteY3" fmla="*/ 1328115 h 1328115"/>
                    <a:gd name="connsiteX4" fmla="*/ 1431 w 312276"/>
                    <a:gd name="connsiteY4" fmla="*/ 465754 h 1328115"/>
                    <a:gd name="connsiteX5" fmla="*/ 38941 w 312276"/>
                    <a:gd name="connsiteY5" fmla="*/ 0 h 132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276" h="1328115">
                      <a:moveTo>
                        <a:pt x="38941" y="0"/>
                      </a:moveTo>
                      <a:cubicBezTo>
                        <a:pt x="38941" y="0"/>
                        <a:pt x="246494" y="141415"/>
                        <a:pt x="306209" y="750125"/>
                      </a:cubicBezTo>
                      <a:cubicBezTo>
                        <a:pt x="348050" y="1176424"/>
                        <a:pt x="159803" y="1304186"/>
                        <a:pt x="159803" y="1304186"/>
                      </a:cubicBezTo>
                      <a:lnTo>
                        <a:pt x="0" y="1328115"/>
                      </a:lnTo>
                      <a:cubicBezTo>
                        <a:pt x="0" y="1328115"/>
                        <a:pt x="23086" y="730783"/>
                        <a:pt x="1431" y="465754"/>
                      </a:cubicBezTo>
                      <a:cubicBezTo>
                        <a:pt x="-8772" y="340525"/>
                        <a:pt x="38941" y="0"/>
                        <a:pt x="38941" y="0"/>
                      </a:cubicBezTo>
                      <a:close/>
                    </a:path>
                  </a:pathLst>
                </a:custGeom>
                <a:solidFill>
                  <a:schemeClr val="accent1"/>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06" name="Graphic 174">
                  <a:extLst>
                    <a:ext uri="{FF2B5EF4-FFF2-40B4-BE49-F238E27FC236}">
                      <a16:creationId xmlns:a16="http://schemas.microsoft.com/office/drawing/2014/main" id="{DB51DCCD-FBC4-6FDF-F5E8-7FCA17DD5B0F}"/>
                    </a:ext>
                  </a:extLst>
                </p:cNvPr>
                <p:cNvSpPr/>
                <p:nvPr/>
              </p:nvSpPr>
              <p:spPr>
                <a:xfrm>
                  <a:off x="2936421" y="3572499"/>
                  <a:ext cx="317922" cy="1363460"/>
                </a:xfrm>
                <a:custGeom>
                  <a:avLst/>
                  <a:gdLst>
                    <a:gd name="connsiteX0" fmla="*/ 297024 w 317922"/>
                    <a:gd name="connsiteY0" fmla="*/ 0 h 1363460"/>
                    <a:gd name="connsiteX1" fmla="*/ 3588 w 317922"/>
                    <a:gd name="connsiteY1" fmla="*/ 738454 h 1363460"/>
                    <a:gd name="connsiteX2" fmla="*/ 199946 w 317922"/>
                    <a:gd name="connsiteY2" fmla="*/ 1363460 h 1363460"/>
                    <a:gd name="connsiteX3" fmla="*/ 289280 w 317922"/>
                    <a:gd name="connsiteY3" fmla="*/ 1264547 h 1363460"/>
                    <a:gd name="connsiteX4" fmla="*/ 315742 w 317922"/>
                    <a:gd name="connsiteY4" fmla="*/ 471370 h 1363460"/>
                    <a:gd name="connsiteX5" fmla="*/ 297024 w 317922"/>
                    <a:gd name="connsiteY5" fmla="*/ 0 h 136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922" h="1363460">
                      <a:moveTo>
                        <a:pt x="297024" y="0"/>
                      </a:moveTo>
                      <a:cubicBezTo>
                        <a:pt x="297024" y="0"/>
                        <a:pt x="56256" y="94105"/>
                        <a:pt x="3588" y="738454"/>
                      </a:cubicBezTo>
                      <a:cubicBezTo>
                        <a:pt x="-31316" y="1165377"/>
                        <a:pt x="199946" y="1363460"/>
                        <a:pt x="199946" y="1363460"/>
                      </a:cubicBezTo>
                      <a:lnTo>
                        <a:pt x="289280" y="1264547"/>
                      </a:lnTo>
                      <a:cubicBezTo>
                        <a:pt x="289280" y="1264547"/>
                        <a:pt x="294088" y="736398"/>
                        <a:pt x="315742" y="471370"/>
                      </a:cubicBezTo>
                      <a:cubicBezTo>
                        <a:pt x="325946" y="346104"/>
                        <a:pt x="297024" y="0"/>
                        <a:pt x="297024" y="0"/>
                      </a:cubicBezTo>
                      <a:close/>
                    </a:path>
                  </a:pathLst>
                </a:custGeom>
                <a:solidFill>
                  <a:schemeClr val="accent1"/>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07" name="Graphic 174">
                  <a:extLst>
                    <a:ext uri="{FF2B5EF4-FFF2-40B4-BE49-F238E27FC236}">
                      <a16:creationId xmlns:a16="http://schemas.microsoft.com/office/drawing/2014/main" id="{A5D2E4E3-2AF6-773A-4FFE-6DE713AB2D83}"/>
                    </a:ext>
                  </a:extLst>
                </p:cNvPr>
                <p:cNvSpPr/>
                <p:nvPr/>
              </p:nvSpPr>
              <p:spPr>
                <a:xfrm>
                  <a:off x="3092792" y="3516816"/>
                  <a:ext cx="711784" cy="1503741"/>
                </a:xfrm>
                <a:custGeom>
                  <a:avLst/>
                  <a:gdLst>
                    <a:gd name="connsiteX0" fmla="*/ 427300 w 711784"/>
                    <a:gd name="connsiteY0" fmla="*/ 10355 h 1503741"/>
                    <a:gd name="connsiteX1" fmla="*/ 615547 w 711784"/>
                    <a:gd name="connsiteY1" fmla="*/ 110479 h 1503741"/>
                    <a:gd name="connsiteX2" fmla="*/ 645790 w 711784"/>
                    <a:gd name="connsiteY2" fmla="*/ 941019 h 1503741"/>
                    <a:gd name="connsiteX3" fmla="*/ 705468 w 711784"/>
                    <a:gd name="connsiteY3" fmla="*/ 1503742 h 1503741"/>
                    <a:gd name="connsiteX4" fmla="*/ 19131 w 711784"/>
                    <a:gd name="connsiteY4" fmla="*/ 1503742 h 1503741"/>
                    <a:gd name="connsiteX5" fmla="*/ 40676 w 711784"/>
                    <a:gd name="connsiteY5" fmla="*/ 946561 h 1503741"/>
                    <a:gd name="connsiteX6" fmla="*/ 97748 w 711784"/>
                    <a:gd name="connsiteY6" fmla="*/ 110332 h 1503741"/>
                    <a:gd name="connsiteX7" fmla="*/ 286656 w 711784"/>
                    <a:gd name="connsiteY7" fmla="*/ 10355 h 1503741"/>
                    <a:gd name="connsiteX8" fmla="*/ 427300 w 711784"/>
                    <a:gd name="connsiteY8" fmla="*/ 10355 h 15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784" h="1503741">
                      <a:moveTo>
                        <a:pt x="427300" y="10355"/>
                      </a:moveTo>
                      <a:cubicBezTo>
                        <a:pt x="505439" y="15200"/>
                        <a:pt x="591507" y="28890"/>
                        <a:pt x="615547" y="110479"/>
                      </a:cubicBezTo>
                      <a:cubicBezTo>
                        <a:pt x="631696" y="221688"/>
                        <a:pt x="578551" y="577188"/>
                        <a:pt x="645790" y="941019"/>
                      </a:cubicBezTo>
                      <a:cubicBezTo>
                        <a:pt x="740445" y="1453129"/>
                        <a:pt x="705468" y="1503742"/>
                        <a:pt x="705468" y="1503742"/>
                      </a:cubicBezTo>
                      <a:lnTo>
                        <a:pt x="19131" y="1503742"/>
                      </a:lnTo>
                      <a:cubicBezTo>
                        <a:pt x="19131" y="1503742"/>
                        <a:pt x="-35885" y="1453129"/>
                        <a:pt x="40676" y="946561"/>
                      </a:cubicBezTo>
                      <a:cubicBezTo>
                        <a:pt x="92536" y="603503"/>
                        <a:pt x="49595" y="265033"/>
                        <a:pt x="97748" y="110332"/>
                      </a:cubicBezTo>
                      <a:cubicBezTo>
                        <a:pt x="123073" y="28890"/>
                        <a:pt x="245219" y="20852"/>
                        <a:pt x="286656" y="10355"/>
                      </a:cubicBezTo>
                      <a:cubicBezTo>
                        <a:pt x="336755" y="-10712"/>
                        <a:pt x="360905" y="6207"/>
                        <a:pt x="427300" y="10355"/>
                      </a:cubicBezTo>
                      <a:close/>
                    </a:path>
                  </a:pathLst>
                </a:custGeom>
                <a:solidFill>
                  <a:schemeClr val="accent1"/>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1604" name="Graphic 174">
                <a:extLst>
                  <a:ext uri="{FF2B5EF4-FFF2-40B4-BE49-F238E27FC236}">
                    <a16:creationId xmlns:a16="http://schemas.microsoft.com/office/drawing/2014/main" id="{2692BB20-1BB3-8E57-7A7C-58C714D69E93}"/>
                  </a:ext>
                </a:extLst>
              </p:cNvPr>
              <p:cNvSpPr/>
              <p:nvPr/>
            </p:nvSpPr>
            <p:spPr>
              <a:xfrm>
                <a:off x="3235113" y="2996982"/>
                <a:ext cx="635523" cy="1078279"/>
              </a:xfrm>
              <a:custGeom>
                <a:avLst/>
                <a:gdLst>
                  <a:gd name="connsiteX0" fmla="*/ 53459 w 635523"/>
                  <a:gd name="connsiteY0" fmla="*/ 134573 h 1078279"/>
                  <a:gd name="connsiteX1" fmla="*/ 98493 w 635523"/>
                  <a:gd name="connsiteY1" fmla="*/ 40614 h 1078279"/>
                  <a:gd name="connsiteX2" fmla="*/ 349574 w 635523"/>
                  <a:gd name="connsiteY2" fmla="*/ 89612 h 1078279"/>
                  <a:gd name="connsiteX3" fmla="*/ 635523 w 635523"/>
                  <a:gd name="connsiteY3" fmla="*/ 1060062 h 1078279"/>
                  <a:gd name="connsiteX4" fmla="*/ 53459 w 635523"/>
                  <a:gd name="connsiteY4" fmla="*/ 134573 h 1078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523" h="1078279">
                    <a:moveTo>
                      <a:pt x="53459" y="134573"/>
                    </a:moveTo>
                    <a:cubicBezTo>
                      <a:pt x="58781" y="109982"/>
                      <a:pt x="81096" y="56176"/>
                      <a:pt x="98493" y="40614"/>
                    </a:cubicBezTo>
                    <a:cubicBezTo>
                      <a:pt x="188744" y="-40021"/>
                      <a:pt x="315074" y="11583"/>
                      <a:pt x="349574" y="89612"/>
                    </a:cubicBezTo>
                    <a:cubicBezTo>
                      <a:pt x="513598" y="460564"/>
                      <a:pt x="330856" y="966728"/>
                      <a:pt x="635523" y="1060062"/>
                    </a:cubicBezTo>
                    <a:cubicBezTo>
                      <a:pt x="-166976" y="1209037"/>
                      <a:pt x="-4605" y="403308"/>
                      <a:pt x="53459" y="134573"/>
                    </a:cubicBezTo>
                    <a:close/>
                  </a:path>
                </a:pathLst>
              </a:custGeom>
              <a:solidFill>
                <a:schemeClr val="tx1"/>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268" name="Graphic 31">
              <a:extLst>
                <a:ext uri="{FF2B5EF4-FFF2-40B4-BE49-F238E27FC236}">
                  <a16:creationId xmlns:a16="http://schemas.microsoft.com/office/drawing/2014/main" id="{AE6F04A7-60F5-E413-7828-8F23128921A4}"/>
                </a:ext>
              </a:extLst>
            </p:cNvPr>
            <p:cNvGrpSpPr/>
            <p:nvPr/>
          </p:nvGrpSpPr>
          <p:grpSpPr>
            <a:xfrm>
              <a:off x="11390484" y="8301375"/>
              <a:ext cx="637199" cy="1047427"/>
              <a:chOff x="13103295" y="4071209"/>
              <a:chExt cx="139797" cy="229798"/>
            </a:xfrm>
          </p:grpSpPr>
          <p:sp>
            <p:nvSpPr>
              <p:cNvPr id="1594" name="Freeform: Shape 1593">
                <a:extLst>
                  <a:ext uri="{FF2B5EF4-FFF2-40B4-BE49-F238E27FC236}">
                    <a16:creationId xmlns:a16="http://schemas.microsoft.com/office/drawing/2014/main" id="{BEB397F0-BB3F-F375-AB88-BF76D36543B7}"/>
                  </a:ext>
                </a:extLst>
              </p:cNvPr>
              <p:cNvSpPr/>
              <p:nvPr/>
            </p:nvSpPr>
            <p:spPr>
              <a:xfrm>
                <a:off x="13103295" y="4138506"/>
                <a:ext cx="46540" cy="160032"/>
              </a:xfrm>
              <a:custGeom>
                <a:avLst/>
                <a:gdLst>
                  <a:gd name="connsiteX0" fmla="*/ 41490 w 46540"/>
                  <a:gd name="connsiteY0" fmla="*/ 0 h 160032"/>
                  <a:gd name="connsiteX1" fmla="*/ 3951 w 46540"/>
                  <a:gd name="connsiteY1" fmla="*/ 88413 h 160032"/>
                  <a:gd name="connsiteX2" fmla="*/ 0 w 46540"/>
                  <a:gd name="connsiteY2" fmla="*/ 160032 h 160032"/>
                  <a:gd name="connsiteX3" fmla="*/ 14818 w 46540"/>
                  <a:gd name="connsiteY3" fmla="*/ 160032 h 160032"/>
                  <a:gd name="connsiteX4" fmla="*/ 46429 w 46540"/>
                  <a:gd name="connsiteY4" fmla="*/ 55814 h 160032"/>
                  <a:gd name="connsiteX5" fmla="*/ 41490 w 46540"/>
                  <a:gd name="connsiteY5" fmla="*/ 0 h 16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40" h="160032">
                    <a:moveTo>
                      <a:pt x="41490" y="0"/>
                    </a:moveTo>
                    <a:cubicBezTo>
                      <a:pt x="41490" y="0"/>
                      <a:pt x="7903" y="8891"/>
                      <a:pt x="3951" y="88413"/>
                    </a:cubicBezTo>
                    <a:cubicBezTo>
                      <a:pt x="1482" y="140275"/>
                      <a:pt x="0" y="160032"/>
                      <a:pt x="0" y="160032"/>
                    </a:cubicBezTo>
                    <a:lnTo>
                      <a:pt x="14818" y="160032"/>
                    </a:lnTo>
                    <a:cubicBezTo>
                      <a:pt x="14818" y="160032"/>
                      <a:pt x="43466" y="87919"/>
                      <a:pt x="46429" y="55814"/>
                    </a:cubicBezTo>
                    <a:cubicBezTo>
                      <a:pt x="47417" y="40996"/>
                      <a:pt x="41490" y="0"/>
                      <a:pt x="41490" y="0"/>
                    </a:cubicBezTo>
                    <a:close/>
                  </a:path>
                </a:pathLst>
              </a:custGeom>
              <a:solidFill>
                <a:srgbClr val="ABCEE7"/>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95" name="Freeform: Shape 1594">
                <a:extLst>
                  <a:ext uri="{FF2B5EF4-FFF2-40B4-BE49-F238E27FC236}">
                    <a16:creationId xmlns:a16="http://schemas.microsoft.com/office/drawing/2014/main" id="{C798B46F-F55D-5975-575D-C7602D5B18D0}"/>
                  </a:ext>
                </a:extLst>
              </p:cNvPr>
              <p:cNvSpPr/>
              <p:nvPr/>
            </p:nvSpPr>
            <p:spPr>
              <a:xfrm>
                <a:off x="13196504" y="4138506"/>
                <a:ext cx="46588" cy="160032"/>
              </a:xfrm>
              <a:custGeom>
                <a:avLst/>
                <a:gdLst>
                  <a:gd name="connsiteX0" fmla="*/ 3601 w 46588"/>
                  <a:gd name="connsiteY0" fmla="*/ 0 h 160032"/>
                  <a:gd name="connsiteX1" fmla="*/ 42621 w 46588"/>
                  <a:gd name="connsiteY1" fmla="*/ 88413 h 160032"/>
                  <a:gd name="connsiteX2" fmla="*/ 46572 w 46588"/>
                  <a:gd name="connsiteY2" fmla="*/ 160032 h 160032"/>
                  <a:gd name="connsiteX3" fmla="*/ 31755 w 46588"/>
                  <a:gd name="connsiteY3" fmla="*/ 160032 h 160032"/>
                  <a:gd name="connsiteX4" fmla="*/ 143 w 46588"/>
                  <a:gd name="connsiteY4" fmla="*/ 55814 h 160032"/>
                  <a:gd name="connsiteX5" fmla="*/ 3601 w 46588"/>
                  <a:gd name="connsiteY5" fmla="*/ 0 h 16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88" h="160032">
                    <a:moveTo>
                      <a:pt x="3601" y="0"/>
                    </a:moveTo>
                    <a:cubicBezTo>
                      <a:pt x="3601" y="0"/>
                      <a:pt x="36200" y="10866"/>
                      <a:pt x="42621" y="88413"/>
                    </a:cubicBezTo>
                    <a:cubicBezTo>
                      <a:pt x="47066" y="139781"/>
                      <a:pt x="46572" y="160032"/>
                      <a:pt x="46572" y="160032"/>
                    </a:cubicBezTo>
                    <a:lnTo>
                      <a:pt x="31755" y="160032"/>
                    </a:lnTo>
                    <a:cubicBezTo>
                      <a:pt x="31755" y="160032"/>
                      <a:pt x="3107" y="87919"/>
                      <a:pt x="143" y="55814"/>
                    </a:cubicBezTo>
                    <a:cubicBezTo>
                      <a:pt x="-845" y="40996"/>
                      <a:pt x="3601" y="0"/>
                      <a:pt x="3601" y="0"/>
                    </a:cubicBezTo>
                    <a:close/>
                  </a:path>
                </a:pathLst>
              </a:custGeom>
              <a:solidFill>
                <a:srgbClr val="ABCEE7"/>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96" name="Freeform: Shape 1595">
                <a:extLst>
                  <a:ext uri="{FF2B5EF4-FFF2-40B4-BE49-F238E27FC236}">
                    <a16:creationId xmlns:a16="http://schemas.microsoft.com/office/drawing/2014/main" id="{53BD642E-6143-D109-BEAC-9EE320632180}"/>
                  </a:ext>
                </a:extLst>
              </p:cNvPr>
              <p:cNvSpPr/>
              <p:nvPr/>
            </p:nvSpPr>
            <p:spPr>
              <a:xfrm>
                <a:off x="13128979" y="4130869"/>
                <a:ext cx="90004" cy="170138"/>
              </a:xfrm>
              <a:custGeom>
                <a:avLst/>
                <a:gdLst>
                  <a:gd name="connsiteX0" fmla="*/ 35563 w 90004"/>
                  <a:gd name="connsiteY0" fmla="*/ 1216 h 170138"/>
                  <a:gd name="connsiteX1" fmla="*/ 7903 w 90004"/>
                  <a:gd name="connsiteY1" fmla="*/ 12082 h 170138"/>
                  <a:gd name="connsiteX2" fmla="*/ 0 w 90004"/>
                  <a:gd name="connsiteY2" fmla="*/ 169645 h 170138"/>
                  <a:gd name="connsiteX3" fmla="*/ 89895 w 90004"/>
                  <a:gd name="connsiteY3" fmla="*/ 170139 h 170138"/>
                  <a:gd name="connsiteX4" fmla="*/ 79028 w 90004"/>
                  <a:gd name="connsiteY4" fmla="*/ 13564 h 170138"/>
                  <a:gd name="connsiteX5" fmla="*/ 52356 w 90004"/>
                  <a:gd name="connsiteY5" fmla="*/ 1216 h 170138"/>
                  <a:gd name="connsiteX6" fmla="*/ 35563 w 90004"/>
                  <a:gd name="connsiteY6" fmla="*/ 1216 h 17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04" h="170138">
                    <a:moveTo>
                      <a:pt x="35563" y="1216"/>
                    </a:moveTo>
                    <a:cubicBezTo>
                      <a:pt x="26178" y="1710"/>
                      <a:pt x="10866" y="9119"/>
                      <a:pt x="7903" y="12082"/>
                    </a:cubicBezTo>
                    <a:cubicBezTo>
                      <a:pt x="3457" y="44187"/>
                      <a:pt x="0" y="169645"/>
                      <a:pt x="0" y="169645"/>
                    </a:cubicBezTo>
                    <a:lnTo>
                      <a:pt x="89895" y="170139"/>
                    </a:lnTo>
                    <a:cubicBezTo>
                      <a:pt x="89895" y="170139"/>
                      <a:pt x="91870" y="60981"/>
                      <a:pt x="79028" y="13564"/>
                    </a:cubicBezTo>
                    <a:cubicBezTo>
                      <a:pt x="74583" y="5661"/>
                      <a:pt x="55320" y="2204"/>
                      <a:pt x="52356" y="1216"/>
                    </a:cubicBezTo>
                    <a:cubicBezTo>
                      <a:pt x="46429" y="-1254"/>
                      <a:pt x="43466" y="722"/>
                      <a:pt x="35563" y="1216"/>
                    </a:cubicBezTo>
                    <a:close/>
                  </a:path>
                </a:pathLst>
              </a:custGeom>
              <a:solidFill>
                <a:srgbClr val="ABCEE7"/>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597" name="Graphic 31">
                <a:extLst>
                  <a:ext uri="{FF2B5EF4-FFF2-40B4-BE49-F238E27FC236}">
                    <a16:creationId xmlns:a16="http://schemas.microsoft.com/office/drawing/2014/main" id="{5FB614BC-8D80-A35A-7B71-5D62FF0DF446}"/>
                  </a:ext>
                </a:extLst>
              </p:cNvPr>
              <p:cNvGrpSpPr/>
              <p:nvPr/>
            </p:nvGrpSpPr>
            <p:grpSpPr>
              <a:xfrm>
                <a:off x="13152033" y="4071209"/>
                <a:ext cx="41316" cy="63510"/>
                <a:chOff x="13152033" y="4071209"/>
                <a:chExt cx="41316" cy="63510"/>
              </a:xfrm>
            </p:grpSpPr>
            <p:sp>
              <p:nvSpPr>
                <p:cNvPr id="1598" name="Freeform: Shape 1597">
                  <a:extLst>
                    <a:ext uri="{FF2B5EF4-FFF2-40B4-BE49-F238E27FC236}">
                      <a16:creationId xmlns:a16="http://schemas.microsoft.com/office/drawing/2014/main" id="{B2B45C09-C0C1-6108-5427-5A700BECE7D7}"/>
                    </a:ext>
                  </a:extLst>
                </p:cNvPr>
                <p:cNvSpPr/>
                <p:nvPr/>
              </p:nvSpPr>
              <p:spPr>
                <a:xfrm>
                  <a:off x="13152033" y="4095587"/>
                  <a:ext cx="5867" cy="11307"/>
                </a:xfrm>
                <a:custGeom>
                  <a:avLst/>
                  <a:gdLst>
                    <a:gd name="connsiteX0" fmla="*/ 4112 w 5867"/>
                    <a:gd name="connsiteY0" fmla="*/ 441 h 11307"/>
                    <a:gd name="connsiteX1" fmla="*/ 654 w 5867"/>
                    <a:gd name="connsiteY1" fmla="*/ 1429 h 11307"/>
                    <a:gd name="connsiteX2" fmla="*/ 4112 w 5867"/>
                    <a:gd name="connsiteY2" fmla="*/ 11307 h 11307"/>
                    <a:gd name="connsiteX3" fmla="*/ 4112 w 5867"/>
                    <a:gd name="connsiteY3" fmla="*/ 441 h 11307"/>
                  </a:gdLst>
                  <a:ahLst/>
                  <a:cxnLst>
                    <a:cxn ang="0">
                      <a:pos x="connsiteX0" y="connsiteY0"/>
                    </a:cxn>
                    <a:cxn ang="0">
                      <a:pos x="connsiteX1" y="connsiteY1"/>
                    </a:cxn>
                    <a:cxn ang="0">
                      <a:pos x="connsiteX2" y="connsiteY2"/>
                    </a:cxn>
                    <a:cxn ang="0">
                      <a:pos x="connsiteX3" y="connsiteY3"/>
                    </a:cxn>
                  </a:cxnLst>
                  <a:rect l="l" t="t" r="r" b="b"/>
                  <a:pathLst>
                    <a:path w="5867" h="11307">
                      <a:moveTo>
                        <a:pt x="4112" y="441"/>
                      </a:moveTo>
                      <a:cubicBezTo>
                        <a:pt x="4112" y="441"/>
                        <a:pt x="2136" y="-1041"/>
                        <a:pt x="654" y="1429"/>
                      </a:cubicBezTo>
                      <a:cubicBezTo>
                        <a:pt x="-828" y="3404"/>
                        <a:pt x="160" y="11307"/>
                        <a:pt x="4112" y="11307"/>
                      </a:cubicBezTo>
                      <a:cubicBezTo>
                        <a:pt x="8063" y="11307"/>
                        <a:pt x="4112" y="441"/>
                        <a:pt x="4112" y="441"/>
                      </a:cubicBezTo>
                      <a:close/>
                    </a:path>
                  </a:pathLst>
                </a:custGeom>
                <a:solidFill>
                  <a:srgbClr val="E2857E"/>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99" name="Freeform: Shape 1598">
                  <a:extLst>
                    <a:ext uri="{FF2B5EF4-FFF2-40B4-BE49-F238E27FC236}">
                      <a16:creationId xmlns:a16="http://schemas.microsoft.com/office/drawing/2014/main" id="{A0F10760-CCF2-0C8D-5C2C-37BF11355420}"/>
                    </a:ext>
                  </a:extLst>
                </p:cNvPr>
                <p:cNvSpPr/>
                <p:nvPr/>
              </p:nvSpPr>
              <p:spPr>
                <a:xfrm>
                  <a:off x="13187482" y="4095587"/>
                  <a:ext cx="5867" cy="11307"/>
                </a:xfrm>
                <a:custGeom>
                  <a:avLst/>
                  <a:gdLst>
                    <a:gd name="connsiteX0" fmla="*/ 1756 w 5867"/>
                    <a:gd name="connsiteY0" fmla="*/ 441 h 11307"/>
                    <a:gd name="connsiteX1" fmla="*/ 5214 w 5867"/>
                    <a:gd name="connsiteY1" fmla="*/ 1429 h 11307"/>
                    <a:gd name="connsiteX2" fmla="*/ 1756 w 5867"/>
                    <a:gd name="connsiteY2" fmla="*/ 11307 h 11307"/>
                    <a:gd name="connsiteX3" fmla="*/ 1756 w 5867"/>
                    <a:gd name="connsiteY3" fmla="*/ 441 h 11307"/>
                  </a:gdLst>
                  <a:ahLst/>
                  <a:cxnLst>
                    <a:cxn ang="0">
                      <a:pos x="connsiteX0" y="connsiteY0"/>
                    </a:cxn>
                    <a:cxn ang="0">
                      <a:pos x="connsiteX1" y="connsiteY1"/>
                    </a:cxn>
                    <a:cxn ang="0">
                      <a:pos x="connsiteX2" y="connsiteY2"/>
                    </a:cxn>
                    <a:cxn ang="0">
                      <a:pos x="connsiteX3" y="connsiteY3"/>
                    </a:cxn>
                  </a:cxnLst>
                  <a:rect l="l" t="t" r="r" b="b"/>
                  <a:pathLst>
                    <a:path w="5867" h="11307">
                      <a:moveTo>
                        <a:pt x="1756" y="441"/>
                      </a:moveTo>
                      <a:cubicBezTo>
                        <a:pt x="1756" y="441"/>
                        <a:pt x="3732" y="-1041"/>
                        <a:pt x="5214" y="1429"/>
                      </a:cubicBezTo>
                      <a:cubicBezTo>
                        <a:pt x="6695" y="3404"/>
                        <a:pt x="5708" y="11307"/>
                        <a:pt x="1756" y="11307"/>
                      </a:cubicBezTo>
                      <a:cubicBezTo>
                        <a:pt x="-2195" y="11307"/>
                        <a:pt x="1756" y="441"/>
                        <a:pt x="1756" y="441"/>
                      </a:cubicBezTo>
                      <a:close/>
                    </a:path>
                  </a:pathLst>
                </a:custGeom>
                <a:solidFill>
                  <a:srgbClr val="E2857E"/>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00" name="Freeform: Shape 1599">
                  <a:extLst>
                    <a:ext uri="{FF2B5EF4-FFF2-40B4-BE49-F238E27FC236}">
                      <a16:creationId xmlns:a16="http://schemas.microsoft.com/office/drawing/2014/main" id="{2AA51334-2F98-8589-B545-24D41CE193E2}"/>
                    </a:ext>
                  </a:extLst>
                </p:cNvPr>
                <p:cNvSpPr/>
                <p:nvPr/>
              </p:nvSpPr>
              <p:spPr>
                <a:xfrm>
                  <a:off x="13164542" y="4113809"/>
                  <a:ext cx="16793" cy="20909"/>
                </a:xfrm>
                <a:custGeom>
                  <a:avLst/>
                  <a:gdLst>
                    <a:gd name="connsiteX0" fmla="*/ 16794 w 16793"/>
                    <a:gd name="connsiteY0" fmla="*/ 18275 h 20909"/>
                    <a:gd name="connsiteX1" fmla="*/ 0 w 16793"/>
                    <a:gd name="connsiteY1" fmla="*/ 18275 h 20909"/>
                    <a:gd name="connsiteX2" fmla="*/ 1482 w 16793"/>
                    <a:gd name="connsiteY2" fmla="*/ 0 h 20909"/>
                    <a:gd name="connsiteX3" fmla="*/ 15312 w 16793"/>
                    <a:gd name="connsiteY3" fmla="*/ 0 h 20909"/>
                    <a:gd name="connsiteX4" fmla="*/ 16794 w 16793"/>
                    <a:gd name="connsiteY4" fmla="*/ 18275 h 20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3" h="20909">
                      <a:moveTo>
                        <a:pt x="16794" y="18275"/>
                      </a:moveTo>
                      <a:cubicBezTo>
                        <a:pt x="16794" y="18275"/>
                        <a:pt x="10372" y="24202"/>
                        <a:pt x="0" y="18275"/>
                      </a:cubicBezTo>
                      <a:lnTo>
                        <a:pt x="1482" y="0"/>
                      </a:lnTo>
                      <a:lnTo>
                        <a:pt x="15312" y="0"/>
                      </a:lnTo>
                      <a:lnTo>
                        <a:pt x="16794" y="18275"/>
                      </a:lnTo>
                      <a:close/>
                    </a:path>
                  </a:pathLst>
                </a:custGeom>
                <a:solidFill>
                  <a:srgbClr val="E2857E"/>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01" name="Freeform: Shape 1600">
                  <a:extLst>
                    <a:ext uri="{FF2B5EF4-FFF2-40B4-BE49-F238E27FC236}">
                      <a16:creationId xmlns:a16="http://schemas.microsoft.com/office/drawing/2014/main" id="{70D28FBC-B8D5-F684-9158-5876E6A476A2}"/>
                    </a:ext>
                  </a:extLst>
                </p:cNvPr>
                <p:cNvSpPr/>
                <p:nvPr/>
              </p:nvSpPr>
              <p:spPr>
                <a:xfrm>
                  <a:off x="13156639" y="4079728"/>
                  <a:ext cx="32599" cy="44947"/>
                </a:xfrm>
                <a:custGeom>
                  <a:avLst/>
                  <a:gdLst>
                    <a:gd name="connsiteX0" fmla="*/ 32105 w 32599"/>
                    <a:gd name="connsiteY0" fmla="*/ 14324 h 44947"/>
                    <a:gd name="connsiteX1" fmla="*/ 16300 w 32599"/>
                    <a:gd name="connsiteY1" fmla="*/ 0 h 44947"/>
                    <a:gd name="connsiteX2" fmla="*/ 494 w 32599"/>
                    <a:gd name="connsiteY2" fmla="*/ 14324 h 44947"/>
                    <a:gd name="connsiteX3" fmla="*/ 0 w 32599"/>
                    <a:gd name="connsiteY3" fmla="*/ 26178 h 44947"/>
                    <a:gd name="connsiteX4" fmla="*/ 16300 w 32599"/>
                    <a:gd name="connsiteY4" fmla="*/ 44947 h 44947"/>
                    <a:gd name="connsiteX5" fmla="*/ 32599 w 32599"/>
                    <a:gd name="connsiteY5" fmla="*/ 26178 h 44947"/>
                    <a:gd name="connsiteX6" fmla="*/ 32105 w 32599"/>
                    <a:gd name="connsiteY6" fmla="*/ 14324 h 44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99" h="44947">
                      <a:moveTo>
                        <a:pt x="32105" y="14324"/>
                      </a:moveTo>
                      <a:cubicBezTo>
                        <a:pt x="32105" y="5433"/>
                        <a:pt x="25190" y="0"/>
                        <a:pt x="16300" y="0"/>
                      </a:cubicBezTo>
                      <a:cubicBezTo>
                        <a:pt x="7409" y="0"/>
                        <a:pt x="494" y="5927"/>
                        <a:pt x="494" y="14324"/>
                      </a:cubicBezTo>
                      <a:cubicBezTo>
                        <a:pt x="494" y="14324"/>
                        <a:pt x="0" y="25684"/>
                        <a:pt x="0" y="26178"/>
                      </a:cubicBezTo>
                      <a:cubicBezTo>
                        <a:pt x="0" y="34575"/>
                        <a:pt x="10372" y="44947"/>
                        <a:pt x="16300" y="44947"/>
                      </a:cubicBezTo>
                      <a:cubicBezTo>
                        <a:pt x="23709" y="44947"/>
                        <a:pt x="32599" y="32599"/>
                        <a:pt x="32599" y="26178"/>
                      </a:cubicBezTo>
                      <a:cubicBezTo>
                        <a:pt x="32599" y="25190"/>
                        <a:pt x="32105" y="14324"/>
                        <a:pt x="32105" y="14324"/>
                      </a:cubicBezTo>
                      <a:close/>
                    </a:path>
                  </a:pathLst>
                </a:custGeom>
                <a:solidFill>
                  <a:srgbClr val="E2857E"/>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02" name="Freeform: Shape 1601">
                  <a:extLst>
                    <a:ext uri="{FF2B5EF4-FFF2-40B4-BE49-F238E27FC236}">
                      <a16:creationId xmlns:a16="http://schemas.microsoft.com/office/drawing/2014/main" id="{D1BE7DD9-748D-6CBF-1926-58DBC9C697E7}"/>
                    </a:ext>
                  </a:extLst>
                </p:cNvPr>
                <p:cNvSpPr/>
                <p:nvPr/>
              </p:nvSpPr>
              <p:spPr>
                <a:xfrm>
                  <a:off x="13154436" y="4071209"/>
                  <a:ext cx="36543" cy="45564"/>
                </a:xfrm>
                <a:custGeom>
                  <a:avLst/>
                  <a:gdLst>
                    <a:gd name="connsiteX0" fmla="*/ 31839 w 36543"/>
                    <a:gd name="connsiteY0" fmla="*/ 5062 h 45564"/>
                    <a:gd name="connsiteX1" fmla="*/ 2203 w 36543"/>
                    <a:gd name="connsiteY1" fmla="*/ 9508 h 45564"/>
                    <a:gd name="connsiteX2" fmla="*/ 1215 w 36543"/>
                    <a:gd name="connsiteY2" fmla="*/ 28771 h 45564"/>
                    <a:gd name="connsiteX3" fmla="*/ 18009 w 36543"/>
                    <a:gd name="connsiteY3" fmla="*/ 45564 h 45564"/>
                    <a:gd name="connsiteX4" fmla="*/ 35296 w 36543"/>
                    <a:gd name="connsiteY4" fmla="*/ 29759 h 45564"/>
                    <a:gd name="connsiteX5" fmla="*/ 31839 w 36543"/>
                    <a:gd name="connsiteY5" fmla="*/ 5062 h 4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43" h="45564">
                      <a:moveTo>
                        <a:pt x="31839" y="5062"/>
                      </a:moveTo>
                      <a:cubicBezTo>
                        <a:pt x="20973" y="-4322"/>
                        <a:pt x="6649" y="617"/>
                        <a:pt x="2203" y="9508"/>
                      </a:cubicBezTo>
                      <a:cubicBezTo>
                        <a:pt x="-1748" y="16917"/>
                        <a:pt x="721" y="23832"/>
                        <a:pt x="1215" y="28771"/>
                      </a:cubicBezTo>
                      <a:cubicBezTo>
                        <a:pt x="1709" y="35192"/>
                        <a:pt x="10106" y="45564"/>
                        <a:pt x="18009" y="45564"/>
                      </a:cubicBezTo>
                      <a:cubicBezTo>
                        <a:pt x="26900" y="45564"/>
                        <a:pt x="34309" y="35686"/>
                        <a:pt x="35296" y="29759"/>
                      </a:cubicBezTo>
                      <a:cubicBezTo>
                        <a:pt x="36284" y="23338"/>
                        <a:pt x="38754" y="10990"/>
                        <a:pt x="31839" y="5062"/>
                      </a:cubicBezTo>
                      <a:close/>
                    </a:path>
                  </a:pathLst>
                </a:custGeom>
                <a:solidFill>
                  <a:srgbClr val="7F7F7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nvGrpSpPr>
            <p:cNvPr id="269" name="Graphic 31">
              <a:extLst>
                <a:ext uri="{FF2B5EF4-FFF2-40B4-BE49-F238E27FC236}">
                  <a16:creationId xmlns:a16="http://schemas.microsoft.com/office/drawing/2014/main" id="{2C7B31E9-5D7D-30FD-C138-990820A5A8A0}"/>
                </a:ext>
              </a:extLst>
            </p:cNvPr>
            <p:cNvGrpSpPr/>
            <p:nvPr/>
          </p:nvGrpSpPr>
          <p:grpSpPr>
            <a:xfrm>
              <a:off x="10781619" y="8251714"/>
              <a:ext cx="523293" cy="990618"/>
              <a:chOff x="12685216" y="4060314"/>
              <a:chExt cx="114807" cy="217335"/>
            </a:xfrm>
          </p:grpSpPr>
          <p:grpSp>
            <p:nvGrpSpPr>
              <p:cNvPr id="1586" name="Graphic 31">
                <a:extLst>
                  <a:ext uri="{FF2B5EF4-FFF2-40B4-BE49-F238E27FC236}">
                    <a16:creationId xmlns:a16="http://schemas.microsoft.com/office/drawing/2014/main" id="{44F50C2B-6933-3757-0304-4866A0CEC895}"/>
                  </a:ext>
                </a:extLst>
              </p:cNvPr>
              <p:cNvGrpSpPr/>
              <p:nvPr/>
            </p:nvGrpSpPr>
            <p:grpSpPr>
              <a:xfrm>
                <a:off x="12723103" y="4060314"/>
                <a:ext cx="42904" cy="74734"/>
                <a:chOff x="12723103" y="4060314"/>
                <a:chExt cx="42904" cy="74734"/>
              </a:xfrm>
            </p:grpSpPr>
            <p:sp>
              <p:nvSpPr>
                <p:cNvPr id="1591" name="Freeform: Shape 1590">
                  <a:extLst>
                    <a:ext uri="{FF2B5EF4-FFF2-40B4-BE49-F238E27FC236}">
                      <a16:creationId xmlns:a16="http://schemas.microsoft.com/office/drawing/2014/main" id="{3EA233CB-2152-8B51-8EA0-9078F59C593F}"/>
                    </a:ext>
                  </a:extLst>
                </p:cNvPr>
                <p:cNvSpPr/>
                <p:nvPr/>
              </p:nvSpPr>
              <p:spPr>
                <a:xfrm>
                  <a:off x="12730541" y="4084443"/>
                  <a:ext cx="35466" cy="50605"/>
                </a:xfrm>
                <a:custGeom>
                  <a:avLst/>
                  <a:gdLst>
                    <a:gd name="connsiteX0" fmla="*/ 13175 w 35466"/>
                    <a:gd name="connsiteY0" fmla="*/ 719 h 50605"/>
                    <a:gd name="connsiteX1" fmla="*/ 33920 w 35466"/>
                    <a:gd name="connsiteY1" fmla="*/ 13067 h 50605"/>
                    <a:gd name="connsiteX2" fmla="*/ 31450 w 35466"/>
                    <a:gd name="connsiteY2" fmla="*/ 39739 h 50605"/>
                    <a:gd name="connsiteX3" fmla="*/ 19102 w 35466"/>
                    <a:gd name="connsiteY3" fmla="*/ 39739 h 50605"/>
                    <a:gd name="connsiteX4" fmla="*/ 21078 w 35466"/>
                    <a:gd name="connsiteY4" fmla="*/ 50605 h 50605"/>
                    <a:gd name="connsiteX5" fmla="*/ 3296 w 35466"/>
                    <a:gd name="connsiteY5" fmla="*/ 50605 h 50605"/>
                    <a:gd name="connsiteX6" fmla="*/ 6260 w 35466"/>
                    <a:gd name="connsiteY6" fmla="*/ 35293 h 50605"/>
                    <a:gd name="connsiteX7" fmla="*/ 13175 w 35466"/>
                    <a:gd name="connsiteY7" fmla="*/ 719 h 50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66" h="50605">
                      <a:moveTo>
                        <a:pt x="13175" y="719"/>
                      </a:moveTo>
                      <a:cubicBezTo>
                        <a:pt x="21078" y="-1257"/>
                        <a:pt x="31450" y="225"/>
                        <a:pt x="33920" y="13067"/>
                      </a:cubicBezTo>
                      <a:cubicBezTo>
                        <a:pt x="35401" y="21957"/>
                        <a:pt x="37377" y="37763"/>
                        <a:pt x="31450" y="39739"/>
                      </a:cubicBezTo>
                      <a:cubicBezTo>
                        <a:pt x="28980" y="40727"/>
                        <a:pt x="19102" y="39739"/>
                        <a:pt x="19102" y="39739"/>
                      </a:cubicBezTo>
                      <a:lnTo>
                        <a:pt x="21078" y="50605"/>
                      </a:lnTo>
                      <a:lnTo>
                        <a:pt x="3296" y="50605"/>
                      </a:lnTo>
                      <a:lnTo>
                        <a:pt x="6260" y="35293"/>
                      </a:lnTo>
                      <a:cubicBezTo>
                        <a:pt x="6754" y="35293"/>
                        <a:pt x="-12015" y="7140"/>
                        <a:pt x="13175" y="719"/>
                      </a:cubicBezTo>
                      <a:close/>
                    </a:path>
                  </a:pathLst>
                </a:custGeom>
                <a:solidFill>
                  <a:srgbClr val="564539"/>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92" name="Freeform: Shape 1591">
                  <a:extLst>
                    <a:ext uri="{FF2B5EF4-FFF2-40B4-BE49-F238E27FC236}">
                      <a16:creationId xmlns:a16="http://schemas.microsoft.com/office/drawing/2014/main" id="{9891BF14-8491-1E10-F0A4-F5D65B3F7EE9}"/>
                    </a:ext>
                  </a:extLst>
                </p:cNvPr>
                <p:cNvSpPr/>
                <p:nvPr/>
              </p:nvSpPr>
              <p:spPr>
                <a:xfrm>
                  <a:off x="12723103" y="4079579"/>
                  <a:ext cx="35924" cy="40157"/>
                </a:xfrm>
                <a:custGeom>
                  <a:avLst/>
                  <a:gdLst>
                    <a:gd name="connsiteX0" fmla="*/ 35925 w 35924"/>
                    <a:gd name="connsiteY0" fmla="*/ 7064 h 40157"/>
                    <a:gd name="connsiteX1" fmla="*/ 24071 w 35924"/>
                    <a:gd name="connsiteY1" fmla="*/ 24352 h 40157"/>
                    <a:gd name="connsiteX2" fmla="*/ 17156 w 35924"/>
                    <a:gd name="connsiteY2" fmla="*/ 24845 h 40157"/>
                    <a:gd name="connsiteX3" fmla="*/ 19131 w 35924"/>
                    <a:gd name="connsiteY3" fmla="*/ 33242 h 40157"/>
                    <a:gd name="connsiteX4" fmla="*/ 13698 w 35924"/>
                    <a:gd name="connsiteY4" fmla="*/ 40157 h 40157"/>
                    <a:gd name="connsiteX5" fmla="*/ 2338 w 35924"/>
                    <a:gd name="connsiteY5" fmla="*/ 9534 h 40157"/>
                    <a:gd name="connsiteX6" fmla="*/ 35925 w 35924"/>
                    <a:gd name="connsiteY6" fmla="*/ 7064 h 4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24" h="40157">
                      <a:moveTo>
                        <a:pt x="35925" y="7064"/>
                      </a:moveTo>
                      <a:lnTo>
                        <a:pt x="24071" y="24352"/>
                      </a:lnTo>
                      <a:cubicBezTo>
                        <a:pt x="22095" y="20400"/>
                        <a:pt x="18637" y="21388"/>
                        <a:pt x="17156" y="24845"/>
                      </a:cubicBezTo>
                      <a:cubicBezTo>
                        <a:pt x="15180" y="28797"/>
                        <a:pt x="19625" y="31760"/>
                        <a:pt x="19131" y="33242"/>
                      </a:cubicBezTo>
                      <a:cubicBezTo>
                        <a:pt x="18637" y="34724"/>
                        <a:pt x="14686" y="40157"/>
                        <a:pt x="13698" y="40157"/>
                      </a:cubicBezTo>
                      <a:cubicBezTo>
                        <a:pt x="12710" y="40157"/>
                        <a:pt x="-6553" y="31760"/>
                        <a:pt x="2338" y="9534"/>
                      </a:cubicBezTo>
                      <a:cubicBezTo>
                        <a:pt x="6783" y="-839"/>
                        <a:pt x="24071" y="-4296"/>
                        <a:pt x="35925" y="7064"/>
                      </a:cubicBezTo>
                      <a:close/>
                    </a:path>
                  </a:pathLst>
                </a:custGeom>
                <a:solidFill>
                  <a:srgbClr val="000000"/>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93" name="Freeform: Shape 1592">
                  <a:extLst>
                    <a:ext uri="{FF2B5EF4-FFF2-40B4-BE49-F238E27FC236}">
                      <a16:creationId xmlns:a16="http://schemas.microsoft.com/office/drawing/2014/main" id="{65A4050D-8737-1473-22DA-1DBA9BF9D2B5}"/>
                    </a:ext>
                  </a:extLst>
                </p:cNvPr>
                <p:cNvSpPr/>
                <p:nvPr/>
              </p:nvSpPr>
              <p:spPr>
                <a:xfrm>
                  <a:off x="12728422" y="4060314"/>
                  <a:ext cx="18143" cy="21730"/>
                </a:xfrm>
                <a:custGeom>
                  <a:avLst/>
                  <a:gdLst>
                    <a:gd name="connsiteX0" fmla="*/ 17764 w 18143"/>
                    <a:gd name="connsiteY0" fmla="*/ 9042 h 21730"/>
                    <a:gd name="connsiteX1" fmla="*/ 10849 w 18143"/>
                    <a:gd name="connsiteY1" fmla="*/ 21390 h 21730"/>
                    <a:gd name="connsiteX2" fmla="*/ 476 w 18143"/>
                    <a:gd name="connsiteY2" fmla="*/ 12993 h 21730"/>
                    <a:gd name="connsiteX3" fmla="*/ 6403 w 18143"/>
                    <a:gd name="connsiteY3" fmla="*/ 151 h 21730"/>
                    <a:gd name="connsiteX4" fmla="*/ 17764 w 18143"/>
                    <a:gd name="connsiteY4" fmla="*/ 9042 h 2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43" h="21730">
                      <a:moveTo>
                        <a:pt x="17764" y="9042"/>
                      </a:moveTo>
                      <a:cubicBezTo>
                        <a:pt x="19246" y="14969"/>
                        <a:pt x="16282" y="19908"/>
                        <a:pt x="10849" y="21390"/>
                      </a:cubicBezTo>
                      <a:cubicBezTo>
                        <a:pt x="5416" y="22872"/>
                        <a:pt x="1958" y="19414"/>
                        <a:pt x="476" y="12993"/>
                      </a:cubicBezTo>
                      <a:cubicBezTo>
                        <a:pt x="-1005" y="7066"/>
                        <a:pt x="970" y="1633"/>
                        <a:pt x="6403" y="151"/>
                      </a:cubicBezTo>
                      <a:cubicBezTo>
                        <a:pt x="11837" y="-837"/>
                        <a:pt x="16282" y="3115"/>
                        <a:pt x="17764" y="9042"/>
                      </a:cubicBezTo>
                      <a:close/>
                    </a:path>
                  </a:pathLst>
                </a:custGeom>
                <a:solidFill>
                  <a:srgbClr val="000000"/>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87" name="Graphic 31">
                <a:extLst>
                  <a:ext uri="{FF2B5EF4-FFF2-40B4-BE49-F238E27FC236}">
                    <a16:creationId xmlns:a16="http://schemas.microsoft.com/office/drawing/2014/main" id="{54592531-693D-00D8-A709-74A2F860F3AC}"/>
                  </a:ext>
                </a:extLst>
              </p:cNvPr>
              <p:cNvGrpSpPr/>
              <p:nvPr/>
            </p:nvGrpSpPr>
            <p:grpSpPr>
              <a:xfrm>
                <a:off x="12704696" y="4134179"/>
                <a:ext cx="95327" cy="143470"/>
                <a:chOff x="12704696" y="4134179"/>
                <a:chExt cx="95327" cy="143470"/>
              </a:xfrm>
              <a:solidFill>
                <a:srgbClr val="FFFFFF"/>
              </a:solidFill>
            </p:grpSpPr>
            <p:sp>
              <p:nvSpPr>
                <p:cNvPr id="1589" name="Freeform: Shape 1588">
                  <a:extLst>
                    <a:ext uri="{FF2B5EF4-FFF2-40B4-BE49-F238E27FC236}">
                      <a16:creationId xmlns:a16="http://schemas.microsoft.com/office/drawing/2014/main" id="{19796CAD-9ED1-0910-2E13-700BBF7B548A}"/>
                    </a:ext>
                  </a:extLst>
                </p:cNvPr>
                <p:cNvSpPr/>
                <p:nvPr/>
              </p:nvSpPr>
              <p:spPr>
                <a:xfrm>
                  <a:off x="12760880" y="4137024"/>
                  <a:ext cx="39143" cy="132372"/>
                </a:xfrm>
                <a:custGeom>
                  <a:avLst/>
                  <a:gdLst>
                    <a:gd name="connsiteX0" fmla="*/ 123 w 39143"/>
                    <a:gd name="connsiteY0" fmla="*/ 0 h 132372"/>
                    <a:gd name="connsiteX1" fmla="*/ 35686 w 39143"/>
                    <a:gd name="connsiteY1" fmla="*/ 72607 h 132372"/>
                    <a:gd name="connsiteX2" fmla="*/ 39144 w 39143"/>
                    <a:gd name="connsiteY2" fmla="*/ 132372 h 132372"/>
                    <a:gd name="connsiteX3" fmla="*/ 26796 w 39143"/>
                    <a:gd name="connsiteY3" fmla="*/ 132372 h 132372"/>
                    <a:gd name="connsiteX4" fmla="*/ 617 w 39143"/>
                    <a:gd name="connsiteY4" fmla="*/ 45441 h 132372"/>
                    <a:gd name="connsiteX5" fmla="*/ 123 w 39143"/>
                    <a:gd name="connsiteY5" fmla="*/ 0 h 13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3" h="132372">
                      <a:moveTo>
                        <a:pt x="123" y="0"/>
                      </a:moveTo>
                      <a:cubicBezTo>
                        <a:pt x="123" y="0"/>
                        <a:pt x="30253" y="7903"/>
                        <a:pt x="35686" y="72607"/>
                      </a:cubicBezTo>
                      <a:cubicBezTo>
                        <a:pt x="39144" y="115579"/>
                        <a:pt x="39144" y="132372"/>
                        <a:pt x="39144" y="132372"/>
                      </a:cubicBezTo>
                      <a:lnTo>
                        <a:pt x="26796" y="132372"/>
                      </a:lnTo>
                      <a:cubicBezTo>
                        <a:pt x="26796" y="132372"/>
                        <a:pt x="2593" y="72113"/>
                        <a:pt x="617" y="45441"/>
                      </a:cubicBezTo>
                      <a:cubicBezTo>
                        <a:pt x="-370" y="33587"/>
                        <a:pt x="123" y="0"/>
                        <a:pt x="123" y="0"/>
                      </a:cubicBezTo>
                      <a:close/>
                    </a:path>
                  </a:pathLst>
                </a:custGeom>
                <a:solidFill>
                  <a:srgbClr val="FFFFF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90" name="Freeform: Shape 1589">
                  <a:extLst>
                    <a:ext uri="{FF2B5EF4-FFF2-40B4-BE49-F238E27FC236}">
                      <a16:creationId xmlns:a16="http://schemas.microsoft.com/office/drawing/2014/main" id="{9D48E8AD-15A5-BBC1-F7C0-9627BCC33EFF}"/>
                    </a:ext>
                  </a:extLst>
                </p:cNvPr>
                <p:cNvSpPr/>
                <p:nvPr/>
              </p:nvSpPr>
              <p:spPr>
                <a:xfrm>
                  <a:off x="12704696" y="4134179"/>
                  <a:ext cx="75570" cy="143470"/>
                </a:xfrm>
                <a:custGeom>
                  <a:avLst/>
                  <a:gdLst>
                    <a:gd name="connsiteX0" fmla="*/ 7409 w 75570"/>
                    <a:gd name="connsiteY0" fmla="*/ 12230 h 143470"/>
                    <a:gd name="connsiteX1" fmla="*/ 0 w 75570"/>
                    <a:gd name="connsiteY1" fmla="*/ 137193 h 143470"/>
                    <a:gd name="connsiteX2" fmla="*/ 75571 w 75570"/>
                    <a:gd name="connsiteY2" fmla="*/ 137687 h 143470"/>
                    <a:gd name="connsiteX3" fmla="*/ 61741 w 75570"/>
                    <a:gd name="connsiteY3" fmla="*/ 7291 h 143470"/>
                    <a:gd name="connsiteX4" fmla="*/ 7409 w 75570"/>
                    <a:gd name="connsiteY4" fmla="*/ 12230 h 143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70" h="143470">
                      <a:moveTo>
                        <a:pt x="7409" y="12230"/>
                      </a:moveTo>
                      <a:cubicBezTo>
                        <a:pt x="3457" y="38902"/>
                        <a:pt x="0" y="137193"/>
                        <a:pt x="0" y="137193"/>
                      </a:cubicBezTo>
                      <a:cubicBezTo>
                        <a:pt x="12842" y="151023"/>
                        <a:pt x="75571" y="137687"/>
                        <a:pt x="75571" y="137687"/>
                      </a:cubicBezTo>
                      <a:cubicBezTo>
                        <a:pt x="75571" y="137687"/>
                        <a:pt x="71125" y="47299"/>
                        <a:pt x="61741" y="7291"/>
                      </a:cubicBezTo>
                      <a:cubicBezTo>
                        <a:pt x="58777" y="-3576"/>
                        <a:pt x="12348" y="-2588"/>
                        <a:pt x="7409" y="12230"/>
                      </a:cubicBezTo>
                      <a:close/>
                    </a:path>
                  </a:pathLst>
                </a:custGeom>
                <a:solidFill>
                  <a:srgbClr val="FFFFF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1588" name="Freeform: Shape 1587">
                <a:extLst>
                  <a:ext uri="{FF2B5EF4-FFF2-40B4-BE49-F238E27FC236}">
                    <a16:creationId xmlns:a16="http://schemas.microsoft.com/office/drawing/2014/main" id="{A45ED382-620A-B9D1-19E1-A63F1BF7530D}"/>
                  </a:ext>
                </a:extLst>
              </p:cNvPr>
              <p:cNvSpPr/>
              <p:nvPr/>
            </p:nvSpPr>
            <p:spPr>
              <a:xfrm>
                <a:off x="12685216" y="4146409"/>
                <a:ext cx="39730" cy="90882"/>
              </a:xfrm>
              <a:custGeom>
                <a:avLst/>
                <a:gdLst>
                  <a:gd name="connsiteX0" fmla="*/ 26888 w 39730"/>
                  <a:gd name="connsiteY0" fmla="*/ 0 h 90882"/>
                  <a:gd name="connsiteX1" fmla="*/ 1204 w 39730"/>
                  <a:gd name="connsiteY1" fmla="*/ 68162 h 90882"/>
                  <a:gd name="connsiteX2" fmla="*/ 39730 w 39730"/>
                  <a:gd name="connsiteY2" fmla="*/ 90882 h 90882"/>
                  <a:gd name="connsiteX3" fmla="*/ 36767 w 39730"/>
                  <a:gd name="connsiteY3" fmla="*/ 8891 h 90882"/>
                  <a:gd name="connsiteX4" fmla="*/ 26888 w 39730"/>
                  <a:gd name="connsiteY4" fmla="*/ 0 h 90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730" h="90882">
                    <a:moveTo>
                      <a:pt x="26888" y="0"/>
                    </a:moveTo>
                    <a:cubicBezTo>
                      <a:pt x="26888" y="0"/>
                      <a:pt x="-6699" y="51862"/>
                      <a:pt x="1204" y="68162"/>
                    </a:cubicBezTo>
                    <a:cubicBezTo>
                      <a:pt x="9107" y="84461"/>
                      <a:pt x="39730" y="90882"/>
                      <a:pt x="39730" y="90882"/>
                    </a:cubicBezTo>
                    <a:lnTo>
                      <a:pt x="36767" y="8891"/>
                    </a:lnTo>
                    <a:lnTo>
                      <a:pt x="26888" y="0"/>
                    </a:lnTo>
                    <a:close/>
                  </a:path>
                </a:pathLst>
              </a:custGeom>
              <a:solidFill>
                <a:srgbClr val="FFFFF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270" name="Graphic 31">
              <a:extLst>
                <a:ext uri="{FF2B5EF4-FFF2-40B4-BE49-F238E27FC236}">
                  <a16:creationId xmlns:a16="http://schemas.microsoft.com/office/drawing/2014/main" id="{2AD256DE-46F1-B936-BB1D-CF836672C129}"/>
                </a:ext>
              </a:extLst>
            </p:cNvPr>
            <p:cNvGrpSpPr/>
            <p:nvPr/>
          </p:nvGrpSpPr>
          <p:grpSpPr>
            <a:xfrm>
              <a:off x="10153142" y="8232193"/>
              <a:ext cx="562168" cy="1053574"/>
              <a:chOff x="12547332" y="4056031"/>
              <a:chExt cx="123336" cy="231147"/>
            </a:xfrm>
          </p:grpSpPr>
          <p:grpSp>
            <p:nvGrpSpPr>
              <p:cNvPr id="1575" name="Graphic 31">
                <a:extLst>
                  <a:ext uri="{FF2B5EF4-FFF2-40B4-BE49-F238E27FC236}">
                    <a16:creationId xmlns:a16="http://schemas.microsoft.com/office/drawing/2014/main" id="{CB3C064A-C6CF-5A4C-919F-765055B60135}"/>
                  </a:ext>
                </a:extLst>
              </p:cNvPr>
              <p:cNvGrpSpPr/>
              <p:nvPr/>
            </p:nvGrpSpPr>
            <p:grpSpPr>
              <a:xfrm>
                <a:off x="12594257" y="4056031"/>
                <a:ext cx="41096" cy="60248"/>
                <a:chOff x="12594257" y="4056031"/>
                <a:chExt cx="41096" cy="60248"/>
              </a:xfrm>
            </p:grpSpPr>
            <p:sp>
              <p:nvSpPr>
                <p:cNvPr id="1583" name="Freeform: Shape 1582">
                  <a:extLst>
                    <a:ext uri="{FF2B5EF4-FFF2-40B4-BE49-F238E27FC236}">
                      <a16:creationId xmlns:a16="http://schemas.microsoft.com/office/drawing/2014/main" id="{DA9E9288-ADDD-8082-1621-7E4EF166C267}"/>
                    </a:ext>
                  </a:extLst>
                </p:cNvPr>
                <p:cNvSpPr/>
                <p:nvPr/>
              </p:nvSpPr>
              <p:spPr>
                <a:xfrm>
                  <a:off x="12596085" y="4064013"/>
                  <a:ext cx="36756" cy="52266"/>
                </a:xfrm>
                <a:custGeom>
                  <a:avLst/>
                  <a:gdLst>
                    <a:gd name="connsiteX0" fmla="*/ 13777 w 36756"/>
                    <a:gd name="connsiteY0" fmla="*/ 404 h 52266"/>
                    <a:gd name="connsiteX1" fmla="*/ 35016 w 36756"/>
                    <a:gd name="connsiteY1" fmla="*/ 13246 h 52266"/>
                    <a:gd name="connsiteX2" fmla="*/ 32546 w 36756"/>
                    <a:gd name="connsiteY2" fmla="*/ 40906 h 52266"/>
                    <a:gd name="connsiteX3" fmla="*/ 19704 w 36756"/>
                    <a:gd name="connsiteY3" fmla="*/ 40906 h 52266"/>
                    <a:gd name="connsiteX4" fmla="*/ 21680 w 36756"/>
                    <a:gd name="connsiteY4" fmla="*/ 52266 h 52266"/>
                    <a:gd name="connsiteX5" fmla="*/ 3405 w 36756"/>
                    <a:gd name="connsiteY5" fmla="*/ 52266 h 52266"/>
                    <a:gd name="connsiteX6" fmla="*/ 6368 w 36756"/>
                    <a:gd name="connsiteY6" fmla="*/ 36460 h 52266"/>
                    <a:gd name="connsiteX7" fmla="*/ 13777 w 36756"/>
                    <a:gd name="connsiteY7" fmla="*/ 404 h 5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56" h="52266">
                      <a:moveTo>
                        <a:pt x="13777" y="404"/>
                      </a:moveTo>
                      <a:cubicBezTo>
                        <a:pt x="21680" y="-1572"/>
                        <a:pt x="33534" y="3861"/>
                        <a:pt x="35016" y="13246"/>
                      </a:cubicBezTo>
                      <a:cubicBezTo>
                        <a:pt x="36992" y="22630"/>
                        <a:pt x="38474" y="38930"/>
                        <a:pt x="32546" y="40906"/>
                      </a:cubicBezTo>
                      <a:cubicBezTo>
                        <a:pt x="30077" y="41894"/>
                        <a:pt x="19704" y="40906"/>
                        <a:pt x="19704" y="40906"/>
                      </a:cubicBezTo>
                      <a:lnTo>
                        <a:pt x="21680" y="52266"/>
                      </a:lnTo>
                      <a:lnTo>
                        <a:pt x="3405" y="52266"/>
                      </a:lnTo>
                      <a:lnTo>
                        <a:pt x="6368" y="36460"/>
                      </a:lnTo>
                      <a:cubicBezTo>
                        <a:pt x="6862" y="36460"/>
                        <a:pt x="-12401" y="7319"/>
                        <a:pt x="13777" y="404"/>
                      </a:cubicBezTo>
                      <a:close/>
                    </a:path>
                  </a:pathLst>
                </a:custGeom>
                <a:solidFill>
                  <a:srgbClr val="BAA090"/>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84" name="Freeform: Shape 1583">
                  <a:extLst>
                    <a:ext uri="{FF2B5EF4-FFF2-40B4-BE49-F238E27FC236}">
                      <a16:creationId xmlns:a16="http://schemas.microsoft.com/office/drawing/2014/main" id="{C3A81AA9-885B-D6A7-4344-2FEB0C412496}"/>
                    </a:ext>
                  </a:extLst>
                </p:cNvPr>
                <p:cNvSpPr/>
                <p:nvPr/>
              </p:nvSpPr>
              <p:spPr>
                <a:xfrm>
                  <a:off x="12594257" y="4063168"/>
                  <a:ext cx="34374" cy="37799"/>
                </a:xfrm>
                <a:custGeom>
                  <a:avLst/>
                  <a:gdLst>
                    <a:gd name="connsiteX0" fmla="*/ 34374 w 34374"/>
                    <a:gd name="connsiteY0" fmla="*/ 8658 h 37799"/>
                    <a:gd name="connsiteX1" fmla="*/ 24002 w 34374"/>
                    <a:gd name="connsiteY1" fmla="*/ 15079 h 37799"/>
                    <a:gd name="connsiteX2" fmla="*/ 18569 w 34374"/>
                    <a:gd name="connsiteY2" fmla="*/ 21006 h 37799"/>
                    <a:gd name="connsiteX3" fmla="*/ 11654 w 34374"/>
                    <a:gd name="connsiteY3" fmla="*/ 21500 h 37799"/>
                    <a:gd name="connsiteX4" fmla="*/ 13629 w 34374"/>
                    <a:gd name="connsiteY4" fmla="*/ 30390 h 37799"/>
                    <a:gd name="connsiteX5" fmla="*/ 8196 w 34374"/>
                    <a:gd name="connsiteY5" fmla="*/ 37799 h 37799"/>
                    <a:gd name="connsiteX6" fmla="*/ 1281 w 34374"/>
                    <a:gd name="connsiteY6" fmla="*/ 9645 h 37799"/>
                    <a:gd name="connsiteX7" fmla="*/ 34374 w 34374"/>
                    <a:gd name="connsiteY7" fmla="*/ 8658 h 37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74" h="37799">
                      <a:moveTo>
                        <a:pt x="34374" y="8658"/>
                      </a:moveTo>
                      <a:cubicBezTo>
                        <a:pt x="34374" y="8658"/>
                        <a:pt x="25977" y="10633"/>
                        <a:pt x="24002" y="15079"/>
                      </a:cubicBezTo>
                      <a:cubicBezTo>
                        <a:pt x="22026" y="19524"/>
                        <a:pt x="23014" y="28909"/>
                        <a:pt x="18569" y="21006"/>
                      </a:cubicBezTo>
                      <a:cubicBezTo>
                        <a:pt x="16593" y="17054"/>
                        <a:pt x="13135" y="18042"/>
                        <a:pt x="11654" y="21500"/>
                      </a:cubicBezTo>
                      <a:cubicBezTo>
                        <a:pt x="9678" y="25451"/>
                        <a:pt x="14123" y="28909"/>
                        <a:pt x="13629" y="30390"/>
                      </a:cubicBezTo>
                      <a:cubicBezTo>
                        <a:pt x="13135" y="31872"/>
                        <a:pt x="9184" y="37799"/>
                        <a:pt x="8196" y="37799"/>
                      </a:cubicBezTo>
                      <a:cubicBezTo>
                        <a:pt x="7208" y="37799"/>
                        <a:pt x="-3658" y="21006"/>
                        <a:pt x="1281" y="9645"/>
                      </a:cubicBezTo>
                      <a:cubicBezTo>
                        <a:pt x="6220" y="-1221"/>
                        <a:pt x="30917" y="-4678"/>
                        <a:pt x="34374" y="8658"/>
                      </a:cubicBezTo>
                      <a:close/>
                    </a:path>
                  </a:pathLst>
                </a:custGeom>
                <a:solidFill>
                  <a:srgbClr val="2A3756"/>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85" name="Freeform: Shape 1584">
                  <a:extLst>
                    <a:ext uri="{FF2B5EF4-FFF2-40B4-BE49-F238E27FC236}">
                      <a16:creationId xmlns:a16="http://schemas.microsoft.com/office/drawing/2014/main" id="{F8B581A3-D376-F082-D6F0-D499D696524D}"/>
                    </a:ext>
                  </a:extLst>
                </p:cNvPr>
                <p:cNvSpPr/>
                <p:nvPr/>
              </p:nvSpPr>
              <p:spPr>
                <a:xfrm>
                  <a:off x="12599977" y="4056031"/>
                  <a:ext cx="35376" cy="16003"/>
                </a:xfrm>
                <a:custGeom>
                  <a:avLst/>
                  <a:gdLst>
                    <a:gd name="connsiteX0" fmla="*/ 28654 w 35376"/>
                    <a:gd name="connsiteY0" fmla="*/ 15795 h 16003"/>
                    <a:gd name="connsiteX1" fmla="*/ 35075 w 35376"/>
                    <a:gd name="connsiteY1" fmla="*/ 5423 h 16003"/>
                    <a:gd name="connsiteX2" fmla="*/ 27666 w 35376"/>
                    <a:gd name="connsiteY2" fmla="*/ 7398 h 16003"/>
                    <a:gd name="connsiteX3" fmla="*/ 30136 w 35376"/>
                    <a:gd name="connsiteY3" fmla="*/ 1965 h 16003"/>
                    <a:gd name="connsiteX4" fmla="*/ 6 w 35376"/>
                    <a:gd name="connsiteY4" fmla="*/ 12338 h 16003"/>
                    <a:gd name="connsiteX5" fmla="*/ 28654 w 35376"/>
                    <a:gd name="connsiteY5" fmla="*/ 15795 h 1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76" h="16003">
                      <a:moveTo>
                        <a:pt x="28654" y="15795"/>
                      </a:moveTo>
                      <a:cubicBezTo>
                        <a:pt x="28654" y="15795"/>
                        <a:pt x="37051" y="7892"/>
                        <a:pt x="35075" y="5423"/>
                      </a:cubicBezTo>
                      <a:cubicBezTo>
                        <a:pt x="34087" y="3941"/>
                        <a:pt x="29148" y="8386"/>
                        <a:pt x="27666" y="7398"/>
                      </a:cubicBezTo>
                      <a:cubicBezTo>
                        <a:pt x="26678" y="6411"/>
                        <a:pt x="31124" y="2953"/>
                        <a:pt x="30136" y="1965"/>
                      </a:cubicBezTo>
                      <a:cubicBezTo>
                        <a:pt x="25196" y="-4456"/>
                        <a:pt x="500" y="6411"/>
                        <a:pt x="6" y="12338"/>
                      </a:cubicBezTo>
                      <a:cubicBezTo>
                        <a:pt x="-488" y="17277"/>
                        <a:pt x="28654" y="15795"/>
                        <a:pt x="28654" y="15795"/>
                      </a:cubicBezTo>
                      <a:close/>
                    </a:path>
                  </a:pathLst>
                </a:custGeom>
                <a:solidFill>
                  <a:srgbClr val="2A3756"/>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76" name="Graphic 31">
                <a:extLst>
                  <a:ext uri="{FF2B5EF4-FFF2-40B4-BE49-F238E27FC236}">
                    <a16:creationId xmlns:a16="http://schemas.microsoft.com/office/drawing/2014/main" id="{664D69B2-03DC-8CAD-79D2-A24587BB1AC5}"/>
                  </a:ext>
                </a:extLst>
              </p:cNvPr>
              <p:cNvGrpSpPr/>
              <p:nvPr/>
            </p:nvGrpSpPr>
            <p:grpSpPr>
              <a:xfrm>
                <a:off x="12570842" y="4112119"/>
                <a:ext cx="99826" cy="175058"/>
                <a:chOff x="12570842" y="4112119"/>
                <a:chExt cx="99826" cy="175058"/>
              </a:xfrm>
            </p:grpSpPr>
            <p:sp>
              <p:nvSpPr>
                <p:cNvPr id="1578" name="Freeform: Shape 1577">
                  <a:extLst>
                    <a:ext uri="{FF2B5EF4-FFF2-40B4-BE49-F238E27FC236}">
                      <a16:creationId xmlns:a16="http://schemas.microsoft.com/office/drawing/2014/main" id="{A6A81E91-073F-DA78-5C65-18CE18F60796}"/>
                    </a:ext>
                  </a:extLst>
                </p:cNvPr>
                <p:cNvSpPr/>
                <p:nvPr/>
              </p:nvSpPr>
              <p:spPr>
                <a:xfrm>
                  <a:off x="12570842" y="4112119"/>
                  <a:ext cx="78534" cy="149374"/>
                </a:xfrm>
                <a:custGeom>
                  <a:avLst/>
                  <a:gdLst>
                    <a:gd name="connsiteX0" fmla="*/ 35069 w 78534"/>
                    <a:gd name="connsiteY0" fmla="*/ 209 h 149374"/>
                    <a:gd name="connsiteX1" fmla="*/ 10866 w 78534"/>
                    <a:gd name="connsiteY1" fmla="*/ 13545 h 149374"/>
                    <a:gd name="connsiteX2" fmla="*/ 0 w 78534"/>
                    <a:gd name="connsiteY2" fmla="*/ 148881 h 149374"/>
                    <a:gd name="connsiteX3" fmla="*/ 78534 w 78534"/>
                    <a:gd name="connsiteY3" fmla="*/ 149375 h 149374"/>
                    <a:gd name="connsiteX4" fmla="*/ 61741 w 78534"/>
                    <a:gd name="connsiteY4" fmla="*/ 4654 h 149374"/>
                    <a:gd name="connsiteX5" fmla="*/ 35069 w 78534"/>
                    <a:gd name="connsiteY5" fmla="*/ 209 h 14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34" h="149374">
                      <a:moveTo>
                        <a:pt x="35069" y="209"/>
                      </a:moveTo>
                      <a:cubicBezTo>
                        <a:pt x="26672" y="703"/>
                        <a:pt x="16300" y="-1767"/>
                        <a:pt x="10866" y="13545"/>
                      </a:cubicBezTo>
                      <a:cubicBezTo>
                        <a:pt x="6915" y="41699"/>
                        <a:pt x="0" y="148881"/>
                        <a:pt x="0" y="148881"/>
                      </a:cubicBezTo>
                      <a:lnTo>
                        <a:pt x="78534" y="149375"/>
                      </a:lnTo>
                      <a:cubicBezTo>
                        <a:pt x="78534" y="149375"/>
                        <a:pt x="71619" y="46144"/>
                        <a:pt x="61741" y="4654"/>
                      </a:cubicBezTo>
                      <a:cubicBezTo>
                        <a:pt x="58283" y="-285"/>
                        <a:pt x="41984" y="-285"/>
                        <a:pt x="35069" y="209"/>
                      </a:cubicBezTo>
                      <a:close/>
                    </a:path>
                  </a:pathLst>
                </a:custGeom>
                <a:solidFill>
                  <a:schemeClr val="accent5">
                    <a:lumMod val="75000"/>
                  </a:schemeClr>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579" name="Graphic 31">
                  <a:extLst>
                    <a:ext uri="{FF2B5EF4-FFF2-40B4-BE49-F238E27FC236}">
                      <a16:creationId xmlns:a16="http://schemas.microsoft.com/office/drawing/2014/main" id="{C9BBAA6D-0B7F-5698-1E41-C2E1D160172F}"/>
                    </a:ext>
                  </a:extLst>
                </p:cNvPr>
                <p:cNvGrpSpPr/>
                <p:nvPr/>
              </p:nvGrpSpPr>
              <p:grpSpPr>
                <a:xfrm>
                  <a:off x="12629417" y="4123688"/>
                  <a:ext cx="41251" cy="163489"/>
                  <a:chOff x="12629417" y="4123688"/>
                  <a:chExt cx="41251" cy="163489"/>
                </a:xfrm>
              </p:grpSpPr>
              <p:sp>
                <p:nvSpPr>
                  <p:cNvPr id="1580" name="Freeform: Shape 1579">
                    <a:extLst>
                      <a:ext uri="{FF2B5EF4-FFF2-40B4-BE49-F238E27FC236}">
                        <a16:creationId xmlns:a16="http://schemas.microsoft.com/office/drawing/2014/main" id="{A45A9DEC-4869-8566-A4D5-CBE4FDEE1F0E}"/>
                      </a:ext>
                    </a:extLst>
                  </p:cNvPr>
                  <p:cNvSpPr/>
                  <p:nvPr/>
                </p:nvSpPr>
                <p:spPr>
                  <a:xfrm>
                    <a:off x="12656785" y="4256060"/>
                    <a:ext cx="9878" cy="10372"/>
                  </a:xfrm>
                  <a:custGeom>
                    <a:avLst/>
                    <a:gdLst>
                      <a:gd name="connsiteX0" fmla="*/ 0 w 9878"/>
                      <a:gd name="connsiteY0" fmla="*/ 494 h 10372"/>
                      <a:gd name="connsiteX1" fmla="*/ 2964 w 9878"/>
                      <a:gd name="connsiteY1" fmla="*/ 10372 h 10372"/>
                      <a:gd name="connsiteX2" fmla="*/ 9879 w 9878"/>
                      <a:gd name="connsiteY2" fmla="*/ 9385 h 10372"/>
                      <a:gd name="connsiteX3" fmla="*/ 9879 w 9878"/>
                      <a:gd name="connsiteY3" fmla="*/ 0 h 10372"/>
                    </a:gdLst>
                    <a:ahLst/>
                    <a:cxnLst>
                      <a:cxn ang="0">
                        <a:pos x="connsiteX0" y="connsiteY0"/>
                      </a:cxn>
                      <a:cxn ang="0">
                        <a:pos x="connsiteX1" y="connsiteY1"/>
                      </a:cxn>
                      <a:cxn ang="0">
                        <a:pos x="connsiteX2" y="connsiteY2"/>
                      </a:cxn>
                      <a:cxn ang="0">
                        <a:pos x="connsiteX3" y="connsiteY3"/>
                      </a:cxn>
                    </a:cxnLst>
                    <a:rect l="l" t="t" r="r" b="b"/>
                    <a:pathLst>
                      <a:path w="9878" h="10372">
                        <a:moveTo>
                          <a:pt x="0" y="494"/>
                        </a:moveTo>
                        <a:lnTo>
                          <a:pt x="2964" y="10372"/>
                        </a:lnTo>
                        <a:lnTo>
                          <a:pt x="9879" y="9385"/>
                        </a:lnTo>
                        <a:lnTo>
                          <a:pt x="9879" y="0"/>
                        </a:lnTo>
                        <a:close/>
                      </a:path>
                    </a:pathLst>
                  </a:custGeom>
                  <a:solidFill>
                    <a:srgbClr val="E2857E"/>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81" name="Freeform: Shape 1580">
                    <a:extLst>
                      <a:ext uri="{FF2B5EF4-FFF2-40B4-BE49-F238E27FC236}">
                        <a16:creationId xmlns:a16="http://schemas.microsoft.com/office/drawing/2014/main" id="{4EB04777-EE1B-766D-F320-A8FD6E3B8C51}"/>
                      </a:ext>
                    </a:extLst>
                  </p:cNvPr>
                  <p:cNvSpPr/>
                  <p:nvPr/>
                </p:nvSpPr>
                <p:spPr>
                  <a:xfrm>
                    <a:off x="12629417" y="4123688"/>
                    <a:ext cx="40209" cy="135829"/>
                  </a:xfrm>
                  <a:custGeom>
                    <a:avLst/>
                    <a:gdLst>
                      <a:gd name="connsiteX0" fmla="*/ 2177 w 40209"/>
                      <a:gd name="connsiteY0" fmla="*/ 0 h 135829"/>
                      <a:gd name="connsiteX1" fmla="*/ 36752 w 40209"/>
                      <a:gd name="connsiteY1" fmla="*/ 73595 h 135829"/>
                      <a:gd name="connsiteX2" fmla="*/ 40210 w 40209"/>
                      <a:gd name="connsiteY2" fmla="*/ 135830 h 135829"/>
                      <a:gd name="connsiteX3" fmla="*/ 27368 w 40209"/>
                      <a:gd name="connsiteY3" fmla="*/ 135830 h 135829"/>
                      <a:gd name="connsiteX4" fmla="*/ 202 w 40209"/>
                      <a:gd name="connsiteY4" fmla="*/ 45441 h 135829"/>
                      <a:gd name="connsiteX5" fmla="*/ 2177 w 40209"/>
                      <a:gd name="connsiteY5" fmla="*/ 0 h 1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09" h="135829">
                        <a:moveTo>
                          <a:pt x="2177" y="0"/>
                        </a:moveTo>
                        <a:cubicBezTo>
                          <a:pt x="2177" y="0"/>
                          <a:pt x="31319" y="5927"/>
                          <a:pt x="36752" y="73595"/>
                        </a:cubicBezTo>
                        <a:cubicBezTo>
                          <a:pt x="40210" y="118542"/>
                          <a:pt x="40210" y="135830"/>
                          <a:pt x="40210" y="135830"/>
                        </a:cubicBezTo>
                        <a:lnTo>
                          <a:pt x="27368" y="135830"/>
                        </a:lnTo>
                        <a:cubicBezTo>
                          <a:pt x="27368" y="135830"/>
                          <a:pt x="2177" y="73101"/>
                          <a:pt x="202" y="45441"/>
                        </a:cubicBezTo>
                        <a:cubicBezTo>
                          <a:pt x="-786" y="32599"/>
                          <a:pt x="2177" y="0"/>
                          <a:pt x="2177" y="0"/>
                        </a:cubicBezTo>
                        <a:close/>
                      </a:path>
                    </a:pathLst>
                  </a:custGeom>
                  <a:solidFill>
                    <a:schemeClr val="accent5">
                      <a:lumMod val="75000"/>
                    </a:schemeClr>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82" name="Freeform: Shape 1581">
                    <a:extLst>
                      <a:ext uri="{FF2B5EF4-FFF2-40B4-BE49-F238E27FC236}">
                        <a16:creationId xmlns:a16="http://schemas.microsoft.com/office/drawing/2014/main" id="{45DB32F6-1524-94ED-82C2-C895B9879918}"/>
                      </a:ext>
                    </a:extLst>
                  </p:cNvPr>
                  <p:cNvSpPr/>
                  <p:nvPr/>
                </p:nvSpPr>
                <p:spPr>
                  <a:xfrm>
                    <a:off x="12657773" y="4261956"/>
                    <a:ext cx="12895" cy="25221"/>
                  </a:xfrm>
                  <a:custGeom>
                    <a:avLst/>
                    <a:gdLst>
                      <a:gd name="connsiteX0" fmla="*/ 12842 w 12895"/>
                      <a:gd name="connsiteY0" fmla="*/ 11885 h 25221"/>
                      <a:gd name="connsiteX1" fmla="*/ 4445 w 12895"/>
                      <a:gd name="connsiteY1" fmla="*/ 31 h 25221"/>
                      <a:gd name="connsiteX2" fmla="*/ 988 w 12895"/>
                      <a:gd name="connsiteY2" fmla="*/ 1513 h 25221"/>
                      <a:gd name="connsiteX3" fmla="*/ 1482 w 12895"/>
                      <a:gd name="connsiteY3" fmla="*/ 10404 h 25221"/>
                      <a:gd name="connsiteX4" fmla="*/ 1976 w 12895"/>
                      <a:gd name="connsiteY4" fmla="*/ 14355 h 25221"/>
                      <a:gd name="connsiteX5" fmla="*/ 0 w 12895"/>
                      <a:gd name="connsiteY5" fmla="*/ 21764 h 25221"/>
                      <a:gd name="connsiteX6" fmla="*/ 5433 w 12895"/>
                      <a:gd name="connsiteY6" fmla="*/ 25221 h 25221"/>
                      <a:gd name="connsiteX7" fmla="*/ 12842 w 12895"/>
                      <a:gd name="connsiteY7" fmla="*/ 11885 h 2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95" h="25221">
                        <a:moveTo>
                          <a:pt x="12842" y="11885"/>
                        </a:moveTo>
                        <a:cubicBezTo>
                          <a:pt x="12348" y="4970"/>
                          <a:pt x="8891" y="-463"/>
                          <a:pt x="4445" y="31"/>
                        </a:cubicBezTo>
                        <a:cubicBezTo>
                          <a:pt x="2964" y="31"/>
                          <a:pt x="1976" y="525"/>
                          <a:pt x="988" y="1513"/>
                        </a:cubicBezTo>
                        <a:cubicBezTo>
                          <a:pt x="0" y="2501"/>
                          <a:pt x="988" y="7934"/>
                          <a:pt x="1482" y="10404"/>
                        </a:cubicBezTo>
                        <a:cubicBezTo>
                          <a:pt x="1976" y="11391"/>
                          <a:pt x="1976" y="12873"/>
                          <a:pt x="1976" y="14355"/>
                        </a:cubicBezTo>
                        <a:cubicBezTo>
                          <a:pt x="1976" y="17319"/>
                          <a:pt x="988" y="20282"/>
                          <a:pt x="0" y="21764"/>
                        </a:cubicBezTo>
                        <a:cubicBezTo>
                          <a:pt x="1482" y="23740"/>
                          <a:pt x="3457" y="25221"/>
                          <a:pt x="5433" y="25221"/>
                        </a:cubicBezTo>
                        <a:cubicBezTo>
                          <a:pt x="10372" y="24728"/>
                          <a:pt x="13336" y="18800"/>
                          <a:pt x="12842" y="11885"/>
                        </a:cubicBezTo>
                        <a:close/>
                      </a:path>
                    </a:pathLst>
                  </a:custGeom>
                  <a:solidFill>
                    <a:srgbClr val="E2857E"/>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sp>
            <p:nvSpPr>
              <p:cNvPr id="1577" name="Freeform: Shape 1576">
                <a:extLst>
                  <a:ext uri="{FF2B5EF4-FFF2-40B4-BE49-F238E27FC236}">
                    <a16:creationId xmlns:a16="http://schemas.microsoft.com/office/drawing/2014/main" id="{2017A28E-B914-E139-C438-FE19E0B161CE}"/>
                  </a:ext>
                </a:extLst>
              </p:cNvPr>
              <p:cNvSpPr/>
              <p:nvPr/>
            </p:nvSpPr>
            <p:spPr>
              <a:xfrm>
                <a:off x="12547332" y="4129121"/>
                <a:ext cx="33388" cy="109157"/>
              </a:xfrm>
              <a:custGeom>
                <a:avLst/>
                <a:gdLst>
                  <a:gd name="connsiteX0" fmla="*/ 33388 w 33388"/>
                  <a:gd name="connsiteY0" fmla="*/ 0 h 109157"/>
                  <a:gd name="connsiteX1" fmla="*/ 295 w 33388"/>
                  <a:gd name="connsiteY1" fmla="*/ 75571 h 109157"/>
                  <a:gd name="connsiteX2" fmla="*/ 33388 w 33388"/>
                  <a:gd name="connsiteY2" fmla="*/ 109158 h 109157"/>
                  <a:gd name="connsiteX3" fmla="*/ 33388 w 33388"/>
                  <a:gd name="connsiteY3" fmla="*/ 0 h 109157"/>
                </a:gdLst>
                <a:ahLst/>
                <a:cxnLst>
                  <a:cxn ang="0">
                    <a:pos x="connsiteX0" y="connsiteY0"/>
                  </a:cxn>
                  <a:cxn ang="0">
                    <a:pos x="connsiteX1" y="connsiteY1"/>
                  </a:cxn>
                  <a:cxn ang="0">
                    <a:pos x="connsiteX2" y="connsiteY2"/>
                  </a:cxn>
                  <a:cxn ang="0">
                    <a:pos x="connsiteX3" y="connsiteY3"/>
                  </a:cxn>
                </a:cxnLst>
                <a:rect l="l" t="t" r="r" b="b"/>
                <a:pathLst>
                  <a:path w="33388" h="109157">
                    <a:moveTo>
                      <a:pt x="33388" y="0"/>
                    </a:moveTo>
                    <a:cubicBezTo>
                      <a:pt x="33388" y="0"/>
                      <a:pt x="-3656" y="58283"/>
                      <a:pt x="295" y="75571"/>
                    </a:cubicBezTo>
                    <a:cubicBezTo>
                      <a:pt x="3753" y="93352"/>
                      <a:pt x="33388" y="109158"/>
                      <a:pt x="33388" y="109158"/>
                    </a:cubicBezTo>
                    <a:lnTo>
                      <a:pt x="33388" y="0"/>
                    </a:lnTo>
                    <a:close/>
                  </a:path>
                </a:pathLst>
              </a:custGeom>
              <a:solidFill>
                <a:schemeClr val="accent5">
                  <a:lumMod val="75000"/>
                </a:schemeClr>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271" name="Group 270">
              <a:extLst>
                <a:ext uri="{FF2B5EF4-FFF2-40B4-BE49-F238E27FC236}">
                  <a16:creationId xmlns:a16="http://schemas.microsoft.com/office/drawing/2014/main" id="{8A9F08F7-7329-9D71-5302-7F5DB5860242}"/>
                </a:ext>
              </a:extLst>
            </p:cNvPr>
            <p:cNvGrpSpPr/>
            <p:nvPr/>
          </p:nvGrpSpPr>
          <p:grpSpPr>
            <a:xfrm>
              <a:off x="9482895" y="8203733"/>
              <a:ext cx="619827" cy="1183290"/>
              <a:chOff x="11895913" y="3674370"/>
              <a:chExt cx="1097457" cy="2095116"/>
            </a:xfrm>
          </p:grpSpPr>
          <p:grpSp>
            <p:nvGrpSpPr>
              <p:cNvPr id="1527" name="Graphic 174">
                <a:extLst>
                  <a:ext uri="{FF2B5EF4-FFF2-40B4-BE49-F238E27FC236}">
                    <a16:creationId xmlns:a16="http://schemas.microsoft.com/office/drawing/2014/main" id="{054EA089-11E7-26C1-862C-4E232B145A78}"/>
                  </a:ext>
                </a:extLst>
              </p:cNvPr>
              <p:cNvGrpSpPr/>
              <p:nvPr/>
            </p:nvGrpSpPr>
            <p:grpSpPr>
              <a:xfrm>
                <a:off x="12229057" y="3737983"/>
                <a:ext cx="368562" cy="564960"/>
                <a:chOff x="2111711" y="3031541"/>
                <a:chExt cx="368562" cy="564960"/>
              </a:xfrm>
            </p:grpSpPr>
            <p:sp>
              <p:nvSpPr>
                <p:cNvPr id="1567" name="Graphic 174">
                  <a:extLst>
                    <a:ext uri="{FF2B5EF4-FFF2-40B4-BE49-F238E27FC236}">
                      <a16:creationId xmlns:a16="http://schemas.microsoft.com/office/drawing/2014/main" id="{981E1779-CC06-2476-E4D7-9B6526712088}"/>
                    </a:ext>
                  </a:extLst>
                </p:cNvPr>
                <p:cNvSpPr/>
                <p:nvPr/>
              </p:nvSpPr>
              <p:spPr>
                <a:xfrm>
                  <a:off x="2250186" y="3352210"/>
                  <a:ext cx="154517" cy="244291"/>
                </a:xfrm>
                <a:custGeom>
                  <a:avLst/>
                  <a:gdLst>
                    <a:gd name="connsiteX0" fmla="*/ 154517 w 154517"/>
                    <a:gd name="connsiteY0" fmla="*/ 176759 h 244291"/>
                    <a:gd name="connsiteX1" fmla="*/ 70983 w 154517"/>
                    <a:gd name="connsiteY1" fmla="*/ 244292 h 244291"/>
                    <a:gd name="connsiteX2" fmla="*/ 0 w 154517"/>
                    <a:gd name="connsiteY2" fmla="*/ 244292 h 244291"/>
                    <a:gd name="connsiteX3" fmla="*/ 12479 w 154517"/>
                    <a:gd name="connsiteY3" fmla="*/ 23820 h 244291"/>
                    <a:gd name="connsiteX4" fmla="*/ 142002 w 154517"/>
                    <a:gd name="connsiteY4" fmla="*/ 0 h 244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17" h="244291">
                      <a:moveTo>
                        <a:pt x="154517" y="176759"/>
                      </a:moveTo>
                      <a:lnTo>
                        <a:pt x="70983" y="244292"/>
                      </a:lnTo>
                      <a:lnTo>
                        <a:pt x="0" y="244292"/>
                      </a:lnTo>
                      <a:lnTo>
                        <a:pt x="12479" y="23820"/>
                      </a:lnTo>
                      <a:lnTo>
                        <a:pt x="142002" y="0"/>
                      </a:lnTo>
                      <a:close/>
                    </a:path>
                  </a:pathLst>
                </a:custGeom>
                <a:solidFill>
                  <a:srgbClr val="CE7B56"/>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568" name="Graphic 174">
                  <a:extLst>
                    <a:ext uri="{FF2B5EF4-FFF2-40B4-BE49-F238E27FC236}">
                      <a16:creationId xmlns:a16="http://schemas.microsoft.com/office/drawing/2014/main" id="{3DBAE8E6-DB9F-F1AE-97B2-E04783964BE8}"/>
                    </a:ext>
                  </a:extLst>
                </p:cNvPr>
                <p:cNvGrpSpPr/>
                <p:nvPr/>
              </p:nvGrpSpPr>
              <p:grpSpPr>
                <a:xfrm>
                  <a:off x="2111711" y="3031541"/>
                  <a:ext cx="368562" cy="432942"/>
                  <a:chOff x="2111711" y="3031541"/>
                  <a:chExt cx="368562" cy="432942"/>
                </a:xfrm>
              </p:grpSpPr>
              <p:grpSp>
                <p:nvGrpSpPr>
                  <p:cNvPr id="1569" name="Graphic 174">
                    <a:extLst>
                      <a:ext uri="{FF2B5EF4-FFF2-40B4-BE49-F238E27FC236}">
                        <a16:creationId xmlns:a16="http://schemas.microsoft.com/office/drawing/2014/main" id="{11D7E80D-B994-DD8B-C2CC-868EF837B3A4}"/>
                      </a:ext>
                    </a:extLst>
                  </p:cNvPr>
                  <p:cNvGrpSpPr/>
                  <p:nvPr/>
                </p:nvGrpSpPr>
                <p:grpSpPr>
                  <a:xfrm>
                    <a:off x="2118314" y="3031541"/>
                    <a:ext cx="361959" cy="432942"/>
                    <a:chOff x="2118314" y="3031541"/>
                    <a:chExt cx="361959" cy="432942"/>
                  </a:xfrm>
                </p:grpSpPr>
                <p:sp>
                  <p:nvSpPr>
                    <p:cNvPr id="1571" name="Graphic 174">
                      <a:extLst>
                        <a:ext uri="{FF2B5EF4-FFF2-40B4-BE49-F238E27FC236}">
                          <a16:creationId xmlns:a16="http://schemas.microsoft.com/office/drawing/2014/main" id="{AC826538-D794-EB4E-9DEB-3A0A4885F80B}"/>
                        </a:ext>
                      </a:extLst>
                    </p:cNvPr>
                    <p:cNvSpPr/>
                    <p:nvPr/>
                  </p:nvSpPr>
                  <p:spPr>
                    <a:xfrm>
                      <a:off x="2118314" y="3088980"/>
                      <a:ext cx="264518" cy="375356"/>
                    </a:xfrm>
                    <a:custGeom>
                      <a:avLst/>
                      <a:gdLst>
                        <a:gd name="connsiteX0" fmla="*/ 261579 w 264518"/>
                        <a:gd name="connsiteY0" fmla="*/ 120714 h 375356"/>
                        <a:gd name="connsiteX1" fmla="*/ 108933 w 264518"/>
                        <a:gd name="connsiteY1" fmla="*/ 0 h 375356"/>
                        <a:gd name="connsiteX2" fmla="*/ 0 w 264518"/>
                        <a:gd name="connsiteY2" fmla="*/ 120568 h 375356"/>
                        <a:gd name="connsiteX3" fmla="*/ 73 w 264518"/>
                        <a:gd name="connsiteY3" fmla="*/ 134845 h 375356"/>
                        <a:gd name="connsiteX4" fmla="*/ 4992 w 264518"/>
                        <a:gd name="connsiteY4" fmla="*/ 175915 h 375356"/>
                        <a:gd name="connsiteX5" fmla="*/ 587 w 264518"/>
                        <a:gd name="connsiteY5" fmla="*/ 221940 h 375356"/>
                        <a:gd name="connsiteX6" fmla="*/ 100124 w 264518"/>
                        <a:gd name="connsiteY6" fmla="*/ 375356 h 375356"/>
                        <a:gd name="connsiteX7" fmla="*/ 264038 w 264518"/>
                        <a:gd name="connsiteY7" fmla="*/ 242310 h 375356"/>
                        <a:gd name="connsiteX8" fmla="*/ 261579 w 264518"/>
                        <a:gd name="connsiteY8" fmla="*/ 120714 h 375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518" h="375356">
                          <a:moveTo>
                            <a:pt x="261579" y="120714"/>
                          </a:moveTo>
                          <a:cubicBezTo>
                            <a:pt x="249650" y="41290"/>
                            <a:pt x="181604" y="37"/>
                            <a:pt x="108933" y="0"/>
                          </a:cubicBezTo>
                          <a:cubicBezTo>
                            <a:pt x="36262" y="-37"/>
                            <a:pt x="37" y="47677"/>
                            <a:pt x="0" y="120568"/>
                          </a:cubicBezTo>
                          <a:cubicBezTo>
                            <a:pt x="0" y="120568"/>
                            <a:pt x="37" y="126220"/>
                            <a:pt x="73" y="134845"/>
                          </a:cubicBezTo>
                          <a:cubicBezTo>
                            <a:pt x="110" y="145709"/>
                            <a:pt x="4918" y="161197"/>
                            <a:pt x="4992" y="175915"/>
                          </a:cubicBezTo>
                          <a:cubicBezTo>
                            <a:pt x="5102" y="196835"/>
                            <a:pt x="697" y="210415"/>
                            <a:pt x="587" y="221940"/>
                          </a:cubicBezTo>
                          <a:cubicBezTo>
                            <a:pt x="0" y="268662"/>
                            <a:pt x="47640" y="375320"/>
                            <a:pt x="100124" y="375356"/>
                          </a:cubicBezTo>
                          <a:cubicBezTo>
                            <a:pt x="160720" y="375393"/>
                            <a:pt x="264038" y="294831"/>
                            <a:pt x="264038" y="242310"/>
                          </a:cubicBezTo>
                          <a:cubicBezTo>
                            <a:pt x="264074" y="237832"/>
                            <a:pt x="266093" y="150810"/>
                            <a:pt x="261579" y="120714"/>
                          </a:cubicBezTo>
                          <a:close/>
                        </a:path>
                      </a:pathLst>
                    </a:custGeom>
                    <a:solidFill>
                      <a:srgbClr val="CE7B56"/>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72" name="Graphic 174">
                      <a:extLst>
                        <a:ext uri="{FF2B5EF4-FFF2-40B4-BE49-F238E27FC236}">
                          <a16:creationId xmlns:a16="http://schemas.microsoft.com/office/drawing/2014/main" id="{C1DD7737-F37F-F9EE-7AB0-4F3E3057D64F}"/>
                        </a:ext>
                      </a:extLst>
                    </p:cNvPr>
                    <p:cNvSpPr/>
                    <p:nvPr/>
                  </p:nvSpPr>
                  <p:spPr>
                    <a:xfrm>
                      <a:off x="2147639" y="3031541"/>
                      <a:ext cx="332634" cy="362174"/>
                    </a:xfrm>
                    <a:custGeom>
                      <a:avLst/>
                      <a:gdLst>
                        <a:gd name="connsiteX0" fmla="*/ 332635 w 332634"/>
                        <a:gd name="connsiteY0" fmla="*/ 156940 h 362174"/>
                        <a:gd name="connsiteX1" fmla="*/ 246898 w 332634"/>
                        <a:gd name="connsiteY1" fmla="*/ 359537 h 362174"/>
                        <a:gd name="connsiteX2" fmla="*/ 84856 w 332634"/>
                        <a:gd name="connsiteY2" fmla="*/ 245943 h 362174"/>
                        <a:gd name="connsiteX3" fmla="*/ 0 w 332634"/>
                        <a:gd name="connsiteY3" fmla="*/ 88086 h 362174"/>
                        <a:gd name="connsiteX4" fmla="*/ 163289 w 332634"/>
                        <a:gd name="connsiteY4" fmla="*/ 0 h 362174"/>
                        <a:gd name="connsiteX5" fmla="*/ 332635 w 332634"/>
                        <a:gd name="connsiteY5" fmla="*/ 156940 h 36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2634" h="362174">
                          <a:moveTo>
                            <a:pt x="332635" y="156940"/>
                          </a:moveTo>
                          <a:cubicBezTo>
                            <a:pt x="332635" y="218783"/>
                            <a:pt x="301034" y="314430"/>
                            <a:pt x="246898" y="359537"/>
                          </a:cubicBezTo>
                          <a:cubicBezTo>
                            <a:pt x="246898" y="359537"/>
                            <a:pt x="174080" y="389707"/>
                            <a:pt x="84856" y="245943"/>
                          </a:cubicBezTo>
                          <a:cubicBezTo>
                            <a:pt x="73992" y="228436"/>
                            <a:pt x="28922" y="178704"/>
                            <a:pt x="0" y="88086"/>
                          </a:cubicBezTo>
                          <a:cubicBezTo>
                            <a:pt x="28958" y="37216"/>
                            <a:pt x="91132" y="0"/>
                            <a:pt x="163289" y="0"/>
                          </a:cubicBezTo>
                          <a:cubicBezTo>
                            <a:pt x="256404" y="-37"/>
                            <a:pt x="332635" y="64633"/>
                            <a:pt x="332635" y="156940"/>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73" name="Graphic 174">
                      <a:extLst>
                        <a:ext uri="{FF2B5EF4-FFF2-40B4-BE49-F238E27FC236}">
                          <a16:creationId xmlns:a16="http://schemas.microsoft.com/office/drawing/2014/main" id="{BD37C36D-46D4-0E07-475D-8FDCAE5A79F3}"/>
                        </a:ext>
                      </a:extLst>
                    </p:cNvPr>
                    <p:cNvSpPr/>
                    <p:nvPr/>
                  </p:nvSpPr>
                  <p:spPr>
                    <a:xfrm>
                      <a:off x="2213742" y="3235207"/>
                      <a:ext cx="62554" cy="110783"/>
                    </a:xfrm>
                    <a:custGeom>
                      <a:avLst/>
                      <a:gdLst>
                        <a:gd name="connsiteX0" fmla="*/ 4512 w 62554"/>
                        <a:gd name="connsiteY0" fmla="*/ 11337 h 110783"/>
                        <a:gd name="connsiteX1" fmla="*/ 42279 w 62554"/>
                        <a:gd name="connsiteY1" fmla="*/ 7409 h 110783"/>
                        <a:gd name="connsiteX2" fmla="*/ 37508 w 62554"/>
                        <a:gd name="connsiteY2" fmla="*/ 109626 h 110783"/>
                        <a:gd name="connsiteX3" fmla="*/ 4512 w 62554"/>
                        <a:gd name="connsiteY3" fmla="*/ 11337 h 110783"/>
                      </a:gdLst>
                      <a:ahLst/>
                      <a:cxnLst>
                        <a:cxn ang="0">
                          <a:pos x="connsiteX0" y="connsiteY0"/>
                        </a:cxn>
                        <a:cxn ang="0">
                          <a:pos x="connsiteX1" y="connsiteY1"/>
                        </a:cxn>
                        <a:cxn ang="0">
                          <a:pos x="connsiteX2" y="connsiteY2"/>
                        </a:cxn>
                        <a:cxn ang="0">
                          <a:pos x="connsiteX3" y="connsiteY3"/>
                        </a:cxn>
                      </a:cxnLst>
                      <a:rect l="l" t="t" r="r" b="b"/>
                      <a:pathLst>
                        <a:path w="62554" h="110783">
                          <a:moveTo>
                            <a:pt x="4512" y="11337"/>
                          </a:moveTo>
                          <a:cubicBezTo>
                            <a:pt x="8109" y="2565"/>
                            <a:pt x="20735" y="-7015"/>
                            <a:pt x="42279" y="7409"/>
                          </a:cubicBezTo>
                          <a:cubicBezTo>
                            <a:pt x="63787" y="21870"/>
                            <a:pt x="76192" y="97514"/>
                            <a:pt x="37508" y="109626"/>
                          </a:cubicBezTo>
                          <a:cubicBezTo>
                            <a:pt x="-1177" y="121738"/>
                            <a:pt x="-5287" y="35340"/>
                            <a:pt x="4512" y="11337"/>
                          </a:cubicBezTo>
                          <a:close/>
                        </a:path>
                      </a:pathLst>
                    </a:custGeom>
                    <a:solidFill>
                      <a:srgbClr val="C6653A"/>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74" name="Graphic 174">
                      <a:extLst>
                        <a:ext uri="{FF2B5EF4-FFF2-40B4-BE49-F238E27FC236}">
                          <a16:creationId xmlns:a16="http://schemas.microsoft.com/office/drawing/2014/main" id="{2AC1CD7D-4EBB-62CF-B823-C2E4DDC8C021}"/>
                        </a:ext>
                      </a:extLst>
                    </p:cNvPr>
                    <p:cNvSpPr/>
                    <p:nvPr/>
                  </p:nvSpPr>
                  <p:spPr>
                    <a:xfrm>
                      <a:off x="2216603" y="3427377"/>
                      <a:ext cx="41877" cy="37106"/>
                    </a:xfrm>
                    <a:custGeom>
                      <a:avLst/>
                      <a:gdLst>
                        <a:gd name="connsiteX0" fmla="*/ 41878 w 41877"/>
                        <a:gd name="connsiteY0" fmla="*/ 0 h 37106"/>
                        <a:gd name="connsiteX1" fmla="*/ 39492 w 41877"/>
                        <a:gd name="connsiteY1" fmla="*/ 29399 h 37106"/>
                        <a:gd name="connsiteX2" fmla="*/ 0 w 41877"/>
                        <a:gd name="connsiteY2" fmla="*/ 36959 h 37106"/>
                        <a:gd name="connsiteX3" fmla="*/ 41878 w 41877"/>
                        <a:gd name="connsiteY3" fmla="*/ 0 h 37106"/>
                      </a:gdLst>
                      <a:ahLst/>
                      <a:cxnLst>
                        <a:cxn ang="0">
                          <a:pos x="connsiteX0" y="connsiteY0"/>
                        </a:cxn>
                        <a:cxn ang="0">
                          <a:pos x="connsiteX1" y="connsiteY1"/>
                        </a:cxn>
                        <a:cxn ang="0">
                          <a:pos x="connsiteX2" y="connsiteY2"/>
                        </a:cxn>
                        <a:cxn ang="0">
                          <a:pos x="connsiteX3" y="connsiteY3"/>
                        </a:cxn>
                      </a:cxnLst>
                      <a:rect l="l" t="t" r="r" b="b"/>
                      <a:pathLst>
                        <a:path w="41877" h="37106">
                          <a:moveTo>
                            <a:pt x="41878" y="0"/>
                          </a:moveTo>
                          <a:lnTo>
                            <a:pt x="39492" y="29399"/>
                          </a:lnTo>
                          <a:cubicBezTo>
                            <a:pt x="39492" y="29399"/>
                            <a:pt x="14608" y="38354"/>
                            <a:pt x="0" y="36959"/>
                          </a:cubicBezTo>
                          <a:lnTo>
                            <a:pt x="41878" y="0"/>
                          </a:lnTo>
                          <a:close/>
                        </a:path>
                      </a:pathLst>
                    </a:custGeom>
                    <a:solidFill>
                      <a:srgbClr val="C6653A"/>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1570" name="Graphic 174">
                    <a:extLst>
                      <a:ext uri="{FF2B5EF4-FFF2-40B4-BE49-F238E27FC236}">
                        <a16:creationId xmlns:a16="http://schemas.microsoft.com/office/drawing/2014/main" id="{9C818579-E29C-4B09-1308-8510C89E56F0}"/>
                      </a:ext>
                    </a:extLst>
                  </p:cNvPr>
                  <p:cNvSpPr/>
                  <p:nvPr/>
                </p:nvSpPr>
                <p:spPr>
                  <a:xfrm>
                    <a:off x="2111711" y="3216631"/>
                    <a:ext cx="26850" cy="23012"/>
                  </a:xfrm>
                  <a:custGeom>
                    <a:avLst/>
                    <a:gdLst>
                      <a:gd name="connsiteX0" fmla="*/ 26422 w 26850"/>
                      <a:gd name="connsiteY0" fmla="*/ 1835 h 23012"/>
                      <a:gd name="connsiteX1" fmla="*/ 6676 w 26850"/>
                      <a:gd name="connsiteY1" fmla="*/ 0 h 23012"/>
                      <a:gd name="connsiteX2" fmla="*/ 6787 w 26850"/>
                      <a:gd name="connsiteY2" fmla="*/ 23013 h 23012"/>
                      <a:gd name="connsiteX3" fmla="*/ 19119 w 26850"/>
                      <a:gd name="connsiteY3" fmla="*/ 21912 h 23012"/>
                      <a:gd name="connsiteX4" fmla="*/ 26422 w 26850"/>
                      <a:gd name="connsiteY4" fmla="*/ 1835 h 23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50" h="23012">
                        <a:moveTo>
                          <a:pt x="26422" y="1835"/>
                        </a:moveTo>
                        <a:cubicBezTo>
                          <a:pt x="26422" y="1835"/>
                          <a:pt x="17797" y="74"/>
                          <a:pt x="6676" y="0"/>
                        </a:cubicBezTo>
                        <a:cubicBezTo>
                          <a:pt x="-2426" y="-73"/>
                          <a:pt x="-2059" y="23013"/>
                          <a:pt x="6787" y="23013"/>
                        </a:cubicBezTo>
                        <a:cubicBezTo>
                          <a:pt x="12622" y="23013"/>
                          <a:pt x="17063" y="22682"/>
                          <a:pt x="19119" y="21912"/>
                        </a:cubicBezTo>
                        <a:cubicBezTo>
                          <a:pt x="29505" y="18131"/>
                          <a:pt x="26422" y="1835"/>
                          <a:pt x="26422" y="1835"/>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nvGrpSpPr>
              <p:cNvPr id="1528" name="Graphic 174">
                <a:extLst>
                  <a:ext uri="{FF2B5EF4-FFF2-40B4-BE49-F238E27FC236}">
                    <a16:creationId xmlns:a16="http://schemas.microsoft.com/office/drawing/2014/main" id="{5C27C2F1-0FF0-8A41-A989-7B09F81C59BC}"/>
                  </a:ext>
                </a:extLst>
              </p:cNvPr>
              <p:cNvGrpSpPr/>
              <p:nvPr/>
            </p:nvGrpSpPr>
            <p:grpSpPr>
              <a:xfrm>
                <a:off x="12199625" y="3674370"/>
                <a:ext cx="441819" cy="308051"/>
                <a:chOff x="2082279" y="2967928"/>
                <a:chExt cx="441819" cy="308051"/>
              </a:xfrm>
              <a:solidFill>
                <a:srgbClr val="10161E"/>
              </a:solidFill>
            </p:grpSpPr>
            <p:grpSp>
              <p:nvGrpSpPr>
                <p:cNvPr id="1533" name="Graphic 174">
                  <a:extLst>
                    <a:ext uri="{FF2B5EF4-FFF2-40B4-BE49-F238E27FC236}">
                      <a16:creationId xmlns:a16="http://schemas.microsoft.com/office/drawing/2014/main" id="{2A78A9A5-8133-9AAA-C582-4DF8089E7A97}"/>
                    </a:ext>
                  </a:extLst>
                </p:cNvPr>
                <p:cNvGrpSpPr/>
                <p:nvPr/>
              </p:nvGrpSpPr>
              <p:grpSpPr>
                <a:xfrm>
                  <a:off x="2317440" y="3030936"/>
                  <a:ext cx="184160" cy="229994"/>
                  <a:chOff x="2317440" y="3030936"/>
                  <a:chExt cx="184160" cy="229994"/>
                </a:xfrm>
                <a:solidFill>
                  <a:srgbClr val="10161E"/>
                </a:solidFill>
              </p:grpSpPr>
              <p:sp>
                <p:nvSpPr>
                  <p:cNvPr id="1564" name="Graphic 174">
                    <a:extLst>
                      <a:ext uri="{FF2B5EF4-FFF2-40B4-BE49-F238E27FC236}">
                        <a16:creationId xmlns:a16="http://schemas.microsoft.com/office/drawing/2014/main" id="{7A9E5488-299D-47F0-2764-401A0F9897F9}"/>
                      </a:ext>
                    </a:extLst>
                  </p:cNvPr>
                  <p:cNvSpPr/>
                  <p:nvPr/>
                </p:nvSpPr>
                <p:spPr>
                  <a:xfrm>
                    <a:off x="2317440" y="3030969"/>
                    <a:ext cx="26247" cy="25859"/>
                  </a:xfrm>
                  <a:custGeom>
                    <a:avLst/>
                    <a:gdLst>
                      <a:gd name="connsiteX0" fmla="*/ 12904 w 26247"/>
                      <a:gd name="connsiteY0" fmla="*/ 25860 h 25859"/>
                      <a:gd name="connsiteX1" fmla="*/ 21 w 26247"/>
                      <a:gd name="connsiteY1" fmla="*/ 13674 h 25859"/>
                      <a:gd name="connsiteX2" fmla="*/ 12206 w 26247"/>
                      <a:gd name="connsiteY2" fmla="*/ 58 h 25859"/>
                      <a:gd name="connsiteX3" fmla="*/ 12610 w 26247"/>
                      <a:gd name="connsiteY3" fmla="*/ 21 h 25859"/>
                      <a:gd name="connsiteX4" fmla="*/ 26227 w 26247"/>
                      <a:gd name="connsiteY4" fmla="*/ 12206 h 25859"/>
                      <a:gd name="connsiteX5" fmla="*/ 14041 w 26247"/>
                      <a:gd name="connsiteY5" fmla="*/ 25823 h 25859"/>
                      <a:gd name="connsiteX6" fmla="*/ 13638 w 26247"/>
                      <a:gd name="connsiteY6" fmla="*/ 25860 h 25859"/>
                      <a:gd name="connsiteX7" fmla="*/ 12904 w 26247"/>
                      <a:gd name="connsiteY7" fmla="*/ 25860 h 2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47" h="25859">
                        <a:moveTo>
                          <a:pt x="12904" y="25860"/>
                        </a:moveTo>
                        <a:cubicBezTo>
                          <a:pt x="6114" y="25860"/>
                          <a:pt x="388" y="20538"/>
                          <a:pt x="21" y="13674"/>
                        </a:cubicBezTo>
                        <a:cubicBezTo>
                          <a:pt x="-383" y="6554"/>
                          <a:pt x="5086" y="425"/>
                          <a:pt x="12206" y="58"/>
                        </a:cubicBezTo>
                        <a:lnTo>
                          <a:pt x="12610" y="21"/>
                        </a:lnTo>
                        <a:cubicBezTo>
                          <a:pt x="19767" y="-383"/>
                          <a:pt x="25860" y="5086"/>
                          <a:pt x="26227" y="12206"/>
                        </a:cubicBezTo>
                        <a:cubicBezTo>
                          <a:pt x="26630" y="19326"/>
                          <a:pt x="21162" y="25419"/>
                          <a:pt x="14041" y="25823"/>
                        </a:cubicBezTo>
                        <a:lnTo>
                          <a:pt x="13638" y="25860"/>
                        </a:lnTo>
                        <a:cubicBezTo>
                          <a:pt x="13381" y="25860"/>
                          <a:pt x="13160" y="25860"/>
                          <a:pt x="12904" y="25860"/>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65" name="Graphic 174">
                    <a:extLst>
                      <a:ext uri="{FF2B5EF4-FFF2-40B4-BE49-F238E27FC236}">
                        <a16:creationId xmlns:a16="http://schemas.microsoft.com/office/drawing/2014/main" id="{9B6A413A-A91B-F97C-564F-7F6540125D8A}"/>
                      </a:ext>
                    </a:extLst>
                  </p:cNvPr>
                  <p:cNvSpPr/>
                  <p:nvPr/>
                </p:nvSpPr>
                <p:spPr>
                  <a:xfrm>
                    <a:off x="2333703" y="3030936"/>
                    <a:ext cx="167897" cy="214359"/>
                  </a:xfrm>
                  <a:custGeom>
                    <a:avLst/>
                    <a:gdLst>
                      <a:gd name="connsiteX0" fmla="*/ 150534 w 167897"/>
                      <a:gd name="connsiteY0" fmla="*/ 214360 h 214359"/>
                      <a:gd name="connsiteX1" fmla="*/ 147561 w 167897"/>
                      <a:gd name="connsiteY1" fmla="*/ 214029 h 214359"/>
                      <a:gd name="connsiteX2" fmla="*/ 137945 w 167897"/>
                      <a:gd name="connsiteY2" fmla="*/ 198504 h 214359"/>
                      <a:gd name="connsiteX3" fmla="*/ 138092 w 167897"/>
                      <a:gd name="connsiteY3" fmla="*/ 197807 h 214359"/>
                      <a:gd name="connsiteX4" fmla="*/ 142056 w 167897"/>
                      <a:gd name="connsiteY4" fmla="*/ 191090 h 214359"/>
                      <a:gd name="connsiteX5" fmla="*/ 140698 w 167897"/>
                      <a:gd name="connsiteY5" fmla="*/ 183383 h 214359"/>
                      <a:gd name="connsiteX6" fmla="*/ 140808 w 167897"/>
                      <a:gd name="connsiteY6" fmla="*/ 182686 h 214359"/>
                      <a:gd name="connsiteX7" fmla="*/ 144075 w 167897"/>
                      <a:gd name="connsiteY7" fmla="*/ 175639 h 214359"/>
                      <a:gd name="connsiteX8" fmla="*/ 141946 w 167897"/>
                      <a:gd name="connsiteY8" fmla="*/ 168151 h 214359"/>
                      <a:gd name="connsiteX9" fmla="*/ 141982 w 167897"/>
                      <a:gd name="connsiteY9" fmla="*/ 167454 h 214359"/>
                      <a:gd name="connsiteX10" fmla="*/ 144478 w 167897"/>
                      <a:gd name="connsiteY10" fmla="*/ 160114 h 214359"/>
                      <a:gd name="connsiteX11" fmla="*/ 141616 w 167897"/>
                      <a:gd name="connsiteY11" fmla="*/ 152883 h 214359"/>
                      <a:gd name="connsiteX12" fmla="*/ 141579 w 167897"/>
                      <a:gd name="connsiteY12" fmla="*/ 152222 h 214359"/>
                      <a:gd name="connsiteX13" fmla="*/ 143304 w 167897"/>
                      <a:gd name="connsiteY13" fmla="*/ 144662 h 214359"/>
                      <a:gd name="connsiteX14" fmla="*/ 139707 w 167897"/>
                      <a:gd name="connsiteY14" fmla="*/ 137835 h 214359"/>
                      <a:gd name="connsiteX15" fmla="*/ 139560 w 167897"/>
                      <a:gd name="connsiteY15" fmla="*/ 137101 h 214359"/>
                      <a:gd name="connsiteX16" fmla="*/ 140441 w 167897"/>
                      <a:gd name="connsiteY16" fmla="*/ 129430 h 214359"/>
                      <a:gd name="connsiteX17" fmla="*/ 136110 w 167897"/>
                      <a:gd name="connsiteY17" fmla="*/ 123007 h 214359"/>
                      <a:gd name="connsiteX18" fmla="*/ 135927 w 167897"/>
                      <a:gd name="connsiteY18" fmla="*/ 122347 h 214359"/>
                      <a:gd name="connsiteX19" fmla="*/ 135963 w 167897"/>
                      <a:gd name="connsiteY19" fmla="*/ 114602 h 214359"/>
                      <a:gd name="connsiteX20" fmla="*/ 130935 w 167897"/>
                      <a:gd name="connsiteY20" fmla="*/ 108693 h 214359"/>
                      <a:gd name="connsiteX21" fmla="*/ 130678 w 167897"/>
                      <a:gd name="connsiteY21" fmla="*/ 108069 h 214359"/>
                      <a:gd name="connsiteX22" fmla="*/ 129871 w 167897"/>
                      <a:gd name="connsiteY22" fmla="*/ 100399 h 214359"/>
                      <a:gd name="connsiteX23" fmla="*/ 124255 w 167897"/>
                      <a:gd name="connsiteY23" fmla="*/ 95113 h 214359"/>
                      <a:gd name="connsiteX24" fmla="*/ 123888 w 167897"/>
                      <a:gd name="connsiteY24" fmla="*/ 94453 h 214359"/>
                      <a:gd name="connsiteX25" fmla="*/ 122237 w 167897"/>
                      <a:gd name="connsiteY25" fmla="*/ 86929 h 214359"/>
                      <a:gd name="connsiteX26" fmla="*/ 116071 w 167897"/>
                      <a:gd name="connsiteY26" fmla="*/ 82304 h 214359"/>
                      <a:gd name="connsiteX27" fmla="*/ 115667 w 167897"/>
                      <a:gd name="connsiteY27" fmla="*/ 81754 h 214359"/>
                      <a:gd name="connsiteX28" fmla="*/ 113171 w 167897"/>
                      <a:gd name="connsiteY28" fmla="*/ 74413 h 214359"/>
                      <a:gd name="connsiteX29" fmla="*/ 106528 w 167897"/>
                      <a:gd name="connsiteY29" fmla="*/ 70486 h 214359"/>
                      <a:gd name="connsiteX30" fmla="*/ 106014 w 167897"/>
                      <a:gd name="connsiteY30" fmla="*/ 69936 h 214359"/>
                      <a:gd name="connsiteX31" fmla="*/ 102748 w 167897"/>
                      <a:gd name="connsiteY31" fmla="*/ 62925 h 214359"/>
                      <a:gd name="connsiteX32" fmla="*/ 95737 w 167897"/>
                      <a:gd name="connsiteY32" fmla="*/ 59769 h 214359"/>
                      <a:gd name="connsiteX33" fmla="*/ 95150 w 167897"/>
                      <a:gd name="connsiteY33" fmla="*/ 59255 h 214359"/>
                      <a:gd name="connsiteX34" fmla="*/ 91150 w 167897"/>
                      <a:gd name="connsiteY34" fmla="*/ 52685 h 214359"/>
                      <a:gd name="connsiteX35" fmla="*/ 83809 w 167897"/>
                      <a:gd name="connsiteY35" fmla="*/ 50300 h 214359"/>
                      <a:gd name="connsiteX36" fmla="*/ 83222 w 167897"/>
                      <a:gd name="connsiteY36" fmla="*/ 49859 h 214359"/>
                      <a:gd name="connsiteX37" fmla="*/ 78524 w 167897"/>
                      <a:gd name="connsiteY37" fmla="*/ 43767 h 214359"/>
                      <a:gd name="connsiteX38" fmla="*/ 71000 w 167897"/>
                      <a:gd name="connsiteY38" fmla="*/ 42262 h 214359"/>
                      <a:gd name="connsiteX39" fmla="*/ 70376 w 167897"/>
                      <a:gd name="connsiteY39" fmla="*/ 41932 h 214359"/>
                      <a:gd name="connsiteX40" fmla="*/ 65017 w 167897"/>
                      <a:gd name="connsiteY40" fmla="*/ 36426 h 214359"/>
                      <a:gd name="connsiteX41" fmla="*/ 57347 w 167897"/>
                      <a:gd name="connsiteY41" fmla="*/ 35766 h 214359"/>
                      <a:gd name="connsiteX42" fmla="*/ 56686 w 167897"/>
                      <a:gd name="connsiteY42" fmla="*/ 35509 h 214359"/>
                      <a:gd name="connsiteX43" fmla="*/ 50703 w 167897"/>
                      <a:gd name="connsiteY43" fmla="*/ 30627 h 214359"/>
                      <a:gd name="connsiteX44" fmla="*/ 42996 w 167897"/>
                      <a:gd name="connsiteY44" fmla="*/ 30847 h 214359"/>
                      <a:gd name="connsiteX45" fmla="*/ 42299 w 167897"/>
                      <a:gd name="connsiteY45" fmla="*/ 30664 h 214359"/>
                      <a:gd name="connsiteX46" fmla="*/ 35802 w 167897"/>
                      <a:gd name="connsiteY46" fmla="*/ 26480 h 214359"/>
                      <a:gd name="connsiteX47" fmla="*/ 28131 w 167897"/>
                      <a:gd name="connsiteY47" fmla="*/ 27544 h 214359"/>
                      <a:gd name="connsiteX48" fmla="*/ 27434 w 167897"/>
                      <a:gd name="connsiteY48" fmla="*/ 27434 h 214359"/>
                      <a:gd name="connsiteX49" fmla="*/ 20497 w 167897"/>
                      <a:gd name="connsiteY49" fmla="*/ 23984 h 214359"/>
                      <a:gd name="connsiteX50" fmla="*/ 13010 w 167897"/>
                      <a:gd name="connsiteY50" fmla="*/ 25893 h 214359"/>
                      <a:gd name="connsiteX51" fmla="*/ 12276 w 167897"/>
                      <a:gd name="connsiteY51" fmla="*/ 25856 h 214359"/>
                      <a:gd name="connsiteX52" fmla="*/ 17 w 167897"/>
                      <a:gd name="connsiteY52" fmla="*/ 12276 h 214359"/>
                      <a:gd name="connsiteX53" fmla="*/ 13597 w 167897"/>
                      <a:gd name="connsiteY53" fmla="*/ 17 h 214359"/>
                      <a:gd name="connsiteX54" fmla="*/ 14441 w 167897"/>
                      <a:gd name="connsiteY54" fmla="*/ 54 h 214359"/>
                      <a:gd name="connsiteX55" fmla="*/ 22699 w 167897"/>
                      <a:gd name="connsiteY55" fmla="*/ 3651 h 214359"/>
                      <a:gd name="connsiteX56" fmla="*/ 31508 w 167897"/>
                      <a:gd name="connsiteY56" fmla="*/ 1889 h 214359"/>
                      <a:gd name="connsiteX57" fmla="*/ 32352 w 167897"/>
                      <a:gd name="connsiteY57" fmla="*/ 2036 h 214359"/>
                      <a:gd name="connsiteX58" fmla="*/ 40170 w 167897"/>
                      <a:gd name="connsiteY58" fmla="*/ 6514 h 214359"/>
                      <a:gd name="connsiteX59" fmla="*/ 49125 w 167897"/>
                      <a:gd name="connsiteY59" fmla="*/ 5743 h 214359"/>
                      <a:gd name="connsiteX60" fmla="*/ 49969 w 167897"/>
                      <a:gd name="connsiteY60" fmla="*/ 5963 h 214359"/>
                      <a:gd name="connsiteX61" fmla="*/ 57236 w 167897"/>
                      <a:gd name="connsiteY61" fmla="*/ 11285 h 214359"/>
                      <a:gd name="connsiteX62" fmla="*/ 66265 w 167897"/>
                      <a:gd name="connsiteY62" fmla="*/ 11505 h 214359"/>
                      <a:gd name="connsiteX63" fmla="*/ 67073 w 167897"/>
                      <a:gd name="connsiteY63" fmla="*/ 11836 h 214359"/>
                      <a:gd name="connsiteX64" fmla="*/ 73716 w 167897"/>
                      <a:gd name="connsiteY64" fmla="*/ 17928 h 214359"/>
                      <a:gd name="connsiteX65" fmla="*/ 82671 w 167897"/>
                      <a:gd name="connsiteY65" fmla="*/ 19176 h 214359"/>
                      <a:gd name="connsiteX66" fmla="*/ 83442 w 167897"/>
                      <a:gd name="connsiteY66" fmla="*/ 19580 h 214359"/>
                      <a:gd name="connsiteX67" fmla="*/ 89351 w 167897"/>
                      <a:gd name="connsiteY67" fmla="*/ 26406 h 214359"/>
                      <a:gd name="connsiteX68" fmla="*/ 98086 w 167897"/>
                      <a:gd name="connsiteY68" fmla="*/ 28682 h 214359"/>
                      <a:gd name="connsiteX69" fmla="*/ 98784 w 167897"/>
                      <a:gd name="connsiteY69" fmla="*/ 29159 h 214359"/>
                      <a:gd name="connsiteX70" fmla="*/ 103885 w 167897"/>
                      <a:gd name="connsiteY70" fmla="*/ 36610 h 214359"/>
                      <a:gd name="connsiteX71" fmla="*/ 112290 w 167897"/>
                      <a:gd name="connsiteY71" fmla="*/ 39840 h 214359"/>
                      <a:gd name="connsiteX72" fmla="*/ 112914 w 167897"/>
                      <a:gd name="connsiteY72" fmla="*/ 40390 h 214359"/>
                      <a:gd name="connsiteX73" fmla="*/ 117172 w 167897"/>
                      <a:gd name="connsiteY73" fmla="*/ 48354 h 214359"/>
                      <a:gd name="connsiteX74" fmla="*/ 125173 w 167897"/>
                      <a:gd name="connsiteY74" fmla="*/ 52502 h 214359"/>
                      <a:gd name="connsiteX75" fmla="*/ 125723 w 167897"/>
                      <a:gd name="connsiteY75" fmla="*/ 53126 h 214359"/>
                      <a:gd name="connsiteX76" fmla="*/ 129063 w 167897"/>
                      <a:gd name="connsiteY76" fmla="*/ 61494 h 214359"/>
                      <a:gd name="connsiteX77" fmla="*/ 136551 w 167897"/>
                      <a:gd name="connsiteY77" fmla="*/ 66449 h 214359"/>
                      <a:gd name="connsiteX78" fmla="*/ 137064 w 167897"/>
                      <a:gd name="connsiteY78" fmla="*/ 67183 h 214359"/>
                      <a:gd name="connsiteX79" fmla="*/ 139450 w 167897"/>
                      <a:gd name="connsiteY79" fmla="*/ 75881 h 214359"/>
                      <a:gd name="connsiteX80" fmla="*/ 146350 w 167897"/>
                      <a:gd name="connsiteY80" fmla="*/ 81680 h 214359"/>
                      <a:gd name="connsiteX81" fmla="*/ 146754 w 167897"/>
                      <a:gd name="connsiteY81" fmla="*/ 82414 h 214359"/>
                      <a:gd name="connsiteX82" fmla="*/ 148185 w 167897"/>
                      <a:gd name="connsiteY82" fmla="*/ 91333 h 214359"/>
                      <a:gd name="connsiteX83" fmla="*/ 154425 w 167897"/>
                      <a:gd name="connsiteY83" fmla="*/ 97829 h 214359"/>
                      <a:gd name="connsiteX84" fmla="*/ 154792 w 167897"/>
                      <a:gd name="connsiteY84" fmla="*/ 98674 h 214359"/>
                      <a:gd name="connsiteX85" fmla="*/ 155195 w 167897"/>
                      <a:gd name="connsiteY85" fmla="*/ 107629 h 214359"/>
                      <a:gd name="connsiteX86" fmla="*/ 160664 w 167897"/>
                      <a:gd name="connsiteY86" fmla="*/ 114786 h 214359"/>
                      <a:gd name="connsiteX87" fmla="*/ 160921 w 167897"/>
                      <a:gd name="connsiteY87" fmla="*/ 115667 h 214359"/>
                      <a:gd name="connsiteX88" fmla="*/ 160334 w 167897"/>
                      <a:gd name="connsiteY88" fmla="*/ 124622 h 214359"/>
                      <a:gd name="connsiteX89" fmla="*/ 164995 w 167897"/>
                      <a:gd name="connsiteY89" fmla="*/ 132330 h 214359"/>
                      <a:gd name="connsiteX90" fmla="*/ 165142 w 167897"/>
                      <a:gd name="connsiteY90" fmla="*/ 133137 h 214359"/>
                      <a:gd name="connsiteX91" fmla="*/ 163600 w 167897"/>
                      <a:gd name="connsiteY91" fmla="*/ 142019 h 214359"/>
                      <a:gd name="connsiteX92" fmla="*/ 167381 w 167897"/>
                      <a:gd name="connsiteY92" fmla="*/ 150167 h 214359"/>
                      <a:gd name="connsiteX93" fmla="*/ 167454 w 167897"/>
                      <a:gd name="connsiteY93" fmla="*/ 151085 h 214359"/>
                      <a:gd name="connsiteX94" fmla="*/ 164995 w 167897"/>
                      <a:gd name="connsiteY94" fmla="*/ 159673 h 214359"/>
                      <a:gd name="connsiteX95" fmla="*/ 167894 w 167897"/>
                      <a:gd name="connsiteY95" fmla="*/ 168151 h 214359"/>
                      <a:gd name="connsiteX96" fmla="*/ 167858 w 167897"/>
                      <a:gd name="connsiteY96" fmla="*/ 169069 h 214359"/>
                      <a:gd name="connsiteX97" fmla="*/ 164518 w 167897"/>
                      <a:gd name="connsiteY97" fmla="*/ 177364 h 214359"/>
                      <a:gd name="connsiteX98" fmla="*/ 166536 w 167897"/>
                      <a:gd name="connsiteY98" fmla="*/ 186099 h 214359"/>
                      <a:gd name="connsiteX99" fmla="*/ 166426 w 167897"/>
                      <a:gd name="connsiteY99" fmla="*/ 186943 h 214359"/>
                      <a:gd name="connsiteX100" fmla="*/ 162279 w 167897"/>
                      <a:gd name="connsiteY100" fmla="*/ 194834 h 214359"/>
                      <a:gd name="connsiteX101" fmla="*/ 163417 w 167897"/>
                      <a:gd name="connsiteY101" fmla="*/ 203679 h 214359"/>
                      <a:gd name="connsiteX102" fmla="*/ 163233 w 167897"/>
                      <a:gd name="connsiteY102" fmla="*/ 204523 h 214359"/>
                      <a:gd name="connsiteX103" fmla="*/ 150534 w 167897"/>
                      <a:gd name="connsiteY103" fmla="*/ 214360 h 214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67897" h="214359">
                        <a:moveTo>
                          <a:pt x="150534" y="214360"/>
                        </a:moveTo>
                        <a:cubicBezTo>
                          <a:pt x="149543" y="214360"/>
                          <a:pt x="148552" y="214250"/>
                          <a:pt x="147561" y="214029"/>
                        </a:cubicBezTo>
                        <a:cubicBezTo>
                          <a:pt x="140625" y="212378"/>
                          <a:pt x="136294" y="205441"/>
                          <a:pt x="137945" y="198504"/>
                        </a:cubicBezTo>
                        <a:lnTo>
                          <a:pt x="138092" y="197807"/>
                        </a:lnTo>
                        <a:cubicBezTo>
                          <a:pt x="138716" y="195128"/>
                          <a:pt x="140147" y="192815"/>
                          <a:pt x="142056" y="191090"/>
                        </a:cubicBezTo>
                        <a:cubicBezTo>
                          <a:pt x="140881" y="188815"/>
                          <a:pt x="140331" y="186136"/>
                          <a:pt x="140698" y="183383"/>
                        </a:cubicBezTo>
                        <a:lnTo>
                          <a:pt x="140808" y="182686"/>
                        </a:lnTo>
                        <a:cubicBezTo>
                          <a:pt x="141175" y="179970"/>
                          <a:pt x="142350" y="177547"/>
                          <a:pt x="144075" y="175639"/>
                        </a:cubicBezTo>
                        <a:cubicBezTo>
                          <a:pt x="142643" y="173473"/>
                          <a:pt x="141872" y="170904"/>
                          <a:pt x="141946" y="168151"/>
                        </a:cubicBezTo>
                        <a:lnTo>
                          <a:pt x="141982" y="167454"/>
                        </a:lnTo>
                        <a:cubicBezTo>
                          <a:pt x="142056" y="164701"/>
                          <a:pt x="142973" y="162169"/>
                          <a:pt x="144478" y="160114"/>
                        </a:cubicBezTo>
                        <a:cubicBezTo>
                          <a:pt x="142863" y="158132"/>
                          <a:pt x="141799" y="155636"/>
                          <a:pt x="141616" y="152883"/>
                        </a:cubicBezTo>
                        <a:lnTo>
                          <a:pt x="141579" y="152222"/>
                        </a:lnTo>
                        <a:cubicBezTo>
                          <a:pt x="141359" y="149470"/>
                          <a:pt x="142019" y="146864"/>
                          <a:pt x="143304" y="144662"/>
                        </a:cubicBezTo>
                        <a:cubicBezTo>
                          <a:pt x="141505" y="142863"/>
                          <a:pt x="140184" y="140514"/>
                          <a:pt x="139707" y="137835"/>
                        </a:cubicBezTo>
                        <a:lnTo>
                          <a:pt x="139560" y="137101"/>
                        </a:lnTo>
                        <a:cubicBezTo>
                          <a:pt x="139046" y="134422"/>
                          <a:pt x="139413" y="131743"/>
                          <a:pt x="140441" y="129430"/>
                        </a:cubicBezTo>
                        <a:cubicBezTo>
                          <a:pt x="138422" y="127852"/>
                          <a:pt x="136881" y="125650"/>
                          <a:pt x="136110" y="123007"/>
                        </a:cubicBezTo>
                        <a:lnTo>
                          <a:pt x="135927" y="122347"/>
                        </a:lnTo>
                        <a:cubicBezTo>
                          <a:pt x="135119" y="119741"/>
                          <a:pt x="135193" y="117025"/>
                          <a:pt x="135963" y="114602"/>
                        </a:cubicBezTo>
                        <a:cubicBezTo>
                          <a:pt x="133798" y="113244"/>
                          <a:pt x="132036" y="111226"/>
                          <a:pt x="130935" y="108693"/>
                        </a:cubicBezTo>
                        <a:lnTo>
                          <a:pt x="130678" y="108069"/>
                        </a:lnTo>
                        <a:cubicBezTo>
                          <a:pt x="129577" y="105537"/>
                          <a:pt x="129357" y="102894"/>
                          <a:pt x="129871" y="100399"/>
                        </a:cubicBezTo>
                        <a:cubicBezTo>
                          <a:pt x="127595" y="99298"/>
                          <a:pt x="125613" y="97499"/>
                          <a:pt x="124255" y="95113"/>
                        </a:cubicBezTo>
                        <a:lnTo>
                          <a:pt x="123888" y="94453"/>
                        </a:lnTo>
                        <a:cubicBezTo>
                          <a:pt x="122530" y="92067"/>
                          <a:pt x="122016" y="89461"/>
                          <a:pt x="122237" y="86929"/>
                        </a:cubicBezTo>
                        <a:cubicBezTo>
                          <a:pt x="119851" y="86085"/>
                          <a:pt x="117649" y="84506"/>
                          <a:pt x="116071" y="82304"/>
                        </a:cubicBezTo>
                        <a:lnTo>
                          <a:pt x="115667" y="81754"/>
                        </a:lnTo>
                        <a:cubicBezTo>
                          <a:pt x="114052" y="79552"/>
                          <a:pt x="113245" y="76982"/>
                          <a:pt x="113171" y="74413"/>
                        </a:cubicBezTo>
                        <a:cubicBezTo>
                          <a:pt x="110712" y="73826"/>
                          <a:pt x="108363" y="72541"/>
                          <a:pt x="106528" y="70486"/>
                        </a:cubicBezTo>
                        <a:lnTo>
                          <a:pt x="106014" y="69936"/>
                        </a:lnTo>
                        <a:cubicBezTo>
                          <a:pt x="104179" y="67917"/>
                          <a:pt x="103078" y="65458"/>
                          <a:pt x="102748" y="62925"/>
                        </a:cubicBezTo>
                        <a:cubicBezTo>
                          <a:pt x="100215" y="62632"/>
                          <a:pt x="97756" y="61567"/>
                          <a:pt x="95737" y="59769"/>
                        </a:cubicBezTo>
                        <a:lnTo>
                          <a:pt x="95150" y="59255"/>
                        </a:lnTo>
                        <a:cubicBezTo>
                          <a:pt x="93095" y="57457"/>
                          <a:pt x="91774" y="55144"/>
                          <a:pt x="91150" y="52685"/>
                        </a:cubicBezTo>
                        <a:cubicBezTo>
                          <a:pt x="88617" y="52649"/>
                          <a:pt x="86048" y="51878"/>
                          <a:pt x="83809" y="50300"/>
                        </a:cubicBezTo>
                        <a:lnTo>
                          <a:pt x="83222" y="49859"/>
                        </a:lnTo>
                        <a:cubicBezTo>
                          <a:pt x="80983" y="48281"/>
                          <a:pt x="79405" y="46152"/>
                          <a:pt x="78524" y="43767"/>
                        </a:cubicBezTo>
                        <a:cubicBezTo>
                          <a:pt x="75991" y="44024"/>
                          <a:pt x="73386" y="43546"/>
                          <a:pt x="71000" y="42262"/>
                        </a:cubicBezTo>
                        <a:lnTo>
                          <a:pt x="70376" y="41932"/>
                        </a:lnTo>
                        <a:cubicBezTo>
                          <a:pt x="67990" y="40647"/>
                          <a:pt x="66155" y="38702"/>
                          <a:pt x="65017" y="36426"/>
                        </a:cubicBezTo>
                        <a:cubicBezTo>
                          <a:pt x="62522" y="36977"/>
                          <a:pt x="59879" y="36793"/>
                          <a:pt x="57347" y="35766"/>
                        </a:cubicBezTo>
                        <a:lnTo>
                          <a:pt x="56686" y="35509"/>
                        </a:lnTo>
                        <a:cubicBezTo>
                          <a:pt x="54153" y="34481"/>
                          <a:pt x="52098" y="32756"/>
                          <a:pt x="50703" y="30627"/>
                        </a:cubicBezTo>
                        <a:cubicBezTo>
                          <a:pt x="48281" y="31471"/>
                          <a:pt x="45602" y="31581"/>
                          <a:pt x="42996" y="30847"/>
                        </a:cubicBezTo>
                        <a:lnTo>
                          <a:pt x="42299" y="30664"/>
                        </a:lnTo>
                        <a:cubicBezTo>
                          <a:pt x="39656" y="29930"/>
                          <a:pt x="37417" y="28425"/>
                          <a:pt x="35802" y="26480"/>
                        </a:cubicBezTo>
                        <a:cubicBezTo>
                          <a:pt x="33490" y="27581"/>
                          <a:pt x="30847" y="27985"/>
                          <a:pt x="28131" y="27544"/>
                        </a:cubicBezTo>
                        <a:lnTo>
                          <a:pt x="27434" y="27434"/>
                        </a:lnTo>
                        <a:cubicBezTo>
                          <a:pt x="24718" y="26994"/>
                          <a:pt x="22332" y="25746"/>
                          <a:pt x="20497" y="23984"/>
                        </a:cubicBezTo>
                        <a:cubicBezTo>
                          <a:pt x="18332" y="25305"/>
                          <a:pt x="15763" y="26039"/>
                          <a:pt x="13010" y="25893"/>
                        </a:cubicBezTo>
                        <a:lnTo>
                          <a:pt x="12276" y="25856"/>
                        </a:lnTo>
                        <a:cubicBezTo>
                          <a:pt x="5156" y="25489"/>
                          <a:pt x="-350" y="19433"/>
                          <a:pt x="17" y="12276"/>
                        </a:cubicBezTo>
                        <a:cubicBezTo>
                          <a:pt x="384" y="5156"/>
                          <a:pt x="6440" y="-350"/>
                          <a:pt x="13597" y="17"/>
                        </a:cubicBezTo>
                        <a:lnTo>
                          <a:pt x="14441" y="54"/>
                        </a:lnTo>
                        <a:cubicBezTo>
                          <a:pt x="17671" y="238"/>
                          <a:pt x="20571" y="1559"/>
                          <a:pt x="22699" y="3651"/>
                        </a:cubicBezTo>
                        <a:cubicBezTo>
                          <a:pt x="25232" y="2073"/>
                          <a:pt x="28352" y="1375"/>
                          <a:pt x="31508" y="1889"/>
                        </a:cubicBezTo>
                        <a:lnTo>
                          <a:pt x="32352" y="2036"/>
                        </a:lnTo>
                        <a:cubicBezTo>
                          <a:pt x="35545" y="2550"/>
                          <a:pt x="38261" y="4201"/>
                          <a:pt x="40170" y="6514"/>
                        </a:cubicBezTo>
                        <a:cubicBezTo>
                          <a:pt x="42886" y="5229"/>
                          <a:pt x="46042" y="4862"/>
                          <a:pt x="49125" y="5743"/>
                        </a:cubicBezTo>
                        <a:lnTo>
                          <a:pt x="49969" y="5963"/>
                        </a:lnTo>
                        <a:cubicBezTo>
                          <a:pt x="53089" y="6844"/>
                          <a:pt x="55585" y="8789"/>
                          <a:pt x="57236" y="11285"/>
                        </a:cubicBezTo>
                        <a:cubicBezTo>
                          <a:pt x="60063" y="10294"/>
                          <a:pt x="63256" y="10294"/>
                          <a:pt x="66265" y="11505"/>
                        </a:cubicBezTo>
                        <a:lnTo>
                          <a:pt x="67073" y="11836"/>
                        </a:lnTo>
                        <a:cubicBezTo>
                          <a:pt x="70082" y="13047"/>
                          <a:pt x="72358" y="15286"/>
                          <a:pt x="73716" y="17928"/>
                        </a:cubicBezTo>
                        <a:cubicBezTo>
                          <a:pt x="76652" y="17268"/>
                          <a:pt x="79809" y="17635"/>
                          <a:pt x="82671" y="19176"/>
                        </a:cubicBezTo>
                        <a:lnTo>
                          <a:pt x="83442" y="19580"/>
                        </a:lnTo>
                        <a:cubicBezTo>
                          <a:pt x="86268" y="21121"/>
                          <a:pt x="88287" y="23617"/>
                          <a:pt x="89351" y="26406"/>
                        </a:cubicBezTo>
                        <a:cubicBezTo>
                          <a:pt x="92324" y="26113"/>
                          <a:pt x="95444" y="26810"/>
                          <a:pt x="98086" y="28682"/>
                        </a:cubicBezTo>
                        <a:lnTo>
                          <a:pt x="98784" y="29159"/>
                        </a:lnTo>
                        <a:cubicBezTo>
                          <a:pt x="101426" y="31031"/>
                          <a:pt x="103151" y="33710"/>
                          <a:pt x="103885" y="36610"/>
                        </a:cubicBezTo>
                        <a:cubicBezTo>
                          <a:pt x="106895" y="36646"/>
                          <a:pt x="109868" y="37711"/>
                          <a:pt x="112290" y="39840"/>
                        </a:cubicBezTo>
                        <a:lnTo>
                          <a:pt x="112914" y="40390"/>
                        </a:lnTo>
                        <a:cubicBezTo>
                          <a:pt x="115337" y="42519"/>
                          <a:pt x="116768" y="45382"/>
                          <a:pt x="117172" y="48354"/>
                        </a:cubicBezTo>
                        <a:cubicBezTo>
                          <a:pt x="120145" y="48722"/>
                          <a:pt x="123007" y="50116"/>
                          <a:pt x="125173" y="52502"/>
                        </a:cubicBezTo>
                        <a:lnTo>
                          <a:pt x="125723" y="53126"/>
                        </a:lnTo>
                        <a:cubicBezTo>
                          <a:pt x="127889" y="55511"/>
                          <a:pt x="128990" y="58521"/>
                          <a:pt x="129063" y="61494"/>
                        </a:cubicBezTo>
                        <a:cubicBezTo>
                          <a:pt x="131963" y="62155"/>
                          <a:pt x="134679" y="63843"/>
                          <a:pt x="136551" y="66449"/>
                        </a:cubicBezTo>
                        <a:lnTo>
                          <a:pt x="137064" y="67183"/>
                        </a:lnTo>
                        <a:cubicBezTo>
                          <a:pt x="138936" y="69789"/>
                          <a:pt x="139707" y="72872"/>
                          <a:pt x="139450" y="75881"/>
                        </a:cubicBezTo>
                        <a:cubicBezTo>
                          <a:pt x="142276" y="76872"/>
                          <a:pt x="144772" y="78854"/>
                          <a:pt x="146350" y="81680"/>
                        </a:cubicBezTo>
                        <a:lnTo>
                          <a:pt x="146754" y="82414"/>
                        </a:lnTo>
                        <a:cubicBezTo>
                          <a:pt x="148332" y="85240"/>
                          <a:pt x="148772" y="88397"/>
                          <a:pt x="148185" y="91333"/>
                        </a:cubicBezTo>
                        <a:cubicBezTo>
                          <a:pt x="150865" y="92654"/>
                          <a:pt x="153140" y="94893"/>
                          <a:pt x="154425" y="97829"/>
                        </a:cubicBezTo>
                        <a:lnTo>
                          <a:pt x="154792" y="98674"/>
                        </a:lnTo>
                        <a:cubicBezTo>
                          <a:pt x="156040" y="101646"/>
                          <a:pt x="156113" y="104803"/>
                          <a:pt x="155195" y="107629"/>
                        </a:cubicBezTo>
                        <a:cubicBezTo>
                          <a:pt x="157728" y="109207"/>
                          <a:pt x="159710" y="111703"/>
                          <a:pt x="160664" y="114786"/>
                        </a:cubicBezTo>
                        <a:cubicBezTo>
                          <a:pt x="160737" y="115080"/>
                          <a:pt x="160848" y="115373"/>
                          <a:pt x="160921" y="115667"/>
                        </a:cubicBezTo>
                        <a:cubicBezTo>
                          <a:pt x="161839" y="118750"/>
                          <a:pt x="161545" y="121906"/>
                          <a:pt x="160334" y="124622"/>
                        </a:cubicBezTo>
                        <a:cubicBezTo>
                          <a:pt x="162683" y="126494"/>
                          <a:pt x="164371" y="129173"/>
                          <a:pt x="164995" y="132330"/>
                        </a:cubicBezTo>
                        <a:lnTo>
                          <a:pt x="165142" y="133137"/>
                        </a:lnTo>
                        <a:cubicBezTo>
                          <a:pt x="165729" y="136294"/>
                          <a:pt x="165105" y="139413"/>
                          <a:pt x="163600" y="142019"/>
                        </a:cubicBezTo>
                        <a:cubicBezTo>
                          <a:pt x="165729" y="144111"/>
                          <a:pt x="167124" y="146937"/>
                          <a:pt x="167381" y="150167"/>
                        </a:cubicBezTo>
                        <a:cubicBezTo>
                          <a:pt x="167417" y="150461"/>
                          <a:pt x="167417" y="150754"/>
                          <a:pt x="167454" y="151085"/>
                        </a:cubicBezTo>
                        <a:cubicBezTo>
                          <a:pt x="167674" y="154278"/>
                          <a:pt x="166720" y="157287"/>
                          <a:pt x="164995" y="159673"/>
                        </a:cubicBezTo>
                        <a:cubicBezTo>
                          <a:pt x="166867" y="161985"/>
                          <a:pt x="167968" y="164922"/>
                          <a:pt x="167894" y="168151"/>
                        </a:cubicBezTo>
                        <a:lnTo>
                          <a:pt x="167858" y="169069"/>
                        </a:lnTo>
                        <a:cubicBezTo>
                          <a:pt x="167748" y="172262"/>
                          <a:pt x="166500" y="175162"/>
                          <a:pt x="164518" y="177364"/>
                        </a:cubicBezTo>
                        <a:cubicBezTo>
                          <a:pt x="166169" y="179859"/>
                          <a:pt x="166940" y="182906"/>
                          <a:pt x="166536" y="186099"/>
                        </a:cubicBezTo>
                        <a:lnTo>
                          <a:pt x="166426" y="186943"/>
                        </a:lnTo>
                        <a:cubicBezTo>
                          <a:pt x="165986" y="190099"/>
                          <a:pt x="164444" y="192852"/>
                          <a:pt x="162279" y="194834"/>
                        </a:cubicBezTo>
                        <a:cubicBezTo>
                          <a:pt x="163637" y="197477"/>
                          <a:pt x="164114" y="200560"/>
                          <a:pt x="163417" y="203679"/>
                        </a:cubicBezTo>
                        <a:lnTo>
                          <a:pt x="163233" y="204523"/>
                        </a:lnTo>
                        <a:cubicBezTo>
                          <a:pt x="161692" y="210359"/>
                          <a:pt x="156370" y="214360"/>
                          <a:pt x="150534" y="214360"/>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66" name="Graphic 174">
                    <a:extLst>
                      <a:ext uri="{FF2B5EF4-FFF2-40B4-BE49-F238E27FC236}">
                        <a16:creationId xmlns:a16="http://schemas.microsoft.com/office/drawing/2014/main" id="{E238DD75-6435-E855-F0AE-F75F71E9FD75}"/>
                      </a:ext>
                    </a:extLst>
                  </p:cNvPr>
                  <p:cNvSpPr/>
                  <p:nvPr/>
                </p:nvSpPr>
                <p:spPr>
                  <a:xfrm>
                    <a:off x="2466826" y="3234689"/>
                    <a:ext cx="25999" cy="26241"/>
                  </a:xfrm>
                  <a:custGeom>
                    <a:avLst/>
                    <a:gdLst>
                      <a:gd name="connsiteX0" fmla="*/ 12933 w 25999"/>
                      <a:gd name="connsiteY0" fmla="*/ 26242 h 26241"/>
                      <a:gd name="connsiteX1" fmla="*/ 8823 w 25999"/>
                      <a:gd name="connsiteY1" fmla="*/ 25581 h 26241"/>
                      <a:gd name="connsiteX2" fmla="*/ 675 w 25999"/>
                      <a:gd name="connsiteY2" fmla="*/ 9212 h 26241"/>
                      <a:gd name="connsiteX3" fmla="*/ 785 w 25999"/>
                      <a:gd name="connsiteY3" fmla="*/ 8845 h 26241"/>
                      <a:gd name="connsiteX4" fmla="*/ 17154 w 25999"/>
                      <a:gd name="connsiteY4" fmla="*/ 660 h 26241"/>
                      <a:gd name="connsiteX5" fmla="*/ 25339 w 25999"/>
                      <a:gd name="connsiteY5" fmla="*/ 17030 h 26241"/>
                      <a:gd name="connsiteX6" fmla="*/ 25229 w 25999"/>
                      <a:gd name="connsiteY6" fmla="*/ 17397 h 26241"/>
                      <a:gd name="connsiteX7" fmla="*/ 12933 w 25999"/>
                      <a:gd name="connsiteY7" fmla="*/ 26242 h 2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99" h="26241">
                        <a:moveTo>
                          <a:pt x="12933" y="26242"/>
                        </a:moveTo>
                        <a:cubicBezTo>
                          <a:pt x="11575" y="26242"/>
                          <a:pt x="10181" y="26022"/>
                          <a:pt x="8823" y="25581"/>
                        </a:cubicBezTo>
                        <a:cubicBezTo>
                          <a:pt x="2069" y="23306"/>
                          <a:pt x="-1601" y="16002"/>
                          <a:pt x="675" y="9212"/>
                        </a:cubicBezTo>
                        <a:lnTo>
                          <a:pt x="785" y="8845"/>
                        </a:lnTo>
                        <a:cubicBezTo>
                          <a:pt x="3060" y="2055"/>
                          <a:pt x="10364" y="-1578"/>
                          <a:pt x="17154" y="660"/>
                        </a:cubicBezTo>
                        <a:cubicBezTo>
                          <a:pt x="23944" y="2936"/>
                          <a:pt x="27578" y="10240"/>
                          <a:pt x="25339" y="17030"/>
                        </a:cubicBezTo>
                        <a:lnTo>
                          <a:pt x="25229" y="17397"/>
                        </a:lnTo>
                        <a:cubicBezTo>
                          <a:pt x="23357" y="22829"/>
                          <a:pt x="18329" y="26242"/>
                          <a:pt x="12933" y="26242"/>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34" name="Graphic 174">
                  <a:extLst>
                    <a:ext uri="{FF2B5EF4-FFF2-40B4-BE49-F238E27FC236}">
                      <a16:creationId xmlns:a16="http://schemas.microsoft.com/office/drawing/2014/main" id="{66D04E05-6F71-93DD-1828-5FF235F82811}"/>
                    </a:ext>
                  </a:extLst>
                </p:cNvPr>
                <p:cNvGrpSpPr/>
                <p:nvPr/>
              </p:nvGrpSpPr>
              <p:grpSpPr>
                <a:xfrm>
                  <a:off x="2106200" y="3011464"/>
                  <a:ext cx="214336" cy="205350"/>
                  <a:chOff x="2106200" y="3011464"/>
                  <a:chExt cx="214336" cy="205350"/>
                </a:xfrm>
                <a:solidFill>
                  <a:srgbClr val="10161E"/>
                </a:solidFill>
              </p:grpSpPr>
              <p:sp>
                <p:nvSpPr>
                  <p:cNvPr id="1561" name="Graphic 174">
                    <a:extLst>
                      <a:ext uri="{FF2B5EF4-FFF2-40B4-BE49-F238E27FC236}">
                        <a16:creationId xmlns:a16="http://schemas.microsoft.com/office/drawing/2014/main" id="{B7C58B5B-92DD-2F93-A237-7AA209019757}"/>
                      </a:ext>
                    </a:extLst>
                  </p:cNvPr>
                  <p:cNvSpPr/>
                  <p:nvPr/>
                </p:nvSpPr>
                <p:spPr>
                  <a:xfrm>
                    <a:off x="2294338" y="3014253"/>
                    <a:ext cx="26198" cy="25949"/>
                  </a:xfrm>
                  <a:custGeom>
                    <a:avLst/>
                    <a:gdLst>
                      <a:gd name="connsiteX0" fmla="*/ 13324 w 26198"/>
                      <a:gd name="connsiteY0" fmla="*/ 25950 h 25949"/>
                      <a:gd name="connsiteX1" fmla="*/ 10461 w 26198"/>
                      <a:gd name="connsiteY1" fmla="*/ 25619 h 25949"/>
                      <a:gd name="connsiteX2" fmla="*/ 10168 w 26198"/>
                      <a:gd name="connsiteY2" fmla="*/ 25546 h 25949"/>
                      <a:gd name="connsiteX3" fmla="*/ 295 w 26198"/>
                      <a:gd name="connsiteY3" fmla="*/ 10168 h 25949"/>
                      <a:gd name="connsiteX4" fmla="*/ 15673 w 26198"/>
                      <a:gd name="connsiteY4" fmla="*/ 295 h 25949"/>
                      <a:gd name="connsiteX5" fmla="*/ 16113 w 26198"/>
                      <a:gd name="connsiteY5" fmla="*/ 405 h 25949"/>
                      <a:gd name="connsiteX6" fmla="*/ 25876 w 26198"/>
                      <a:gd name="connsiteY6" fmla="*/ 15857 h 25949"/>
                      <a:gd name="connsiteX7" fmla="*/ 13324 w 26198"/>
                      <a:gd name="connsiteY7" fmla="*/ 25950 h 2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98" h="25949">
                        <a:moveTo>
                          <a:pt x="13324" y="25950"/>
                        </a:moveTo>
                        <a:cubicBezTo>
                          <a:pt x="12370" y="25950"/>
                          <a:pt x="11416" y="25840"/>
                          <a:pt x="10461" y="25619"/>
                        </a:cubicBezTo>
                        <a:lnTo>
                          <a:pt x="10168" y="25546"/>
                        </a:lnTo>
                        <a:cubicBezTo>
                          <a:pt x="3194" y="24004"/>
                          <a:pt x="-1210" y="17141"/>
                          <a:pt x="295" y="10168"/>
                        </a:cubicBezTo>
                        <a:cubicBezTo>
                          <a:pt x="1836" y="3194"/>
                          <a:pt x="8736" y="-1210"/>
                          <a:pt x="15673" y="295"/>
                        </a:cubicBezTo>
                        <a:lnTo>
                          <a:pt x="16113" y="405"/>
                        </a:lnTo>
                        <a:cubicBezTo>
                          <a:pt x="23087" y="1983"/>
                          <a:pt x="27455" y="8883"/>
                          <a:pt x="25876" y="15857"/>
                        </a:cubicBezTo>
                        <a:cubicBezTo>
                          <a:pt x="24592" y="21876"/>
                          <a:pt x="19233" y="25950"/>
                          <a:pt x="13324" y="25950"/>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62" name="Graphic 174">
                    <a:extLst>
                      <a:ext uri="{FF2B5EF4-FFF2-40B4-BE49-F238E27FC236}">
                        <a16:creationId xmlns:a16="http://schemas.microsoft.com/office/drawing/2014/main" id="{C76E5B39-4207-98DC-ECB4-AD5FD2C46648}"/>
                      </a:ext>
                    </a:extLst>
                  </p:cNvPr>
                  <p:cNvSpPr/>
                  <p:nvPr/>
                </p:nvSpPr>
                <p:spPr>
                  <a:xfrm>
                    <a:off x="2106200" y="3011464"/>
                    <a:ext cx="198423" cy="189091"/>
                  </a:xfrm>
                  <a:custGeom>
                    <a:avLst/>
                    <a:gdLst>
                      <a:gd name="connsiteX0" fmla="*/ 12921 w 198423"/>
                      <a:gd name="connsiteY0" fmla="*/ 189092 h 189091"/>
                      <a:gd name="connsiteX1" fmla="*/ 12701 w 198423"/>
                      <a:gd name="connsiteY1" fmla="*/ 189092 h 189091"/>
                      <a:gd name="connsiteX2" fmla="*/ 2 w 198423"/>
                      <a:gd name="connsiteY2" fmla="*/ 175953 h 189091"/>
                      <a:gd name="connsiteX3" fmla="*/ 2 w 198423"/>
                      <a:gd name="connsiteY3" fmla="*/ 175108 h 189091"/>
                      <a:gd name="connsiteX4" fmla="*/ 3268 w 198423"/>
                      <a:gd name="connsiteY4" fmla="*/ 166777 h 189091"/>
                      <a:gd name="connsiteX5" fmla="*/ 1139 w 198423"/>
                      <a:gd name="connsiteY5" fmla="*/ 158115 h 189091"/>
                      <a:gd name="connsiteX6" fmla="*/ 1249 w 198423"/>
                      <a:gd name="connsiteY6" fmla="*/ 157271 h 189091"/>
                      <a:gd name="connsiteX7" fmla="*/ 5250 w 198423"/>
                      <a:gd name="connsiteY7" fmla="*/ 149307 h 189091"/>
                      <a:gd name="connsiteX8" fmla="*/ 3892 w 198423"/>
                      <a:gd name="connsiteY8" fmla="*/ 140498 h 189091"/>
                      <a:gd name="connsiteX9" fmla="*/ 4076 w 198423"/>
                      <a:gd name="connsiteY9" fmla="*/ 139690 h 189091"/>
                      <a:gd name="connsiteX10" fmla="*/ 8773 w 198423"/>
                      <a:gd name="connsiteY10" fmla="*/ 132130 h 189091"/>
                      <a:gd name="connsiteX11" fmla="*/ 8223 w 198423"/>
                      <a:gd name="connsiteY11" fmla="*/ 123248 h 189091"/>
                      <a:gd name="connsiteX12" fmla="*/ 8480 w 198423"/>
                      <a:gd name="connsiteY12" fmla="*/ 122404 h 189091"/>
                      <a:gd name="connsiteX13" fmla="*/ 13875 w 198423"/>
                      <a:gd name="connsiteY13" fmla="*/ 115283 h 189091"/>
                      <a:gd name="connsiteX14" fmla="*/ 14132 w 198423"/>
                      <a:gd name="connsiteY14" fmla="*/ 106365 h 189091"/>
                      <a:gd name="connsiteX15" fmla="*/ 14462 w 198423"/>
                      <a:gd name="connsiteY15" fmla="*/ 105557 h 189091"/>
                      <a:gd name="connsiteX16" fmla="*/ 20518 w 198423"/>
                      <a:gd name="connsiteY16" fmla="*/ 98951 h 189091"/>
                      <a:gd name="connsiteX17" fmla="*/ 21693 w 198423"/>
                      <a:gd name="connsiteY17" fmla="*/ 90032 h 189091"/>
                      <a:gd name="connsiteX18" fmla="*/ 22096 w 198423"/>
                      <a:gd name="connsiteY18" fmla="*/ 89298 h 189091"/>
                      <a:gd name="connsiteX19" fmla="*/ 28776 w 198423"/>
                      <a:gd name="connsiteY19" fmla="*/ 83315 h 189091"/>
                      <a:gd name="connsiteX20" fmla="*/ 30795 w 198423"/>
                      <a:gd name="connsiteY20" fmla="*/ 74580 h 189091"/>
                      <a:gd name="connsiteX21" fmla="*/ 31272 w 198423"/>
                      <a:gd name="connsiteY21" fmla="*/ 73846 h 189091"/>
                      <a:gd name="connsiteX22" fmla="*/ 38539 w 198423"/>
                      <a:gd name="connsiteY22" fmla="*/ 68598 h 189091"/>
                      <a:gd name="connsiteX23" fmla="*/ 41475 w 198423"/>
                      <a:gd name="connsiteY23" fmla="*/ 60083 h 189091"/>
                      <a:gd name="connsiteX24" fmla="*/ 42026 w 198423"/>
                      <a:gd name="connsiteY24" fmla="*/ 59422 h 189091"/>
                      <a:gd name="connsiteX25" fmla="*/ 49807 w 198423"/>
                      <a:gd name="connsiteY25" fmla="*/ 54944 h 189091"/>
                      <a:gd name="connsiteX26" fmla="*/ 53624 w 198423"/>
                      <a:gd name="connsiteY26" fmla="*/ 46797 h 189091"/>
                      <a:gd name="connsiteX27" fmla="*/ 54248 w 198423"/>
                      <a:gd name="connsiteY27" fmla="*/ 46173 h 189091"/>
                      <a:gd name="connsiteX28" fmla="*/ 62469 w 198423"/>
                      <a:gd name="connsiteY28" fmla="*/ 42539 h 189091"/>
                      <a:gd name="connsiteX29" fmla="*/ 67130 w 198423"/>
                      <a:gd name="connsiteY29" fmla="*/ 34832 h 189091"/>
                      <a:gd name="connsiteX30" fmla="*/ 67828 w 198423"/>
                      <a:gd name="connsiteY30" fmla="*/ 34281 h 189091"/>
                      <a:gd name="connsiteX31" fmla="*/ 76453 w 198423"/>
                      <a:gd name="connsiteY31" fmla="*/ 31565 h 189091"/>
                      <a:gd name="connsiteX32" fmla="*/ 81995 w 198423"/>
                      <a:gd name="connsiteY32" fmla="*/ 24408 h 189091"/>
                      <a:gd name="connsiteX33" fmla="*/ 82729 w 198423"/>
                      <a:gd name="connsiteY33" fmla="*/ 23968 h 189091"/>
                      <a:gd name="connsiteX34" fmla="*/ 91611 w 198423"/>
                      <a:gd name="connsiteY34" fmla="*/ 22243 h 189091"/>
                      <a:gd name="connsiteX35" fmla="*/ 97960 w 198423"/>
                      <a:gd name="connsiteY35" fmla="*/ 15746 h 189091"/>
                      <a:gd name="connsiteX36" fmla="*/ 98731 w 198423"/>
                      <a:gd name="connsiteY36" fmla="*/ 15379 h 189091"/>
                      <a:gd name="connsiteX37" fmla="*/ 107760 w 198423"/>
                      <a:gd name="connsiteY37" fmla="*/ 14682 h 189091"/>
                      <a:gd name="connsiteX38" fmla="*/ 114770 w 198423"/>
                      <a:gd name="connsiteY38" fmla="*/ 8993 h 189091"/>
                      <a:gd name="connsiteX39" fmla="*/ 115614 w 198423"/>
                      <a:gd name="connsiteY39" fmla="*/ 8699 h 189091"/>
                      <a:gd name="connsiteX40" fmla="*/ 124606 w 198423"/>
                      <a:gd name="connsiteY40" fmla="*/ 9030 h 189091"/>
                      <a:gd name="connsiteX41" fmla="*/ 132167 w 198423"/>
                      <a:gd name="connsiteY41" fmla="*/ 4148 h 189091"/>
                      <a:gd name="connsiteX42" fmla="*/ 133011 w 198423"/>
                      <a:gd name="connsiteY42" fmla="*/ 3965 h 189091"/>
                      <a:gd name="connsiteX43" fmla="*/ 141893 w 198423"/>
                      <a:gd name="connsiteY43" fmla="*/ 5249 h 189091"/>
                      <a:gd name="connsiteX44" fmla="*/ 149895 w 198423"/>
                      <a:gd name="connsiteY44" fmla="*/ 1175 h 189091"/>
                      <a:gd name="connsiteX45" fmla="*/ 150775 w 198423"/>
                      <a:gd name="connsiteY45" fmla="*/ 1065 h 189091"/>
                      <a:gd name="connsiteX46" fmla="*/ 159474 w 198423"/>
                      <a:gd name="connsiteY46" fmla="*/ 3231 h 189091"/>
                      <a:gd name="connsiteX47" fmla="*/ 167805 w 198423"/>
                      <a:gd name="connsiteY47" fmla="*/ 1 h 189091"/>
                      <a:gd name="connsiteX48" fmla="*/ 168649 w 198423"/>
                      <a:gd name="connsiteY48" fmla="*/ 1 h 189091"/>
                      <a:gd name="connsiteX49" fmla="*/ 177091 w 198423"/>
                      <a:gd name="connsiteY49" fmla="*/ 3010 h 189091"/>
                      <a:gd name="connsiteX50" fmla="*/ 185753 w 198423"/>
                      <a:gd name="connsiteY50" fmla="*/ 588 h 189091"/>
                      <a:gd name="connsiteX51" fmla="*/ 186597 w 198423"/>
                      <a:gd name="connsiteY51" fmla="*/ 662 h 189091"/>
                      <a:gd name="connsiteX52" fmla="*/ 198378 w 198423"/>
                      <a:gd name="connsiteY52" fmla="*/ 14645 h 189091"/>
                      <a:gd name="connsiteX53" fmla="*/ 184395 w 198423"/>
                      <a:gd name="connsiteY53" fmla="*/ 26427 h 189091"/>
                      <a:gd name="connsiteX54" fmla="*/ 183661 w 198423"/>
                      <a:gd name="connsiteY54" fmla="*/ 26353 h 189091"/>
                      <a:gd name="connsiteX55" fmla="*/ 176467 w 198423"/>
                      <a:gd name="connsiteY55" fmla="*/ 23417 h 189091"/>
                      <a:gd name="connsiteX56" fmla="*/ 169053 w 198423"/>
                      <a:gd name="connsiteY56" fmla="*/ 25876 h 189091"/>
                      <a:gd name="connsiteX57" fmla="*/ 168319 w 198423"/>
                      <a:gd name="connsiteY57" fmla="*/ 25876 h 189091"/>
                      <a:gd name="connsiteX58" fmla="*/ 160832 w 198423"/>
                      <a:gd name="connsiteY58" fmla="*/ 23637 h 189091"/>
                      <a:gd name="connsiteX59" fmla="*/ 153675 w 198423"/>
                      <a:gd name="connsiteY59" fmla="*/ 26794 h 189091"/>
                      <a:gd name="connsiteX60" fmla="*/ 152977 w 198423"/>
                      <a:gd name="connsiteY60" fmla="*/ 26867 h 189091"/>
                      <a:gd name="connsiteX61" fmla="*/ 145307 w 198423"/>
                      <a:gd name="connsiteY61" fmla="*/ 25399 h 189091"/>
                      <a:gd name="connsiteX62" fmla="*/ 138553 w 198423"/>
                      <a:gd name="connsiteY62" fmla="*/ 29253 h 189091"/>
                      <a:gd name="connsiteX63" fmla="*/ 137856 w 198423"/>
                      <a:gd name="connsiteY63" fmla="*/ 29400 h 189091"/>
                      <a:gd name="connsiteX64" fmla="*/ 130112 w 198423"/>
                      <a:gd name="connsiteY64" fmla="*/ 28739 h 189091"/>
                      <a:gd name="connsiteX65" fmla="*/ 123836 w 198423"/>
                      <a:gd name="connsiteY65" fmla="*/ 33290 h 189091"/>
                      <a:gd name="connsiteX66" fmla="*/ 123175 w 198423"/>
                      <a:gd name="connsiteY66" fmla="*/ 33510 h 189091"/>
                      <a:gd name="connsiteX67" fmla="*/ 115431 w 198423"/>
                      <a:gd name="connsiteY67" fmla="*/ 33694 h 189091"/>
                      <a:gd name="connsiteX68" fmla="*/ 109742 w 198423"/>
                      <a:gd name="connsiteY68" fmla="*/ 38869 h 189091"/>
                      <a:gd name="connsiteX69" fmla="*/ 109045 w 198423"/>
                      <a:gd name="connsiteY69" fmla="*/ 39199 h 189091"/>
                      <a:gd name="connsiteX70" fmla="*/ 101411 w 198423"/>
                      <a:gd name="connsiteY70" fmla="*/ 40263 h 189091"/>
                      <a:gd name="connsiteX71" fmla="*/ 96309 w 198423"/>
                      <a:gd name="connsiteY71" fmla="*/ 46062 h 189091"/>
                      <a:gd name="connsiteX72" fmla="*/ 95685 w 198423"/>
                      <a:gd name="connsiteY72" fmla="*/ 46429 h 189091"/>
                      <a:gd name="connsiteX73" fmla="*/ 88234 w 198423"/>
                      <a:gd name="connsiteY73" fmla="*/ 48338 h 189091"/>
                      <a:gd name="connsiteX74" fmla="*/ 83830 w 198423"/>
                      <a:gd name="connsiteY74" fmla="*/ 54688 h 189091"/>
                      <a:gd name="connsiteX75" fmla="*/ 83279 w 198423"/>
                      <a:gd name="connsiteY75" fmla="*/ 55128 h 189091"/>
                      <a:gd name="connsiteX76" fmla="*/ 76049 w 198423"/>
                      <a:gd name="connsiteY76" fmla="*/ 57881 h 189091"/>
                      <a:gd name="connsiteX77" fmla="*/ 72379 w 198423"/>
                      <a:gd name="connsiteY77" fmla="*/ 64707 h 189091"/>
                      <a:gd name="connsiteX78" fmla="*/ 71865 w 198423"/>
                      <a:gd name="connsiteY78" fmla="*/ 65221 h 189091"/>
                      <a:gd name="connsiteX79" fmla="*/ 64928 w 198423"/>
                      <a:gd name="connsiteY79" fmla="*/ 68781 h 189091"/>
                      <a:gd name="connsiteX80" fmla="*/ 61992 w 198423"/>
                      <a:gd name="connsiteY80" fmla="*/ 75975 h 189091"/>
                      <a:gd name="connsiteX81" fmla="*/ 61515 w 198423"/>
                      <a:gd name="connsiteY81" fmla="*/ 76562 h 189091"/>
                      <a:gd name="connsiteX82" fmla="*/ 55019 w 198423"/>
                      <a:gd name="connsiteY82" fmla="*/ 80783 h 189091"/>
                      <a:gd name="connsiteX83" fmla="*/ 52853 w 198423"/>
                      <a:gd name="connsiteY83" fmla="*/ 88270 h 189091"/>
                      <a:gd name="connsiteX84" fmla="*/ 52449 w 198423"/>
                      <a:gd name="connsiteY84" fmla="*/ 88858 h 189091"/>
                      <a:gd name="connsiteX85" fmla="*/ 46393 w 198423"/>
                      <a:gd name="connsiteY85" fmla="*/ 93776 h 189091"/>
                      <a:gd name="connsiteX86" fmla="*/ 44999 w 198423"/>
                      <a:gd name="connsiteY86" fmla="*/ 101446 h 189091"/>
                      <a:gd name="connsiteX87" fmla="*/ 44632 w 198423"/>
                      <a:gd name="connsiteY87" fmla="*/ 102107 h 189091"/>
                      <a:gd name="connsiteX88" fmla="*/ 39090 w 198423"/>
                      <a:gd name="connsiteY88" fmla="*/ 107576 h 189091"/>
                      <a:gd name="connsiteX89" fmla="*/ 38466 w 198423"/>
                      <a:gd name="connsiteY89" fmla="*/ 115357 h 189091"/>
                      <a:gd name="connsiteX90" fmla="*/ 38209 w 198423"/>
                      <a:gd name="connsiteY90" fmla="*/ 116017 h 189091"/>
                      <a:gd name="connsiteX91" fmla="*/ 33217 w 198423"/>
                      <a:gd name="connsiteY91" fmla="*/ 122073 h 189091"/>
                      <a:gd name="connsiteX92" fmla="*/ 33327 w 198423"/>
                      <a:gd name="connsiteY92" fmla="*/ 129928 h 189091"/>
                      <a:gd name="connsiteX93" fmla="*/ 33107 w 198423"/>
                      <a:gd name="connsiteY93" fmla="*/ 130625 h 189091"/>
                      <a:gd name="connsiteX94" fmla="*/ 28666 w 198423"/>
                      <a:gd name="connsiteY94" fmla="*/ 137121 h 189091"/>
                      <a:gd name="connsiteX95" fmla="*/ 29510 w 198423"/>
                      <a:gd name="connsiteY95" fmla="*/ 144939 h 189091"/>
                      <a:gd name="connsiteX96" fmla="*/ 29364 w 198423"/>
                      <a:gd name="connsiteY96" fmla="*/ 145673 h 189091"/>
                      <a:gd name="connsiteX97" fmla="*/ 25546 w 198423"/>
                      <a:gd name="connsiteY97" fmla="*/ 152536 h 189091"/>
                      <a:gd name="connsiteX98" fmla="*/ 27088 w 198423"/>
                      <a:gd name="connsiteY98" fmla="*/ 160244 h 189091"/>
                      <a:gd name="connsiteX99" fmla="*/ 27015 w 198423"/>
                      <a:gd name="connsiteY99" fmla="*/ 160978 h 189091"/>
                      <a:gd name="connsiteX100" fmla="*/ 23821 w 198423"/>
                      <a:gd name="connsiteY100" fmla="*/ 168172 h 189091"/>
                      <a:gd name="connsiteX101" fmla="*/ 26024 w 198423"/>
                      <a:gd name="connsiteY101" fmla="*/ 175696 h 189091"/>
                      <a:gd name="connsiteX102" fmla="*/ 26024 w 198423"/>
                      <a:gd name="connsiteY102" fmla="*/ 176430 h 189091"/>
                      <a:gd name="connsiteX103" fmla="*/ 12921 w 198423"/>
                      <a:gd name="connsiteY103" fmla="*/ 189092 h 18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98423" h="189091">
                        <a:moveTo>
                          <a:pt x="12921" y="189092"/>
                        </a:moveTo>
                        <a:cubicBezTo>
                          <a:pt x="12847" y="189092"/>
                          <a:pt x="12774" y="189092"/>
                          <a:pt x="12701" y="189092"/>
                        </a:cubicBezTo>
                        <a:cubicBezTo>
                          <a:pt x="5580" y="188982"/>
                          <a:pt x="-109" y="183073"/>
                          <a:pt x="2" y="175953"/>
                        </a:cubicBezTo>
                        <a:lnTo>
                          <a:pt x="2" y="175108"/>
                        </a:lnTo>
                        <a:cubicBezTo>
                          <a:pt x="75" y="171915"/>
                          <a:pt x="1286" y="169016"/>
                          <a:pt x="3268" y="166777"/>
                        </a:cubicBezTo>
                        <a:cubicBezTo>
                          <a:pt x="1616" y="164318"/>
                          <a:pt x="772" y="161272"/>
                          <a:pt x="1139" y="158115"/>
                        </a:cubicBezTo>
                        <a:lnTo>
                          <a:pt x="1249" y="157271"/>
                        </a:lnTo>
                        <a:cubicBezTo>
                          <a:pt x="1616" y="154115"/>
                          <a:pt x="3085" y="151325"/>
                          <a:pt x="5250" y="149307"/>
                        </a:cubicBezTo>
                        <a:cubicBezTo>
                          <a:pt x="3819" y="146701"/>
                          <a:pt x="3268" y="143618"/>
                          <a:pt x="3892" y="140498"/>
                        </a:cubicBezTo>
                        <a:lnTo>
                          <a:pt x="4076" y="139690"/>
                        </a:lnTo>
                        <a:cubicBezTo>
                          <a:pt x="4736" y="136571"/>
                          <a:pt x="6425" y="133928"/>
                          <a:pt x="8773" y="132130"/>
                        </a:cubicBezTo>
                        <a:cubicBezTo>
                          <a:pt x="7599" y="129414"/>
                          <a:pt x="7305" y="126294"/>
                          <a:pt x="8223" y="123248"/>
                        </a:cubicBezTo>
                        <a:lnTo>
                          <a:pt x="8480" y="122404"/>
                        </a:lnTo>
                        <a:cubicBezTo>
                          <a:pt x="9397" y="119357"/>
                          <a:pt x="11379" y="116898"/>
                          <a:pt x="13875" y="115283"/>
                        </a:cubicBezTo>
                        <a:cubicBezTo>
                          <a:pt x="12921" y="112457"/>
                          <a:pt x="12958" y="109338"/>
                          <a:pt x="14132" y="106365"/>
                        </a:cubicBezTo>
                        <a:lnTo>
                          <a:pt x="14462" y="105557"/>
                        </a:lnTo>
                        <a:cubicBezTo>
                          <a:pt x="15674" y="102584"/>
                          <a:pt x="17876" y="100309"/>
                          <a:pt x="20518" y="98951"/>
                        </a:cubicBezTo>
                        <a:cubicBezTo>
                          <a:pt x="19858" y="96051"/>
                          <a:pt x="20188" y="92895"/>
                          <a:pt x="21693" y="90032"/>
                        </a:cubicBezTo>
                        <a:lnTo>
                          <a:pt x="22096" y="89298"/>
                        </a:lnTo>
                        <a:cubicBezTo>
                          <a:pt x="23601" y="86472"/>
                          <a:pt x="26024" y="84417"/>
                          <a:pt x="28776" y="83315"/>
                        </a:cubicBezTo>
                        <a:cubicBezTo>
                          <a:pt x="28409" y="80379"/>
                          <a:pt x="29033" y="77260"/>
                          <a:pt x="30795" y="74580"/>
                        </a:cubicBezTo>
                        <a:lnTo>
                          <a:pt x="31272" y="73846"/>
                        </a:lnTo>
                        <a:cubicBezTo>
                          <a:pt x="33070" y="71167"/>
                          <a:pt x="35676" y="69369"/>
                          <a:pt x="38539" y="68598"/>
                        </a:cubicBezTo>
                        <a:cubicBezTo>
                          <a:pt x="38466" y="65625"/>
                          <a:pt x="39420" y="62579"/>
                          <a:pt x="41475" y="60083"/>
                        </a:cubicBezTo>
                        <a:lnTo>
                          <a:pt x="42026" y="59422"/>
                        </a:lnTo>
                        <a:cubicBezTo>
                          <a:pt x="44081" y="56926"/>
                          <a:pt x="46871" y="55422"/>
                          <a:pt x="49807" y="54944"/>
                        </a:cubicBezTo>
                        <a:cubicBezTo>
                          <a:pt x="50064" y="51972"/>
                          <a:pt x="51312" y="49072"/>
                          <a:pt x="53624" y="46797"/>
                        </a:cubicBezTo>
                        <a:lnTo>
                          <a:pt x="54248" y="46173"/>
                        </a:lnTo>
                        <a:cubicBezTo>
                          <a:pt x="56560" y="43934"/>
                          <a:pt x="59496" y="42723"/>
                          <a:pt x="62469" y="42539"/>
                        </a:cubicBezTo>
                        <a:cubicBezTo>
                          <a:pt x="63020" y="39603"/>
                          <a:pt x="64598" y="36850"/>
                          <a:pt x="67130" y="34832"/>
                        </a:cubicBezTo>
                        <a:lnTo>
                          <a:pt x="67828" y="34281"/>
                        </a:lnTo>
                        <a:cubicBezTo>
                          <a:pt x="70397" y="32299"/>
                          <a:pt x="73443" y="31418"/>
                          <a:pt x="76453" y="31565"/>
                        </a:cubicBezTo>
                        <a:cubicBezTo>
                          <a:pt x="77334" y="28702"/>
                          <a:pt x="79242" y="26096"/>
                          <a:pt x="81995" y="24408"/>
                        </a:cubicBezTo>
                        <a:lnTo>
                          <a:pt x="82729" y="23968"/>
                        </a:lnTo>
                        <a:cubicBezTo>
                          <a:pt x="85482" y="22279"/>
                          <a:pt x="88638" y="21765"/>
                          <a:pt x="91611" y="22243"/>
                        </a:cubicBezTo>
                        <a:cubicBezTo>
                          <a:pt x="92822" y="19490"/>
                          <a:pt x="95024" y="17141"/>
                          <a:pt x="97960" y="15746"/>
                        </a:cubicBezTo>
                        <a:lnTo>
                          <a:pt x="98731" y="15379"/>
                        </a:lnTo>
                        <a:cubicBezTo>
                          <a:pt x="101667" y="14021"/>
                          <a:pt x="104861" y="13838"/>
                          <a:pt x="107760" y="14682"/>
                        </a:cubicBezTo>
                        <a:cubicBezTo>
                          <a:pt x="109265" y="12113"/>
                          <a:pt x="111687" y="10021"/>
                          <a:pt x="114770" y="8993"/>
                        </a:cubicBezTo>
                        <a:lnTo>
                          <a:pt x="115614" y="8699"/>
                        </a:lnTo>
                        <a:cubicBezTo>
                          <a:pt x="118661" y="7672"/>
                          <a:pt x="121854" y="7855"/>
                          <a:pt x="124606" y="9030"/>
                        </a:cubicBezTo>
                        <a:cubicBezTo>
                          <a:pt x="126405" y="6644"/>
                          <a:pt x="129011" y="4846"/>
                          <a:pt x="132167" y="4148"/>
                        </a:cubicBezTo>
                        <a:lnTo>
                          <a:pt x="133011" y="3965"/>
                        </a:lnTo>
                        <a:cubicBezTo>
                          <a:pt x="136168" y="3267"/>
                          <a:pt x="139287" y="3818"/>
                          <a:pt x="141893" y="5249"/>
                        </a:cubicBezTo>
                        <a:cubicBezTo>
                          <a:pt x="143912" y="3047"/>
                          <a:pt x="146701" y="1542"/>
                          <a:pt x="149895" y="1175"/>
                        </a:cubicBezTo>
                        <a:lnTo>
                          <a:pt x="150775" y="1065"/>
                        </a:lnTo>
                        <a:cubicBezTo>
                          <a:pt x="153968" y="698"/>
                          <a:pt x="157015" y="1542"/>
                          <a:pt x="159474" y="3231"/>
                        </a:cubicBezTo>
                        <a:cubicBezTo>
                          <a:pt x="161713" y="1249"/>
                          <a:pt x="164612" y="38"/>
                          <a:pt x="167805" y="1"/>
                        </a:cubicBezTo>
                        <a:lnTo>
                          <a:pt x="168649" y="1"/>
                        </a:lnTo>
                        <a:cubicBezTo>
                          <a:pt x="171843" y="-36"/>
                          <a:pt x="174815" y="1102"/>
                          <a:pt x="177091" y="3010"/>
                        </a:cubicBezTo>
                        <a:cubicBezTo>
                          <a:pt x="179513" y="1249"/>
                          <a:pt x="182523" y="331"/>
                          <a:pt x="185753" y="588"/>
                        </a:cubicBezTo>
                        <a:lnTo>
                          <a:pt x="186597" y="662"/>
                        </a:lnTo>
                        <a:cubicBezTo>
                          <a:pt x="193717" y="1285"/>
                          <a:pt x="198966" y="7525"/>
                          <a:pt x="198378" y="14645"/>
                        </a:cubicBezTo>
                        <a:cubicBezTo>
                          <a:pt x="197755" y="21765"/>
                          <a:pt x="191515" y="27014"/>
                          <a:pt x="184395" y="26427"/>
                        </a:cubicBezTo>
                        <a:lnTo>
                          <a:pt x="183661" y="26353"/>
                        </a:lnTo>
                        <a:cubicBezTo>
                          <a:pt x="180908" y="26133"/>
                          <a:pt x="178412" y="25032"/>
                          <a:pt x="176467" y="23417"/>
                        </a:cubicBezTo>
                        <a:cubicBezTo>
                          <a:pt x="174375" y="24922"/>
                          <a:pt x="171843" y="25839"/>
                          <a:pt x="169053" y="25876"/>
                        </a:cubicBezTo>
                        <a:lnTo>
                          <a:pt x="168319" y="25876"/>
                        </a:lnTo>
                        <a:cubicBezTo>
                          <a:pt x="165530" y="25913"/>
                          <a:pt x="162961" y="25105"/>
                          <a:pt x="160832" y="23637"/>
                        </a:cubicBezTo>
                        <a:cubicBezTo>
                          <a:pt x="158887" y="25362"/>
                          <a:pt x="156428" y="26500"/>
                          <a:pt x="153675" y="26794"/>
                        </a:cubicBezTo>
                        <a:lnTo>
                          <a:pt x="152977" y="26867"/>
                        </a:lnTo>
                        <a:cubicBezTo>
                          <a:pt x="150225" y="27197"/>
                          <a:pt x="147582" y="26610"/>
                          <a:pt x="145307" y="25399"/>
                        </a:cubicBezTo>
                        <a:cubicBezTo>
                          <a:pt x="143582" y="27271"/>
                          <a:pt x="141233" y="28665"/>
                          <a:pt x="138553" y="29253"/>
                        </a:cubicBezTo>
                        <a:lnTo>
                          <a:pt x="137856" y="29400"/>
                        </a:lnTo>
                        <a:cubicBezTo>
                          <a:pt x="135177" y="29987"/>
                          <a:pt x="132498" y="29730"/>
                          <a:pt x="130112" y="28739"/>
                        </a:cubicBezTo>
                        <a:cubicBezTo>
                          <a:pt x="128570" y="30794"/>
                          <a:pt x="126442" y="32409"/>
                          <a:pt x="123836" y="33290"/>
                        </a:cubicBezTo>
                        <a:lnTo>
                          <a:pt x="123175" y="33510"/>
                        </a:lnTo>
                        <a:cubicBezTo>
                          <a:pt x="120569" y="34391"/>
                          <a:pt x="117890" y="34391"/>
                          <a:pt x="115431" y="33694"/>
                        </a:cubicBezTo>
                        <a:cubicBezTo>
                          <a:pt x="114146" y="35896"/>
                          <a:pt x="112201" y="37731"/>
                          <a:pt x="109742" y="38869"/>
                        </a:cubicBezTo>
                        <a:lnTo>
                          <a:pt x="109045" y="39199"/>
                        </a:lnTo>
                        <a:cubicBezTo>
                          <a:pt x="106586" y="40374"/>
                          <a:pt x="103906" y="40667"/>
                          <a:pt x="101411" y="40263"/>
                        </a:cubicBezTo>
                        <a:cubicBezTo>
                          <a:pt x="100383" y="42576"/>
                          <a:pt x="98658" y="44631"/>
                          <a:pt x="96309" y="46062"/>
                        </a:cubicBezTo>
                        <a:lnTo>
                          <a:pt x="95685" y="46429"/>
                        </a:lnTo>
                        <a:cubicBezTo>
                          <a:pt x="93373" y="47861"/>
                          <a:pt x="90767" y="48485"/>
                          <a:pt x="88234" y="48338"/>
                        </a:cubicBezTo>
                        <a:cubicBezTo>
                          <a:pt x="87464" y="50760"/>
                          <a:pt x="85995" y="52999"/>
                          <a:pt x="83830" y="54688"/>
                        </a:cubicBezTo>
                        <a:lnTo>
                          <a:pt x="83279" y="55128"/>
                        </a:lnTo>
                        <a:cubicBezTo>
                          <a:pt x="81114" y="56816"/>
                          <a:pt x="78582" y="57734"/>
                          <a:pt x="76049" y="57881"/>
                        </a:cubicBezTo>
                        <a:cubicBezTo>
                          <a:pt x="75572" y="60376"/>
                          <a:pt x="74361" y="62799"/>
                          <a:pt x="72379" y="64707"/>
                        </a:cubicBezTo>
                        <a:lnTo>
                          <a:pt x="71865" y="65221"/>
                        </a:lnTo>
                        <a:cubicBezTo>
                          <a:pt x="69920" y="67166"/>
                          <a:pt x="67461" y="68341"/>
                          <a:pt x="64928" y="68781"/>
                        </a:cubicBezTo>
                        <a:cubicBezTo>
                          <a:pt x="64708" y="71350"/>
                          <a:pt x="63754" y="73846"/>
                          <a:pt x="61992" y="75975"/>
                        </a:cubicBezTo>
                        <a:lnTo>
                          <a:pt x="61515" y="76562"/>
                        </a:lnTo>
                        <a:cubicBezTo>
                          <a:pt x="59753" y="78691"/>
                          <a:pt x="57478" y="80122"/>
                          <a:pt x="55019" y="80783"/>
                        </a:cubicBezTo>
                        <a:cubicBezTo>
                          <a:pt x="55092" y="83352"/>
                          <a:pt x="54358" y="85958"/>
                          <a:pt x="52853" y="88270"/>
                        </a:cubicBezTo>
                        <a:lnTo>
                          <a:pt x="52449" y="88858"/>
                        </a:lnTo>
                        <a:cubicBezTo>
                          <a:pt x="50908" y="91170"/>
                          <a:pt x="48779" y="92821"/>
                          <a:pt x="46393" y="93776"/>
                        </a:cubicBezTo>
                        <a:cubicBezTo>
                          <a:pt x="46724" y="96308"/>
                          <a:pt x="46283" y="98987"/>
                          <a:pt x="44999" y="101446"/>
                        </a:cubicBezTo>
                        <a:lnTo>
                          <a:pt x="44632" y="102107"/>
                        </a:lnTo>
                        <a:cubicBezTo>
                          <a:pt x="43347" y="104566"/>
                          <a:pt x="41402" y="106401"/>
                          <a:pt x="39090" y="107576"/>
                        </a:cubicBezTo>
                        <a:cubicBezTo>
                          <a:pt x="39677" y="110072"/>
                          <a:pt x="39493" y="112788"/>
                          <a:pt x="38466" y="115357"/>
                        </a:cubicBezTo>
                        <a:lnTo>
                          <a:pt x="38209" y="116017"/>
                        </a:lnTo>
                        <a:cubicBezTo>
                          <a:pt x="37181" y="118587"/>
                          <a:pt x="35383" y="120679"/>
                          <a:pt x="33217" y="122073"/>
                        </a:cubicBezTo>
                        <a:cubicBezTo>
                          <a:pt x="34025" y="124532"/>
                          <a:pt x="34135" y="127248"/>
                          <a:pt x="33327" y="129928"/>
                        </a:cubicBezTo>
                        <a:lnTo>
                          <a:pt x="33107" y="130625"/>
                        </a:lnTo>
                        <a:cubicBezTo>
                          <a:pt x="32300" y="133304"/>
                          <a:pt x="30722" y="135543"/>
                          <a:pt x="28666" y="137121"/>
                        </a:cubicBezTo>
                        <a:cubicBezTo>
                          <a:pt x="29731" y="139507"/>
                          <a:pt x="30061" y="142223"/>
                          <a:pt x="29510" y="144939"/>
                        </a:cubicBezTo>
                        <a:lnTo>
                          <a:pt x="29364" y="145673"/>
                        </a:lnTo>
                        <a:cubicBezTo>
                          <a:pt x="28813" y="148389"/>
                          <a:pt x="27418" y="150775"/>
                          <a:pt x="25546" y="152536"/>
                        </a:cubicBezTo>
                        <a:cubicBezTo>
                          <a:pt x="26794" y="154812"/>
                          <a:pt x="27382" y="157491"/>
                          <a:pt x="27088" y="160244"/>
                        </a:cubicBezTo>
                        <a:lnTo>
                          <a:pt x="27015" y="160978"/>
                        </a:lnTo>
                        <a:cubicBezTo>
                          <a:pt x="26721" y="163767"/>
                          <a:pt x="25546" y="166226"/>
                          <a:pt x="23821" y="168172"/>
                        </a:cubicBezTo>
                        <a:cubicBezTo>
                          <a:pt x="25253" y="170300"/>
                          <a:pt x="26097" y="172906"/>
                          <a:pt x="26024" y="175696"/>
                        </a:cubicBezTo>
                        <a:lnTo>
                          <a:pt x="26024" y="176430"/>
                        </a:lnTo>
                        <a:cubicBezTo>
                          <a:pt x="25730" y="183440"/>
                          <a:pt x="19968" y="189092"/>
                          <a:pt x="12921" y="189092"/>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63" name="Graphic 174">
                    <a:extLst>
                      <a:ext uri="{FF2B5EF4-FFF2-40B4-BE49-F238E27FC236}">
                        <a16:creationId xmlns:a16="http://schemas.microsoft.com/office/drawing/2014/main" id="{76199B2B-3B4E-C1F7-98DF-5CEEDB67C0AC}"/>
                      </a:ext>
                    </a:extLst>
                  </p:cNvPr>
                  <p:cNvSpPr/>
                  <p:nvPr/>
                </p:nvSpPr>
                <p:spPr>
                  <a:xfrm>
                    <a:off x="2106873" y="3190547"/>
                    <a:ext cx="25895" cy="26267"/>
                  </a:xfrm>
                  <a:custGeom>
                    <a:avLst/>
                    <a:gdLst>
                      <a:gd name="connsiteX0" fmla="*/ 12982 w 25895"/>
                      <a:gd name="connsiteY0" fmla="*/ 26268 h 26267"/>
                      <a:gd name="connsiteX1" fmla="*/ 246 w 25895"/>
                      <a:gd name="connsiteY1" fmla="*/ 15441 h 26267"/>
                      <a:gd name="connsiteX2" fmla="*/ 136 w 25895"/>
                      <a:gd name="connsiteY2" fmla="*/ 14780 h 26267"/>
                      <a:gd name="connsiteX3" fmla="*/ 11073 w 25895"/>
                      <a:gd name="connsiteY3" fmla="*/ 136 h 26267"/>
                      <a:gd name="connsiteX4" fmla="*/ 25717 w 25895"/>
                      <a:gd name="connsiteY4" fmla="*/ 11073 h 26267"/>
                      <a:gd name="connsiteX5" fmla="*/ 25717 w 25895"/>
                      <a:gd name="connsiteY5" fmla="*/ 11183 h 26267"/>
                      <a:gd name="connsiteX6" fmla="*/ 15074 w 25895"/>
                      <a:gd name="connsiteY6" fmla="*/ 26048 h 26267"/>
                      <a:gd name="connsiteX7" fmla="*/ 12982 w 25895"/>
                      <a:gd name="connsiteY7" fmla="*/ 26268 h 2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95" h="26267">
                        <a:moveTo>
                          <a:pt x="12982" y="26268"/>
                        </a:moveTo>
                        <a:cubicBezTo>
                          <a:pt x="6779" y="26268"/>
                          <a:pt x="1310" y="21790"/>
                          <a:pt x="246" y="15441"/>
                        </a:cubicBezTo>
                        <a:cubicBezTo>
                          <a:pt x="209" y="15257"/>
                          <a:pt x="172" y="15037"/>
                          <a:pt x="136" y="14780"/>
                        </a:cubicBezTo>
                        <a:cubicBezTo>
                          <a:pt x="-892" y="7697"/>
                          <a:pt x="4026" y="1163"/>
                          <a:pt x="11073" y="136"/>
                        </a:cubicBezTo>
                        <a:cubicBezTo>
                          <a:pt x="18157" y="-892"/>
                          <a:pt x="24690" y="4026"/>
                          <a:pt x="25717" y="11073"/>
                        </a:cubicBezTo>
                        <a:lnTo>
                          <a:pt x="25717" y="11183"/>
                        </a:lnTo>
                        <a:cubicBezTo>
                          <a:pt x="26892" y="18230"/>
                          <a:pt x="22121" y="24873"/>
                          <a:pt x="15074" y="26048"/>
                        </a:cubicBezTo>
                        <a:cubicBezTo>
                          <a:pt x="14376" y="26195"/>
                          <a:pt x="13679" y="26268"/>
                          <a:pt x="12982" y="26268"/>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35" name="Graphic 174">
                  <a:extLst>
                    <a:ext uri="{FF2B5EF4-FFF2-40B4-BE49-F238E27FC236}">
                      <a16:creationId xmlns:a16="http://schemas.microsoft.com/office/drawing/2014/main" id="{E1C3A33B-834F-CE4F-4784-C1C915FF992A}"/>
                    </a:ext>
                  </a:extLst>
                </p:cNvPr>
                <p:cNvGrpSpPr/>
                <p:nvPr/>
              </p:nvGrpSpPr>
              <p:grpSpPr>
                <a:xfrm>
                  <a:off x="2161216" y="3051481"/>
                  <a:ext cx="148123" cy="210405"/>
                  <a:chOff x="2161216" y="3051481"/>
                  <a:chExt cx="148123" cy="210405"/>
                </a:xfrm>
                <a:solidFill>
                  <a:srgbClr val="10161E"/>
                </a:solidFill>
              </p:grpSpPr>
              <p:sp>
                <p:nvSpPr>
                  <p:cNvPr id="1558" name="Graphic 174">
                    <a:extLst>
                      <a:ext uri="{FF2B5EF4-FFF2-40B4-BE49-F238E27FC236}">
                        <a16:creationId xmlns:a16="http://schemas.microsoft.com/office/drawing/2014/main" id="{FE3B0360-B2C6-4B65-9485-49A7B849272B}"/>
                      </a:ext>
                    </a:extLst>
                  </p:cNvPr>
                  <p:cNvSpPr/>
                  <p:nvPr/>
                </p:nvSpPr>
                <p:spPr>
                  <a:xfrm>
                    <a:off x="2283146" y="3051481"/>
                    <a:ext cx="26193" cy="26084"/>
                  </a:xfrm>
                  <a:custGeom>
                    <a:avLst/>
                    <a:gdLst>
                      <a:gd name="connsiteX0" fmla="*/ 12955 w 26193"/>
                      <a:gd name="connsiteY0" fmla="*/ 26085 h 26084"/>
                      <a:gd name="connsiteX1" fmla="*/ 1760 w 26193"/>
                      <a:gd name="connsiteY1" fmla="*/ 19662 h 26084"/>
                      <a:gd name="connsiteX2" fmla="*/ 6422 w 26193"/>
                      <a:gd name="connsiteY2" fmla="*/ 1971 h 26084"/>
                      <a:gd name="connsiteX3" fmla="*/ 6715 w 26193"/>
                      <a:gd name="connsiteY3" fmla="*/ 1788 h 26084"/>
                      <a:gd name="connsiteX4" fmla="*/ 24406 w 26193"/>
                      <a:gd name="connsiteY4" fmla="*/ 6375 h 26084"/>
                      <a:gd name="connsiteX5" fmla="*/ 19818 w 26193"/>
                      <a:gd name="connsiteY5" fmla="*/ 24066 h 26084"/>
                      <a:gd name="connsiteX6" fmla="*/ 19451 w 26193"/>
                      <a:gd name="connsiteY6" fmla="*/ 24286 h 26084"/>
                      <a:gd name="connsiteX7" fmla="*/ 12955 w 26193"/>
                      <a:gd name="connsiteY7" fmla="*/ 26085 h 2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93" h="26084">
                        <a:moveTo>
                          <a:pt x="12955" y="26085"/>
                        </a:moveTo>
                        <a:cubicBezTo>
                          <a:pt x="8514" y="26085"/>
                          <a:pt x="4183" y="23772"/>
                          <a:pt x="1760" y="19662"/>
                        </a:cubicBezTo>
                        <a:cubicBezTo>
                          <a:pt x="-1836" y="13496"/>
                          <a:pt x="256" y="5568"/>
                          <a:pt x="6422" y="1971"/>
                        </a:cubicBezTo>
                        <a:lnTo>
                          <a:pt x="6715" y="1788"/>
                        </a:lnTo>
                        <a:cubicBezTo>
                          <a:pt x="12881" y="-1846"/>
                          <a:pt x="20809" y="246"/>
                          <a:pt x="24406" y="6375"/>
                        </a:cubicBezTo>
                        <a:cubicBezTo>
                          <a:pt x="28039" y="12541"/>
                          <a:pt x="25947" y="20469"/>
                          <a:pt x="19818" y="24066"/>
                        </a:cubicBezTo>
                        <a:lnTo>
                          <a:pt x="19451" y="24286"/>
                        </a:lnTo>
                        <a:cubicBezTo>
                          <a:pt x="17432" y="25534"/>
                          <a:pt x="15194" y="26085"/>
                          <a:pt x="12955" y="26085"/>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59" name="Graphic 174">
                    <a:extLst>
                      <a:ext uri="{FF2B5EF4-FFF2-40B4-BE49-F238E27FC236}">
                        <a16:creationId xmlns:a16="http://schemas.microsoft.com/office/drawing/2014/main" id="{6F9724EE-7E2C-D1B1-7895-E85DEA738D2E}"/>
                      </a:ext>
                    </a:extLst>
                  </p:cNvPr>
                  <p:cNvSpPr/>
                  <p:nvPr/>
                </p:nvSpPr>
                <p:spPr>
                  <a:xfrm>
                    <a:off x="2161876" y="3059185"/>
                    <a:ext cx="133226" cy="186368"/>
                  </a:xfrm>
                  <a:custGeom>
                    <a:avLst/>
                    <a:gdLst>
                      <a:gd name="connsiteX0" fmla="*/ 12922 w 133226"/>
                      <a:gd name="connsiteY0" fmla="*/ 186368 h 186368"/>
                      <a:gd name="connsiteX1" fmla="*/ 11528 w 133226"/>
                      <a:gd name="connsiteY1" fmla="*/ 186295 h 186368"/>
                      <a:gd name="connsiteX2" fmla="*/ 77 w 133226"/>
                      <a:gd name="connsiteY2" fmla="*/ 172054 h 186368"/>
                      <a:gd name="connsiteX3" fmla="*/ 187 w 133226"/>
                      <a:gd name="connsiteY3" fmla="*/ 171174 h 186368"/>
                      <a:gd name="connsiteX4" fmla="*/ 4187 w 133226"/>
                      <a:gd name="connsiteY4" fmla="*/ 163209 h 186368"/>
                      <a:gd name="connsiteX5" fmla="*/ 2866 w 133226"/>
                      <a:gd name="connsiteY5" fmla="*/ 154401 h 186368"/>
                      <a:gd name="connsiteX6" fmla="*/ 3049 w 133226"/>
                      <a:gd name="connsiteY6" fmla="*/ 153556 h 186368"/>
                      <a:gd name="connsiteX7" fmla="*/ 7747 w 133226"/>
                      <a:gd name="connsiteY7" fmla="*/ 145996 h 186368"/>
                      <a:gd name="connsiteX8" fmla="*/ 7197 w 133226"/>
                      <a:gd name="connsiteY8" fmla="*/ 137150 h 186368"/>
                      <a:gd name="connsiteX9" fmla="*/ 7454 w 133226"/>
                      <a:gd name="connsiteY9" fmla="*/ 136306 h 186368"/>
                      <a:gd name="connsiteX10" fmla="*/ 12739 w 133226"/>
                      <a:gd name="connsiteY10" fmla="*/ 129223 h 186368"/>
                      <a:gd name="connsiteX11" fmla="*/ 12886 w 133226"/>
                      <a:gd name="connsiteY11" fmla="*/ 120377 h 186368"/>
                      <a:gd name="connsiteX12" fmla="*/ 13179 w 133226"/>
                      <a:gd name="connsiteY12" fmla="*/ 119607 h 186368"/>
                      <a:gd name="connsiteX13" fmla="*/ 18942 w 133226"/>
                      <a:gd name="connsiteY13" fmla="*/ 112963 h 186368"/>
                      <a:gd name="connsiteX14" fmla="*/ 19712 w 133226"/>
                      <a:gd name="connsiteY14" fmla="*/ 104192 h 186368"/>
                      <a:gd name="connsiteX15" fmla="*/ 20043 w 133226"/>
                      <a:gd name="connsiteY15" fmla="*/ 103458 h 186368"/>
                      <a:gd name="connsiteX16" fmla="*/ 26209 w 133226"/>
                      <a:gd name="connsiteY16" fmla="*/ 97255 h 186368"/>
                      <a:gd name="connsiteX17" fmla="*/ 27530 w 133226"/>
                      <a:gd name="connsiteY17" fmla="*/ 88630 h 186368"/>
                      <a:gd name="connsiteX18" fmla="*/ 27934 w 133226"/>
                      <a:gd name="connsiteY18" fmla="*/ 87896 h 186368"/>
                      <a:gd name="connsiteX19" fmla="*/ 34430 w 133226"/>
                      <a:gd name="connsiteY19" fmla="*/ 82097 h 186368"/>
                      <a:gd name="connsiteX20" fmla="*/ 36228 w 133226"/>
                      <a:gd name="connsiteY20" fmla="*/ 73582 h 186368"/>
                      <a:gd name="connsiteX21" fmla="*/ 36669 w 133226"/>
                      <a:gd name="connsiteY21" fmla="*/ 72884 h 186368"/>
                      <a:gd name="connsiteX22" fmla="*/ 43496 w 133226"/>
                      <a:gd name="connsiteY22" fmla="*/ 67416 h 186368"/>
                      <a:gd name="connsiteX23" fmla="*/ 45881 w 133226"/>
                      <a:gd name="connsiteY23" fmla="*/ 58864 h 186368"/>
                      <a:gd name="connsiteX24" fmla="*/ 46358 w 133226"/>
                      <a:gd name="connsiteY24" fmla="*/ 58203 h 186368"/>
                      <a:gd name="connsiteX25" fmla="*/ 53809 w 133226"/>
                      <a:gd name="connsiteY25" fmla="*/ 53212 h 186368"/>
                      <a:gd name="connsiteX26" fmla="*/ 57039 w 133226"/>
                      <a:gd name="connsiteY26" fmla="*/ 44844 h 186368"/>
                      <a:gd name="connsiteX27" fmla="*/ 57626 w 133226"/>
                      <a:gd name="connsiteY27" fmla="*/ 44220 h 186368"/>
                      <a:gd name="connsiteX28" fmla="*/ 65590 w 133226"/>
                      <a:gd name="connsiteY28" fmla="*/ 39999 h 186368"/>
                      <a:gd name="connsiteX29" fmla="*/ 69701 w 133226"/>
                      <a:gd name="connsiteY29" fmla="*/ 31998 h 186368"/>
                      <a:gd name="connsiteX30" fmla="*/ 70325 w 133226"/>
                      <a:gd name="connsiteY30" fmla="*/ 31411 h 186368"/>
                      <a:gd name="connsiteX31" fmla="*/ 78657 w 133226"/>
                      <a:gd name="connsiteY31" fmla="*/ 28071 h 186368"/>
                      <a:gd name="connsiteX32" fmla="*/ 83538 w 133226"/>
                      <a:gd name="connsiteY32" fmla="*/ 20547 h 186368"/>
                      <a:gd name="connsiteX33" fmla="*/ 84235 w 133226"/>
                      <a:gd name="connsiteY33" fmla="*/ 20033 h 186368"/>
                      <a:gd name="connsiteX34" fmla="*/ 92824 w 133226"/>
                      <a:gd name="connsiteY34" fmla="*/ 17537 h 186368"/>
                      <a:gd name="connsiteX35" fmla="*/ 98366 w 133226"/>
                      <a:gd name="connsiteY35" fmla="*/ 10564 h 186368"/>
                      <a:gd name="connsiteX36" fmla="*/ 99063 w 133226"/>
                      <a:gd name="connsiteY36" fmla="*/ 10123 h 186368"/>
                      <a:gd name="connsiteX37" fmla="*/ 107651 w 133226"/>
                      <a:gd name="connsiteY37" fmla="*/ 8361 h 186368"/>
                      <a:gd name="connsiteX38" fmla="*/ 113450 w 133226"/>
                      <a:gd name="connsiteY38" fmla="*/ 1939 h 186368"/>
                      <a:gd name="connsiteX39" fmla="*/ 114185 w 133226"/>
                      <a:gd name="connsiteY39" fmla="*/ 1535 h 186368"/>
                      <a:gd name="connsiteX40" fmla="*/ 131692 w 133226"/>
                      <a:gd name="connsiteY40" fmla="*/ 6820 h 186368"/>
                      <a:gd name="connsiteX41" fmla="*/ 126406 w 133226"/>
                      <a:gd name="connsiteY41" fmla="*/ 24327 h 186368"/>
                      <a:gd name="connsiteX42" fmla="*/ 125709 w 133226"/>
                      <a:gd name="connsiteY42" fmla="*/ 24694 h 186368"/>
                      <a:gd name="connsiteX43" fmla="*/ 117708 w 133226"/>
                      <a:gd name="connsiteY43" fmla="*/ 26089 h 186368"/>
                      <a:gd name="connsiteX44" fmla="*/ 112496 w 133226"/>
                      <a:gd name="connsiteY44" fmla="*/ 32181 h 186368"/>
                      <a:gd name="connsiteX45" fmla="*/ 111836 w 133226"/>
                      <a:gd name="connsiteY45" fmla="*/ 32585 h 186368"/>
                      <a:gd name="connsiteX46" fmla="*/ 104165 w 133226"/>
                      <a:gd name="connsiteY46" fmla="*/ 34457 h 186368"/>
                      <a:gd name="connsiteX47" fmla="*/ 99540 w 133226"/>
                      <a:gd name="connsiteY47" fmla="*/ 40806 h 186368"/>
                      <a:gd name="connsiteX48" fmla="*/ 98953 w 133226"/>
                      <a:gd name="connsiteY48" fmla="*/ 41247 h 186368"/>
                      <a:gd name="connsiteX49" fmla="*/ 91576 w 133226"/>
                      <a:gd name="connsiteY49" fmla="*/ 43816 h 186368"/>
                      <a:gd name="connsiteX50" fmla="*/ 87649 w 133226"/>
                      <a:gd name="connsiteY50" fmla="*/ 50533 h 186368"/>
                      <a:gd name="connsiteX51" fmla="*/ 87098 w 133226"/>
                      <a:gd name="connsiteY51" fmla="*/ 51046 h 186368"/>
                      <a:gd name="connsiteX52" fmla="*/ 80051 w 133226"/>
                      <a:gd name="connsiteY52" fmla="*/ 54313 h 186368"/>
                      <a:gd name="connsiteX53" fmla="*/ 76858 w 133226"/>
                      <a:gd name="connsiteY53" fmla="*/ 61397 h 186368"/>
                      <a:gd name="connsiteX54" fmla="*/ 76381 w 133226"/>
                      <a:gd name="connsiteY54" fmla="*/ 61947 h 186368"/>
                      <a:gd name="connsiteX55" fmla="*/ 69701 w 133226"/>
                      <a:gd name="connsiteY55" fmla="*/ 65948 h 186368"/>
                      <a:gd name="connsiteX56" fmla="*/ 67242 w 133226"/>
                      <a:gd name="connsiteY56" fmla="*/ 73325 h 186368"/>
                      <a:gd name="connsiteX57" fmla="*/ 66802 w 133226"/>
                      <a:gd name="connsiteY57" fmla="*/ 73949 h 186368"/>
                      <a:gd name="connsiteX58" fmla="*/ 60489 w 133226"/>
                      <a:gd name="connsiteY58" fmla="*/ 78647 h 186368"/>
                      <a:gd name="connsiteX59" fmla="*/ 58617 w 133226"/>
                      <a:gd name="connsiteY59" fmla="*/ 86428 h 186368"/>
                      <a:gd name="connsiteX60" fmla="*/ 58213 w 133226"/>
                      <a:gd name="connsiteY60" fmla="*/ 87088 h 186368"/>
                      <a:gd name="connsiteX61" fmla="*/ 52047 w 133226"/>
                      <a:gd name="connsiteY61" fmla="*/ 92300 h 186368"/>
                      <a:gd name="connsiteX62" fmla="*/ 50579 w 133226"/>
                      <a:gd name="connsiteY62" fmla="*/ 100228 h 186368"/>
                      <a:gd name="connsiteX63" fmla="*/ 50212 w 133226"/>
                      <a:gd name="connsiteY63" fmla="*/ 100888 h 186368"/>
                      <a:gd name="connsiteX64" fmla="*/ 44376 w 133226"/>
                      <a:gd name="connsiteY64" fmla="*/ 106430 h 186368"/>
                      <a:gd name="connsiteX65" fmla="*/ 43385 w 133226"/>
                      <a:gd name="connsiteY65" fmla="*/ 114395 h 186368"/>
                      <a:gd name="connsiteX66" fmla="*/ 43055 w 133226"/>
                      <a:gd name="connsiteY66" fmla="*/ 115092 h 186368"/>
                      <a:gd name="connsiteX67" fmla="*/ 37623 w 133226"/>
                      <a:gd name="connsiteY67" fmla="*/ 120928 h 186368"/>
                      <a:gd name="connsiteX68" fmla="*/ 37183 w 133226"/>
                      <a:gd name="connsiteY68" fmla="*/ 128892 h 186368"/>
                      <a:gd name="connsiteX69" fmla="*/ 36926 w 133226"/>
                      <a:gd name="connsiteY69" fmla="*/ 129590 h 186368"/>
                      <a:gd name="connsiteX70" fmla="*/ 31934 w 133226"/>
                      <a:gd name="connsiteY70" fmla="*/ 135756 h 186368"/>
                      <a:gd name="connsiteX71" fmla="*/ 32081 w 133226"/>
                      <a:gd name="connsiteY71" fmla="*/ 143683 h 186368"/>
                      <a:gd name="connsiteX72" fmla="*/ 31861 w 133226"/>
                      <a:gd name="connsiteY72" fmla="*/ 144381 h 186368"/>
                      <a:gd name="connsiteX73" fmla="*/ 27420 w 133226"/>
                      <a:gd name="connsiteY73" fmla="*/ 150914 h 186368"/>
                      <a:gd name="connsiteX74" fmla="*/ 28227 w 133226"/>
                      <a:gd name="connsiteY74" fmla="*/ 158768 h 186368"/>
                      <a:gd name="connsiteX75" fmla="*/ 28081 w 133226"/>
                      <a:gd name="connsiteY75" fmla="*/ 159502 h 186368"/>
                      <a:gd name="connsiteX76" fmla="*/ 24263 w 133226"/>
                      <a:gd name="connsiteY76" fmla="*/ 166366 h 186368"/>
                      <a:gd name="connsiteX77" fmla="*/ 25768 w 133226"/>
                      <a:gd name="connsiteY77" fmla="*/ 174073 h 186368"/>
                      <a:gd name="connsiteX78" fmla="*/ 25695 w 133226"/>
                      <a:gd name="connsiteY78" fmla="*/ 174770 h 186368"/>
                      <a:gd name="connsiteX79" fmla="*/ 12922 w 133226"/>
                      <a:gd name="connsiteY79" fmla="*/ 186368 h 18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33226" h="186368">
                        <a:moveTo>
                          <a:pt x="12922" y="186368"/>
                        </a:moveTo>
                        <a:cubicBezTo>
                          <a:pt x="12445" y="186368"/>
                          <a:pt x="12005" y="186332"/>
                          <a:pt x="11528" y="186295"/>
                        </a:cubicBezTo>
                        <a:cubicBezTo>
                          <a:pt x="4444" y="185524"/>
                          <a:pt x="-694" y="179138"/>
                          <a:pt x="77" y="172054"/>
                        </a:cubicBezTo>
                        <a:lnTo>
                          <a:pt x="187" y="171174"/>
                        </a:lnTo>
                        <a:cubicBezTo>
                          <a:pt x="554" y="168017"/>
                          <a:pt x="2022" y="165228"/>
                          <a:pt x="4187" y="163209"/>
                        </a:cubicBezTo>
                        <a:cubicBezTo>
                          <a:pt x="2756" y="160603"/>
                          <a:pt x="2205" y="157520"/>
                          <a:pt x="2866" y="154401"/>
                        </a:cubicBezTo>
                        <a:lnTo>
                          <a:pt x="3049" y="153556"/>
                        </a:lnTo>
                        <a:cubicBezTo>
                          <a:pt x="3710" y="150437"/>
                          <a:pt x="5435" y="147831"/>
                          <a:pt x="7747" y="145996"/>
                        </a:cubicBezTo>
                        <a:cubicBezTo>
                          <a:pt x="6573" y="143316"/>
                          <a:pt x="6279" y="140197"/>
                          <a:pt x="7197" y="137150"/>
                        </a:cubicBezTo>
                        <a:lnTo>
                          <a:pt x="7454" y="136306"/>
                        </a:lnTo>
                        <a:cubicBezTo>
                          <a:pt x="8371" y="133260"/>
                          <a:pt x="10280" y="130838"/>
                          <a:pt x="12739" y="129223"/>
                        </a:cubicBezTo>
                        <a:cubicBezTo>
                          <a:pt x="11785" y="126433"/>
                          <a:pt x="11748" y="123350"/>
                          <a:pt x="12886" y="120377"/>
                        </a:cubicBezTo>
                        <a:lnTo>
                          <a:pt x="13179" y="119607"/>
                        </a:lnTo>
                        <a:cubicBezTo>
                          <a:pt x="14317" y="116670"/>
                          <a:pt x="16409" y="114395"/>
                          <a:pt x="18942" y="112963"/>
                        </a:cubicBezTo>
                        <a:cubicBezTo>
                          <a:pt x="18208" y="110137"/>
                          <a:pt x="18391" y="107054"/>
                          <a:pt x="19712" y="104192"/>
                        </a:cubicBezTo>
                        <a:lnTo>
                          <a:pt x="20043" y="103458"/>
                        </a:lnTo>
                        <a:cubicBezTo>
                          <a:pt x="21364" y="100631"/>
                          <a:pt x="23603" y="98503"/>
                          <a:pt x="26209" y="97255"/>
                        </a:cubicBezTo>
                        <a:cubicBezTo>
                          <a:pt x="25658" y="94429"/>
                          <a:pt x="26025" y="91382"/>
                          <a:pt x="27530" y="88630"/>
                        </a:cubicBezTo>
                        <a:lnTo>
                          <a:pt x="27934" y="87896"/>
                        </a:lnTo>
                        <a:cubicBezTo>
                          <a:pt x="29439" y="85180"/>
                          <a:pt x="31751" y="83198"/>
                          <a:pt x="34430" y="82097"/>
                        </a:cubicBezTo>
                        <a:cubicBezTo>
                          <a:pt x="34026" y="79234"/>
                          <a:pt x="34577" y="76224"/>
                          <a:pt x="36228" y="73582"/>
                        </a:cubicBezTo>
                        <a:lnTo>
                          <a:pt x="36669" y="72884"/>
                        </a:lnTo>
                        <a:cubicBezTo>
                          <a:pt x="38321" y="70205"/>
                          <a:pt x="40780" y="68370"/>
                          <a:pt x="43496" y="67416"/>
                        </a:cubicBezTo>
                        <a:cubicBezTo>
                          <a:pt x="43275" y="64480"/>
                          <a:pt x="44046" y="61433"/>
                          <a:pt x="45881" y="58864"/>
                        </a:cubicBezTo>
                        <a:lnTo>
                          <a:pt x="46358" y="58203"/>
                        </a:lnTo>
                        <a:cubicBezTo>
                          <a:pt x="48230" y="55598"/>
                          <a:pt x="50909" y="53909"/>
                          <a:pt x="53809" y="53212"/>
                        </a:cubicBezTo>
                        <a:cubicBezTo>
                          <a:pt x="53846" y="50239"/>
                          <a:pt x="54910" y="47229"/>
                          <a:pt x="57039" y="44844"/>
                        </a:cubicBezTo>
                        <a:lnTo>
                          <a:pt x="57626" y="44220"/>
                        </a:lnTo>
                        <a:cubicBezTo>
                          <a:pt x="59755" y="41834"/>
                          <a:pt x="62618" y="40403"/>
                          <a:pt x="65590" y="39999"/>
                        </a:cubicBezTo>
                        <a:cubicBezTo>
                          <a:pt x="65957" y="37026"/>
                          <a:pt x="67315" y="34163"/>
                          <a:pt x="69701" y="31998"/>
                        </a:cubicBezTo>
                        <a:lnTo>
                          <a:pt x="70325" y="31411"/>
                        </a:lnTo>
                        <a:cubicBezTo>
                          <a:pt x="72711" y="29245"/>
                          <a:pt x="75684" y="28144"/>
                          <a:pt x="78657" y="28071"/>
                        </a:cubicBezTo>
                        <a:cubicBezTo>
                          <a:pt x="79317" y="25171"/>
                          <a:pt x="80969" y="22492"/>
                          <a:pt x="83538" y="20547"/>
                        </a:cubicBezTo>
                        <a:lnTo>
                          <a:pt x="84235" y="20033"/>
                        </a:lnTo>
                        <a:cubicBezTo>
                          <a:pt x="86805" y="18124"/>
                          <a:pt x="89851" y="17354"/>
                          <a:pt x="92824" y="17537"/>
                        </a:cubicBezTo>
                        <a:cubicBezTo>
                          <a:pt x="93741" y="14748"/>
                          <a:pt x="95650" y="12215"/>
                          <a:pt x="98366" y="10564"/>
                        </a:cubicBezTo>
                        <a:lnTo>
                          <a:pt x="99063" y="10123"/>
                        </a:lnTo>
                        <a:cubicBezTo>
                          <a:pt x="101742" y="8508"/>
                          <a:pt x="104789" y="7958"/>
                          <a:pt x="107651" y="8361"/>
                        </a:cubicBezTo>
                        <a:cubicBezTo>
                          <a:pt x="108753" y="5719"/>
                          <a:pt x="110735" y="3407"/>
                          <a:pt x="113450" y="1939"/>
                        </a:cubicBezTo>
                        <a:lnTo>
                          <a:pt x="114185" y="1535"/>
                        </a:lnTo>
                        <a:cubicBezTo>
                          <a:pt x="120461" y="-1842"/>
                          <a:pt x="128315" y="544"/>
                          <a:pt x="131692" y="6820"/>
                        </a:cubicBezTo>
                        <a:cubicBezTo>
                          <a:pt x="135068" y="13096"/>
                          <a:pt x="132683" y="20950"/>
                          <a:pt x="126406" y="24327"/>
                        </a:cubicBezTo>
                        <a:lnTo>
                          <a:pt x="125709" y="24694"/>
                        </a:lnTo>
                        <a:cubicBezTo>
                          <a:pt x="123177" y="26052"/>
                          <a:pt x="120351" y="26492"/>
                          <a:pt x="117708" y="26089"/>
                        </a:cubicBezTo>
                        <a:cubicBezTo>
                          <a:pt x="116680" y="28548"/>
                          <a:pt x="114919" y="30677"/>
                          <a:pt x="112496" y="32181"/>
                        </a:cubicBezTo>
                        <a:lnTo>
                          <a:pt x="111836" y="32585"/>
                        </a:lnTo>
                        <a:cubicBezTo>
                          <a:pt x="109450" y="34053"/>
                          <a:pt x="106771" y="34640"/>
                          <a:pt x="104165" y="34457"/>
                        </a:cubicBezTo>
                        <a:cubicBezTo>
                          <a:pt x="103357" y="36916"/>
                          <a:pt x="101779" y="39155"/>
                          <a:pt x="99540" y="40806"/>
                        </a:cubicBezTo>
                        <a:lnTo>
                          <a:pt x="98953" y="41247"/>
                        </a:lnTo>
                        <a:cubicBezTo>
                          <a:pt x="96714" y="42898"/>
                          <a:pt x="94145" y="43743"/>
                          <a:pt x="91576" y="43816"/>
                        </a:cubicBezTo>
                        <a:cubicBezTo>
                          <a:pt x="91025" y="46312"/>
                          <a:pt x="89704" y="48661"/>
                          <a:pt x="87649" y="50533"/>
                        </a:cubicBezTo>
                        <a:lnTo>
                          <a:pt x="87098" y="51046"/>
                        </a:lnTo>
                        <a:cubicBezTo>
                          <a:pt x="85079" y="52918"/>
                          <a:pt x="82584" y="53983"/>
                          <a:pt x="80051" y="54313"/>
                        </a:cubicBezTo>
                        <a:cubicBezTo>
                          <a:pt x="79758" y="56845"/>
                          <a:pt x="78693" y="59341"/>
                          <a:pt x="76858" y="61397"/>
                        </a:cubicBezTo>
                        <a:lnTo>
                          <a:pt x="76381" y="61947"/>
                        </a:lnTo>
                        <a:cubicBezTo>
                          <a:pt x="74546" y="64002"/>
                          <a:pt x="72197" y="65360"/>
                          <a:pt x="69701" y="65948"/>
                        </a:cubicBezTo>
                        <a:cubicBezTo>
                          <a:pt x="69664" y="68517"/>
                          <a:pt x="68857" y="71086"/>
                          <a:pt x="67242" y="73325"/>
                        </a:cubicBezTo>
                        <a:lnTo>
                          <a:pt x="66802" y="73949"/>
                        </a:lnTo>
                        <a:cubicBezTo>
                          <a:pt x="65150" y="76224"/>
                          <a:pt x="62948" y="77803"/>
                          <a:pt x="60489" y="78647"/>
                        </a:cubicBezTo>
                        <a:cubicBezTo>
                          <a:pt x="60709" y="81289"/>
                          <a:pt x="60085" y="84005"/>
                          <a:pt x="58617" y="86428"/>
                        </a:cubicBezTo>
                        <a:lnTo>
                          <a:pt x="58213" y="87088"/>
                        </a:lnTo>
                        <a:cubicBezTo>
                          <a:pt x="56708" y="89547"/>
                          <a:pt x="54506" y="91309"/>
                          <a:pt x="52047" y="92300"/>
                        </a:cubicBezTo>
                        <a:cubicBezTo>
                          <a:pt x="52414" y="94943"/>
                          <a:pt x="51974" y="97732"/>
                          <a:pt x="50579" y="100228"/>
                        </a:cubicBezTo>
                        <a:lnTo>
                          <a:pt x="50212" y="100888"/>
                        </a:lnTo>
                        <a:cubicBezTo>
                          <a:pt x="48854" y="103421"/>
                          <a:pt x="46762" y="105293"/>
                          <a:pt x="44376" y="106430"/>
                        </a:cubicBezTo>
                        <a:cubicBezTo>
                          <a:pt x="44890" y="109036"/>
                          <a:pt x="44597" y="111826"/>
                          <a:pt x="43385" y="114395"/>
                        </a:cubicBezTo>
                        <a:lnTo>
                          <a:pt x="43055" y="115092"/>
                        </a:lnTo>
                        <a:cubicBezTo>
                          <a:pt x="41844" y="117661"/>
                          <a:pt x="39935" y="119643"/>
                          <a:pt x="37623" y="120928"/>
                        </a:cubicBezTo>
                        <a:cubicBezTo>
                          <a:pt x="38284" y="123460"/>
                          <a:pt x="38210" y="126250"/>
                          <a:pt x="37183" y="128892"/>
                        </a:cubicBezTo>
                        <a:lnTo>
                          <a:pt x="36926" y="129590"/>
                        </a:lnTo>
                        <a:cubicBezTo>
                          <a:pt x="35898" y="132232"/>
                          <a:pt x="34136" y="134324"/>
                          <a:pt x="31934" y="135756"/>
                        </a:cubicBezTo>
                        <a:cubicBezTo>
                          <a:pt x="32778" y="138215"/>
                          <a:pt x="32889" y="141004"/>
                          <a:pt x="32081" y="143683"/>
                        </a:cubicBezTo>
                        <a:lnTo>
                          <a:pt x="31861" y="144381"/>
                        </a:lnTo>
                        <a:cubicBezTo>
                          <a:pt x="31053" y="147060"/>
                          <a:pt x="29475" y="149299"/>
                          <a:pt x="27420" y="150914"/>
                        </a:cubicBezTo>
                        <a:cubicBezTo>
                          <a:pt x="28484" y="153299"/>
                          <a:pt x="28815" y="156016"/>
                          <a:pt x="28227" y="158768"/>
                        </a:cubicBezTo>
                        <a:lnTo>
                          <a:pt x="28081" y="159502"/>
                        </a:lnTo>
                        <a:cubicBezTo>
                          <a:pt x="27530" y="162218"/>
                          <a:pt x="26135" y="164567"/>
                          <a:pt x="24263" y="166366"/>
                        </a:cubicBezTo>
                        <a:cubicBezTo>
                          <a:pt x="25511" y="168641"/>
                          <a:pt x="26099" y="171284"/>
                          <a:pt x="25768" y="174073"/>
                        </a:cubicBezTo>
                        <a:lnTo>
                          <a:pt x="25695" y="174770"/>
                        </a:lnTo>
                        <a:cubicBezTo>
                          <a:pt x="25034" y="181450"/>
                          <a:pt x="19419" y="186368"/>
                          <a:pt x="12922" y="186368"/>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60" name="Graphic 174">
                    <a:extLst>
                      <a:ext uri="{FF2B5EF4-FFF2-40B4-BE49-F238E27FC236}">
                        <a16:creationId xmlns:a16="http://schemas.microsoft.com/office/drawing/2014/main" id="{FFB52148-C2AB-4041-060E-131704B1D8B7}"/>
                      </a:ext>
                    </a:extLst>
                  </p:cNvPr>
                  <p:cNvSpPr/>
                  <p:nvPr/>
                </p:nvSpPr>
                <p:spPr>
                  <a:xfrm>
                    <a:off x="2161216" y="3235641"/>
                    <a:ext cx="25842" cy="26245"/>
                  </a:xfrm>
                  <a:custGeom>
                    <a:avLst/>
                    <a:gdLst>
                      <a:gd name="connsiteX0" fmla="*/ 12922 w 25842"/>
                      <a:gd name="connsiteY0" fmla="*/ 26245 h 26245"/>
                      <a:gd name="connsiteX1" fmla="*/ 3 w 25842"/>
                      <a:gd name="connsiteY1" fmla="*/ 13509 h 26245"/>
                      <a:gd name="connsiteX2" fmla="*/ 3 w 25842"/>
                      <a:gd name="connsiteY2" fmla="*/ 13179 h 26245"/>
                      <a:gd name="connsiteX3" fmla="*/ 12665 w 25842"/>
                      <a:gd name="connsiteY3" fmla="*/ 3 h 26245"/>
                      <a:gd name="connsiteX4" fmla="*/ 25841 w 25842"/>
                      <a:gd name="connsiteY4" fmla="*/ 12665 h 26245"/>
                      <a:gd name="connsiteX5" fmla="*/ 25841 w 25842"/>
                      <a:gd name="connsiteY5" fmla="*/ 13106 h 26245"/>
                      <a:gd name="connsiteX6" fmla="*/ 13106 w 25842"/>
                      <a:gd name="connsiteY6" fmla="*/ 26208 h 26245"/>
                      <a:gd name="connsiteX7" fmla="*/ 12922 w 25842"/>
                      <a:gd name="connsiteY7" fmla="*/ 26245 h 2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42" h="26245">
                        <a:moveTo>
                          <a:pt x="12922" y="26245"/>
                        </a:moveTo>
                        <a:cubicBezTo>
                          <a:pt x="5875" y="26245"/>
                          <a:pt x="113" y="20593"/>
                          <a:pt x="3" y="13509"/>
                        </a:cubicBezTo>
                        <a:lnTo>
                          <a:pt x="3" y="13179"/>
                        </a:lnTo>
                        <a:cubicBezTo>
                          <a:pt x="-144" y="6059"/>
                          <a:pt x="5508" y="150"/>
                          <a:pt x="12665" y="3"/>
                        </a:cubicBezTo>
                        <a:cubicBezTo>
                          <a:pt x="19822" y="-144"/>
                          <a:pt x="25695" y="5508"/>
                          <a:pt x="25841" y="12665"/>
                        </a:cubicBezTo>
                        <a:lnTo>
                          <a:pt x="25841" y="13106"/>
                        </a:lnTo>
                        <a:cubicBezTo>
                          <a:pt x="25951" y="20226"/>
                          <a:pt x="20263" y="26135"/>
                          <a:pt x="13106" y="26208"/>
                        </a:cubicBezTo>
                        <a:cubicBezTo>
                          <a:pt x="13069" y="26245"/>
                          <a:pt x="12995" y="26245"/>
                          <a:pt x="12922" y="26245"/>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36" name="Graphic 174">
                  <a:extLst>
                    <a:ext uri="{FF2B5EF4-FFF2-40B4-BE49-F238E27FC236}">
                      <a16:creationId xmlns:a16="http://schemas.microsoft.com/office/drawing/2014/main" id="{4E019F48-A1BB-351E-E4D7-2BF15D101095}"/>
                    </a:ext>
                  </a:extLst>
                </p:cNvPr>
                <p:cNvGrpSpPr/>
                <p:nvPr/>
              </p:nvGrpSpPr>
              <p:grpSpPr>
                <a:xfrm>
                  <a:off x="2307452" y="3048765"/>
                  <a:ext cx="161120" cy="221085"/>
                  <a:chOff x="2307452" y="3048765"/>
                  <a:chExt cx="161120" cy="221085"/>
                </a:xfrm>
                <a:solidFill>
                  <a:srgbClr val="10161E"/>
                </a:solidFill>
              </p:grpSpPr>
              <p:sp>
                <p:nvSpPr>
                  <p:cNvPr id="1555" name="Graphic 174">
                    <a:extLst>
                      <a:ext uri="{FF2B5EF4-FFF2-40B4-BE49-F238E27FC236}">
                        <a16:creationId xmlns:a16="http://schemas.microsoft.com/office/drawing/2014/main" id="{FA6F8294-2148-213A-3664-AAC8421CB3CE}"/>
                      </a:ext>
                    </a:extLst>
                  </p:cNvPr>
                  <p:cNvSpPr/>
                  <p:nvPr/>
                </p:nvSpPr>
                <p:spPr>
                  <a:xfrm>
                    <a:off x="2307452" y="3048765"/>
                    <a:ext cx="26234" cy="25901"/>
                  </a:xfrm>
                  <a:custGeom>
                    <a:avLst/>
                    <a:gdLst>
                      <a:gd name="connsiteX0" fmla="*/ 13313 w 26234"/>
                      <a:gd name="connsiteY0" fmla="*/ 25901 h 25901"/>
                      <a:gd name="connsiteX1" fmla="*/ 11955 w 26234"/>
                      <a:gd name="connsiteY1" fmla="*/ 25828 h 25901"/>
                      <a:gd name="connsiteX2" fmla="*/ 11625 w 26234"/>
                      <a:gd name="connsiteY2" fmla="*/ 25791 h 25901"/>
                      <a:gd name="connsiteX3" fmla="*/ 63 w 26234"/>
                      <a:gd name="connsiteY3" fmla="*/ 11624 h 25901"/>
                      <a:gd name="connsiteX4" fmla="*/ 14231 w 26234"/>
                      <a:gd name="connsiteY4" fmla="*/ 63 h 25901"/>
                      <a:gd name="connsiteX5" fmla="*/ 14671 w 26234"/>
                      <a:gd name="connsiteY5" fmla="*/ 100 h 25901"/>
                      <a:gd name="connsiteX6" fmla="*/ 26159 w 26234"/>
                      <a:gd name="connsiteY6" fmla="*/ 14304 h 25901"/>
                      <a:gd name="connsiteX7" fmla="*/ 13313 w 26234"/>
                      <a:gd name="connsiteY7" fmla="*/ 25901 h 25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34" h="25901">
                        <a:moveTo>
                          <a:pt x="13313" y="25901"/>
                        </a:moveTo>
                        <a:cubicBezTo>
                          <a:pt x="12873" y="25901"/>
                          <a:pt x="12395" y="25865"/>
                          <a:pt x="11955" y="25828"/>
                        </a:cubicBezTo>
                        <a:lnTo>
                          <a:pt x="11625" y="25791"/>
                        </a:lnTo>
                        <a:cubicBezTo>
                          <a:pt x="4504" y="25057"/>
                          <a:pt x="-634" y="18708"/>
                          <a:pt x="63" y="11624"/>
                        </a:cubicBezTo>
                        <a:cubicBezTo>
                          <a:pt x="797" y="4541"/>
                          <a:pt x="7110" y="-634"/>
                          <a:pt x="14231" y="63"/>
                        </a:cubicBezTo>
                        <a:lnTo>
                          <a:pt x="14671" y="100"/>
                        </a:lnTo>
                        <a:cubicBezTo>
                          <a:pt x="21755" y="834"/>
                          <a:pt x="26930" y="7220"/>
                          <a:pt x="26159" y="14304"/>
                        </a:cubicBezTo>
                        <a:cubicBezTo>
                          <a:pt x="25461" y="20983"/>
                          <a:pt x="19846" y="25901"/>
                          <a:pt x="13313" y="25901"/>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56" name="Graphic 174">
                    <a:extLst>
                      <a:ext uri="{FF2B5EF4-FFF2-40B4-BE49-F238E27FC236}">
                        <a16:creationId xmlns:a16="http://schemas.microsoft.com/office/drawing/2014/main" id="{A04BB0C5-F24C-B776-85E4-00EDB967D8FA}"/>
                      </a:ext>
                    </a:extLst>
                  </p:cNvPr>
                  <p:cNvSpPr/>
                  <p:nvPr/>
                </p:nvSpPr>
                <p:spPr>
                  <a:xfrm>
                    <a:off x="2323326" y="3051573"/>
                    <a:ext cx="145246" cy="202421"/>
                  </a:xfrm>
                  <a:custGeom>
                    <a:avLst/>
                    <a:gdLst>
                      <a:gd name="connsiteX0" fmla="*/ 130925 w 145246"/>
                      <a:gd name="connsiteY0" fmla="*/ 202422 h 202421"/>
                      <a:gd name="connsiteX1" fmla="*/ 129127 w 145246"/>
                      <a:gd name="connsiteY1" fmla="*/ 202312 h 202421"/>
                      <a:gd name="connsiteX2" fmla="*/ 118079 w 145246"/>
                      <a:gd name="connsiteY2" fmla="*/ 187741 h 202421"/>
                      <a:gd name="connsiteX3" fmla="*/ 118189 w 145246"/>
                      <a:gd name="connsiteY3" fmla="*/ 186970 h 202421"/>
                      <a:gd name="connsiteX4" fmla="*/ 121493 w 145246"/>
                      <a:gd name="connsiteY4" fmla="*/ 179960 h 202421"/>
                      <a:gd name="connsiteX5" fmla="*/ 119437 w 145246"/>
                      <a:gd name="connsiteY5" fmla="*/ 172472 h 202421"/>
                      <a:gd name="connsiteX6" fmla="*/ 119474 w 145246"/>
                      <a:gd name="connsiteY6" fmla="*/ 171738 h 202421"/>
                      <a:gd name="connsiteX7" fmla="*/ 122043 w 145246"/>
                      <a:gd name="connsiteY7" fmla="*/ 164398 h 202421"/>
                      <a:gd name="connsiteX8" fmla="*/ 119254 w 145246"/>
                      <a:gd name="connsiteY8" fmla="*/ 157131 h 202421"/>
                      <a:gd name="connsiteX9" fmla="*/ 119217 w 145246"/>
                      <a:gd name="connsiteY9" fmla="*/ 156397 h 202421"/>
                      <a:gd name="connsiteX10" fmla="*/ 121052 w 145246"/>
                      <a:gd name="connsiteY10" fmla="*/ 148836 h 202421"/>
                      <a:gd name="connsiteX11" fmla="*/ 117566 w 145246"/>
                      <a:gd name="connsiteY11" fmla="*/ 141863 h 202421"/>
                      <a:gd name="connsiteX12" fmla="*/ 117455 w 145246"/>
                      <a:gd name="connsiteY12" fmla="*/ 141202 h 202421"/>
                      <a:gd name="connsiteX13" fmla="*/ 118557 w 145246"/>
                      <a:gd name="connsiteY13" fmla="*/ 133494 h 202421"/>
                      <a:gd name="connsiteX14" fmla="*/ 114372 w 145246"/>
                      <a:gd name="connsiteY14" fmla="*/ 126888 h 202421"/>
                      <a:gd name="connsiteX15" fmla="*/ 114189 w 145246"/>
                      <a:gd name="connsiteY15" fmla="*/ 126227 h 202421"/>
                      <a:gd name="connsiteX16" fmla="*/ 114483 w 145246"/>
                      <a:gd name="connsiteY16" fmla="*/ 118446 h 202421"/>
                      <a:gd name="connsiteX17" fmla="*/ 109675 w 145246"/>
                      <a:gd name="connsiteY17" fmla="*/ 112354 h 202421"/>
                      <a:gd name="connsiteX18" fmla="*/ 109418 w 145246"/>
                      <a:gd name="connsiteY18" fmla="*/ 111656 h 202421"/>
                      <a:gd name="connsiteX19" fmla="*/ 108941 w 145246"/>
                      <a:gd name="connsiteY19" fmla="*/ 103912 h 202421"/>
                      <a:gd name="connsiteX20" fmla="*/ 103545 w 145246"/>
                      <a:gd name="connsiteY20" fmla="*/ 98333 h 202421"/>
                      <a:gd name="connsiteX21" fmla="*/ 103215 w 145246"/>
                      <a:gd name="connsiteY21" fmla="*/ 97673 h 202421"/>
                      <a:gd name="connsiteX22" fmla="*/ 101930 w 145246"/>
                      <a:gd name="connsiteY22" fmla="*/ 90002 h 202421"/>
                      <a:gd name="connsiteX23" fmla="*/ 95985 w 145246"/>
                      <a:gd name="connsiteY23" fmla="*/ 85010 h 202421"/>
                      <a:gd name="connsiteX24" fmla="*/ 95581 w 145246"/>
                      <a:gd name="connsiteY24" fmla="*/ 84386 h 202421"/>
                      <a:gd name="connsiteX25" fmla="*/ 93525 w 145246"/>
                      <a:gd name="connsiteY25" fmla="*/ 76973 h 202421"/>
                      <a:gd name="connsiteX26" fmla="*/ 87139 w 145246"/>
                      <a:gd name="connsiteY26" fmla="*/ 72678 h 202421"/>
                      <a:gd name="connsiteX27" fmla="*/ 86699 w 145246"/>
                      <a:gd name="connsiteY27" fmla="*/ 72128 h 202421"/>
                      <a:gd name="connsiteX28" fmla="*/ 83836 w 145246"/>
                      <a:gd name="connsiteY28" fmla="*/ 65008 h 202421"/>
                      <a:gd name="connsiteX29" fmla="*/ 77009 w 145246"/>
                      <a:gd name="connsiteY29" fmla="*/ 61521 h 202421"/>
                      <a:gd name="connsiteX30" fmla="*/ 76495 w 145246"/>
                      <a:gd name="connsiteY30" fmla="*/ 61007 h 202421"/>
                      <a:gd name="connsiteX31" fmla="*/ 72789 w 145246"/>
                      <a:gd name="connsiteY31" fmla="*/ 54254 h 202421"/>
                      <a:gd name="connsiteX32" fmla="*/ 65558 w 145246"/>
                      <a:gd name="connsiteY32" fmla="*/ 51574 h 202421"/>
                      <a:gd name="connsiteX33" fmla="*/ 65008 w 145246"/>
                      <a:gd name="connsiteY33" fmla="*/ 51134 h 202421"/>
                      <a:gd name="connsiteX34" fmla="*/ 60530 w 145246"/>
                      <a:gd name="connsiteY34" fmla="*/ 44821 h 202421"/>
                      <a:gd name="connsiteX35" fmla="*/ 53043 w 145246"/>
                      <a:gd name="connsiteY35" fmla="*/ 42986 h 202421"/>
                      <a:gd name="connsiteX36" fmla="*/ 52419 w 145246"/>
                      <a:gd name="connsiteY36" fmla="*/ 42619 h 202421"/>
                      <a:gd name="connsiteX37" fmla="*/ 47280 w 145246"/>
                      <a:gd name="connsiteY37" fmla="*/ 36820 h 202421"/>
                      <a:gd name="connsiteX38" fmla="*/ 39610 w 145246"/>
                      <a:gd name="connsiteY38" fmla="*/ 35792 h 202421"/>
                      <a:gd name="connsiteX39" fmla="*/ 38949 w 145246"/>
                      <a:gd name="connsiteY39" fmla="*/ 35499 h 202421"/>
                      <a:gd name="connsiteX40" fmla="*/ 33187 w 145246"/>
                      <a:gd name="connsiteY40" fmla="*/ 30250 h 202421"/>
                      <a:gd name="connsiteX41" fmla="*/ 25369 w 145246"/>
                      <a:gd name="connsiteY41" fmla="*/ 29993 h 202421"/>
                      <a:gd name="connsiteX42" fmla="*/ 24708 w 145246"/>
                      <a:gd name="connsiteY42" fmla="*/ 29773 h 202421"/>
                      <a:gd name="connsiteX43" fmla="*/ 18469 w 145246"/>
                      <a:gd name="connsiteY43" fmla="*/ 25149 h 202421"/>
                      <a:gd name="connsiteX44" fmla="*/ 10725 w 145246"/>
                      <a:gd name="connsiteY44" fmla="*/ 25699 h 202421"/>
                      <a:gd name="connsiteX45" fmla="*/ 9991 w 145246"/>
                      <a:gd name="connsiteY45" fmla="*/ 25516 h 202421"/>
                      <a:gd name="connsiteX46" fmla="*/ 338 w 145246"/>
                      <a:gd name="connsiteY46" fmla="*/ 9991 h 202421"/>
                      <a:gd name="connsiteX47" fmla="*/ 15863 w 145246"/>
                      <a:gd name="connsiteY47" fmla="*/ 338 h 202421"/>
                      <a:gd name="connsiteX48" fmla="*/ 16670 w 145246"/>
                      <a:gd name="connsiteY48" fmla="*/ 521 h 202421"/>
                      <a:gd name="connsiteX49" fmla="*/ 24158 w 145246"/>
                      <a:gd name="connsiteY49" fmla="*/ 5513 h 202421"/>
                      <a:gd name="connsiteX50" fmla="*/ 33113 w 145246"/>
                      <a:gd name="connsiteY50" fmla="*/ 5329 h 202421"/>
                      <a:gd name="connsiteX51" fmla="*/ 33957 w 145246"/>
                      <a:gd name="connsiteY51" fmla="*/ 5623 h 202421"/>
                      <a:gd name="connsiteX52" fmla="*/ 40821 w 145246"/>
                      <a:gd name="connsiteY52" fmla="*/ 11312 h 202421"/>
                      <a:gd name="connsiteX53" fmla="*/ 49739 w 145246"/>
                      <a:gd name="connsiteY53" fmla="*/ 12009 h 202421"/>
                      <a:gd name="connsiteX54" fmla="*/ 50510 w 145246"/>
                      <a:gd name="connsiteY54" fmla="*/ 12376 h 202421"/>
                      <a:gd name="connsiteX55" fmla="*/ 56823 w 145246"/>
                      <a:gd name="connsiteY55" fmla="*/ 18762 h 202421"/>
                      <a:gd name="connsiteX56" fmla="*/ 65668 w 145246"/>
                      <a:gd name="connsiteY56" fmla="*/ 20414 h 202421"/>
                      <a:gd name="connsiteX57" fmla="*/ 66402 w 145246"/>
                      <a:gd name="connsiteY57" fmla="*/ 20855 h 202421"/>
                      <a:gd name="connsiteX58" fmla="*/ 71981 w 145246"/>
                      <a:gd name="connsiteY58" fmla="*/ 27938 h 202421"/>
                      <a:gd name="connsiteX59" fmla="*/ 80606 w 145246"/>
                      <a:gd name="connsiteY59" fmla="*/ 30581 h 202421"/>
                      <a:gd name="connsiteX60" fmla="*/ 81304 w 145246"/>
                      <a:gd name="connsiteY60" fmla="*/ 31131 h 202421"/>
                      <a:gd name="connsiteX61" fmla="*/ 86075 w 145246"/>
                      <a:gd name="connsiteY61" fmla="*/ 38802 h 202421"/>
                      <a:gd name="connsiteX62" fmla="*/ 94370 w 145246"/>
                      <a:gd name="connsiteY62" fmla="*/ 42399 h 202421"/>
                      <a:gd name="connsiteX63" fmla="*/ 94994 w 145246"/>
                      <a:gd name="connsiteY63" fmla="*/ 42986 h 202421"/>
                      <a:gd name="connsiteX64" fmla="*/ 98847 w 145246"/>
                      <a:gd name="connsiteY64" fmla="*/ 51171 h 202421"/>
                      <a:gd name="connsiteX65" fmla="*/ 106665 w 145246"/>
                      <a:gd name="connsiteY65" fmla="*/ 55722 h 202421"/>
                      <a:gd name="connsiteX66" fmla="*/ 107215 w 145246"/>
                      <a:gd name="connsiteY66" fmla="*/ 56419 h 202421"/>
                      <a:gd name="connsiteX67" fmla="*/ 110078 w 145246"/>
                      <a:gd name="connsiteY67" fmla="*/ 64971 h 202421"/>
                      <a:gd name="connsiteX68" fmla="*/ 117309 w 145246"/>
                      <a:gd name="connsiteY68" fmla="*/ 70403 h 202421"/>
                      <a:gd name="connsiteX69" fmla="*/ 117749 w 145246"/>
                      <a:gd name="connsiteY69" fmla="*/ 71100 h 202421"/>
                      <a:gd name="connsiteX70" fmla="*/ 119658 w 145246"/>
                      <a:gd name="connsiteY70" fmla="*/ 79872 h 202421"/>
                      <a:gd name="connsiteX71" fmla="*/ 126227 w 145246"/>
                      <a:gd name="connsiteY71" fmla="*/ 85965 h 202421"/>
                      <a:gd name="connsiteX72" fmla="*/ 126594 w 145246"/>
                      <a:gd name="connsiteY72" fmla="*/ 86699 h 202421"/>
                      <a:gd name="connsiteX73" fmla="*/ 127585 w 145246"/>
                      <a:gd name="connsiteY73" fmla="*/ 95617 h 202421"/>
                      <a:gd name="connsiteX74" fmla="*/ 133494 w 145246"/>
                      <a:gd name="connsiteY74" fmla="*/ 102334 h 202421"/>
                      <a:gd name="connsiteX75" fmla="*/ 133788 w 145246"/>
                      <a:gd name="connsiteY75" fmla="*/ 103141 h 202421"/>
                      <a:gd name="connsiteX76" fmla="*/ 133861 w 145246"/>
                      <a:gd name="connsiteY76" fmla="*/ 112097 h 202421"/>
                      <a:gd name="connsiteX77" fmla="*/ 139073 w 145246"/>
                      <a:gd name="connsiteY77" fmla="*/ 119364 h 202421"/>
                      <a:gd name="connsiteX78" fmla="*/ 139293 w 145246"/>
                      <a:gd name="connsiteY78" fmla="*/ 120245 h 202421"/>
                      <a:gd name="connsiteX79" fmla="*/ 138449 w 145246"/>
                      <a:gd name="connsiteY79" fmla="*/ 129127 h 202421"/>
                      <a:gd name="connsiteX80" fmla="*/ 142890 w 145246"/>
                      <a:gd name="connsiteY80" fmla="*/ 136871 h 202421"/>
                      <a:gd name="connsiteX81" fmla="*/ 143037 w 145246"/>
                      <a:gd name="connsiteY81" fmla="*/ 137752 h 202421"/>
                      <a:gd name="connsiteX82" fmla="*/ 141312 w 145246"/>
                      <a:gd name="connsiteY82" fmla="*/ 146487 h 202421"/>
                      <a:gd name="connsiteX83" fmla="*/ 144946 w 145246"/>
                      <a:gd name="connsiteY83" fmla="*/ 154635 h 202421"/>
                      <a:gd name="connsiteX84" fmla="*/ 144982 w 145246"/>
                      <a:gd name="connsiteY84" fmla="*/ 155479 h 202421"/>
                      <a:gd name="connsiteX85" fmla="*/ 142413 w 145246"/>
                      <a:gd name="connsiteY85" fmla="*/ 164031 h 202421"/>
                      <a:gd name="connsiteX86" fmla="*/ 145239 w 145246"/>
                      <a:gd name="connsiteY86" fmla="*/ 172509 h 202421"/>
                      <a:gd name="connsiteX87" fmla="*/ 145203 w 145246"/>
                      <a:gd name="connsiteY87" fmla="*/ 173353 h 202421"/>
                      <a:gd name="connsiteX88" fmla="*/ 141789 w 145246"/>
                      <a:gd name="connsiteY88" fmla="*/ 181648 h 202421"/>
                      <a:gd name="connsiteX89" fmla="*/ 143734 w 145246"/>
                      <a:gd name="connsiteY89" fmla="*/ 190420 h 202421"/>
                      <a:gd name="connsiteX90" fmla="*/ 143624 w 145246"/>
                      <a:gd name="connsiteY90" fmla="*/ 191227 h 202421"/>
                      <a:gd name="connsiteX91" fmla="*/ 130925 w 145246"/>
                      <a:gd name="connsiteY91" fmla="*/ 202422 h 20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45246" h="202421">
                        <a:moveTo>
                          <a:pt x="130925" y="202422"/>
                        </a:moveTo>
                        <a:cubicBezTo>
                          <a:pt x="130338" y="202422"/>
                          <a:pt x="129751" y="202385"/>
                          <a:pt x="129127" y="202312"/>
                        </a:cubicBezTo>
                        <a:cubicBezTo>
                          <a:pt x="122043" y="201321"/>
                          <a:pt x="117125" y="194788"/>
                          <a:pt x="118079" y="187741"/>
                        </a:cubicBezTo>
                        <a:lnTo>
                          <a:pt x="118189" y="186970"/>
                        </a:lnTo>
                        <a:cubicBezTo>
                          <a:pt x="118557" y="184254"/>
                          <a:pt x="119768" y="181832"/>
                          <a:pt x="121493" y="179960"/>
                        </a:cubicBezTo>
                        <a:cubicBezTo>
                          <a:pt x="120098" y="177831"/>
                          <a:pt x="119327" y="175225"/>
                          <a:pt x="119437" y="172472"/>
                        </a:cubicBezTo>
                        <a:lnTo>
                          <a:pt x="119474" y="171738"/>
                        </a:lnTo>
                        <a:cubicBezTo>
                          <a:pt x="119548" y="168986"/>
                          <a:pt x="120502" y="166453"/>
                          <a:pt x="122043" y="164398"/>
                        </a:cubicBezTo>
                        <a:cubicBezTo>
                          <a:pt x="120428" y="162379"/>
                          <a:pt x="119401" y="159883"/>
                          <a:pt x="119254" y="157131"/>
                        </a:cubicBezTo>
                        <a:lnTo>
                          <a:pt x="119217" y="156397"/>
                        </a:lnTo>
                        <a:cubicBezTo>
                          <a:pt x="119034" y="153644"/>
                          <a:pt x="119731" y="151038"/>
                          <a:pt x="121052" y="148836"/>
                        </a:cubicBezTo>
                        <a:cubicBezTo>
                          <a:pt x="119254" y="147001"/>
                          <a:pt x="117969" y="144579"/>
                          <a:pt x="117566" y="141863"/>
                        </a:cubicBezTo>
                        <a:lnTo>
                          <a:pt x="117455" y="141202"/>
                        </a:lnTo>
                        <a:cubicBezTo>
                          <a:pt x="117015" y="138486"/>
                          <a:pt x="117419" y="135807"/>
                          <a:pt x="118557" y="133494"/>
                        </a:cubicBezTo>
                        <a:cubicBezTo>
                          <a:pt x="116575" y="131843"/>
                          <a:pt x="115106" y="129567"/>
                          <a:pt x="114372" y="126888"/>
                        </a:cubicBezTo>
                        <a:lnTo>
                          <a:pt x="114189" y="126227"/>
                        </a:lnTo>
                        <a:cubicBezTo>
                          <a:pt x="113455" y="123548"/>
                          <a:pt x="113638" y="120869"/>
                          <a:pt x="114483" y="118446"/>
                        </a:cubicBezTo>
                        <a:cubicBezTo>
                          <a:pt x="112354" y="117015"/>
                          <a:pt x="110666" y="114923"/>
                          <a:pt x="109675" y="112354"/>
                        </a:cubicBezTo>
                        <a:lnTo>
                          <a:pt x="109418" y="111656"/>
                        </a:lnTo>
                        <a:cubicBezTo>
                          <a:pt x="108427" y="109087"/>
                          <a:pt x="108317" y="106408"/>
                          <a:pt x="108941" y="103912"/>
                        </a:cubicBezTo>
                        <a:cubicBezTo>
                          <a:pt x="106702" y="102701"/>
                          <a:pt x="104793" y="100793"/>
                          <a:pt x="103545" y="98333"/>
                        </a:cubicBezTo>
                        <a:lnTo>
                          <a:pt x="103215" y="97673"/>
                        </a:lnTo>
                        <a:cubicBezTo>
                          <a:pt x="101967" y="95214"/>
                          <a:pt x="101600" y="92534"/>
                          <a:pt x="101930" y="90002"/>
                        </a:cubicBezTo>
                        <a:cubicBezTo>
                          <a:pt x="99581" y="89011"/>
                          <a:pt x="97489" y="87323"/>
                          <a:pt x="95985" y="85010"/>
                        </a:cubicBezTo>
                        <a:lnTo>
                          <a:pt x="95581" y="84386"/>
                        </a:lnTo>
                        <a:cubicBezTo>
                          <a:pt x="94113" y="82074"/>
                          <a:pt x="93452" y="79505"/>
                          <a:pt x="93525" y="76973"/>
                        </a:cubicBezTo>
                        <a:cubicBezTo>
                          <a:pt x="91103" y="76239"/>
                          <a:pt x="88828" y="74807"/>
                          <a:pt x="87139" y="72678"/>
                        </a:cubicBezTo>
                        <a:lnTo>
                          <a:pt x="86699" y="72128"/>
                        </a:lnTo>
                        <a:cubicBezTo>
                          <a:pt x="84974" y="70036"/>
                          <a:pt x="84019" y="67540"/>
                          <a:pt x="83836" y="65008"/>
                        </a:cubicBezTo>
                        <a:cubicBezTo>
                          <a:pt x="81340" y="64567"/>
                          <a:pt x="78955" y="63429"/>
                          <a:pt x="77009" y="61521"/>
                        </a:cubicBezTo>
                        <a:lnTo>
                          <a:pt x="76495" y="61007"/>
                        </a:lnTo>
                        <a:cubicBezTo>
                          <a:pt x="74550" y="59098"/>
                          <a:pt x="73302" y="56750"/>
                          <a:pt x="72789" y="54254"/>
                        </a:cubicBezTo>
                        <a:cubicBezTo>
                          <a:pt x="70256" y="54107"/>
                          <a:pt x="67724" y="53226"/>
                          <a:pt x="65558" y="51574"/>
                        </a:cubicBezTo>
                        <a:lnTo>
                          <a:pt x="65008" y="51134"/>
                        </a:lnTo>
                        <a:cubicBezTo>
                          <a:pt x="62842" y="49482"/>
                          <a:pt x="61337" y="47244"/>
                          <a:pt x="60530" y="44821"/>
                        </a:cubicBezTo>
                        <a:cubicBezTo>
                          <a:pt x="57997" y="44968"/>
                          <a:pt x="55392" y="44381"/>
                          <a:pt x="53043" y="42986"/>
                        </a:cubicBezTo>
                        <a:lnTo>
                          <a:pt x="52419" y="42619"/>
                        </a:lnTo>
                        <a:cubicBezTo>
                          <a:pt x="50070" y="41224"/>
                          <a:pt x="48308" y="39169"/>
                          <a:pt x="47280" y="36820"/>
                        </a:cubicBezTo>
                        <a:cubicBezTo>
                          <a:pt x="44748" y="37261"/>
                          <a:pt x="42105" y="36930"/>
                          <a:pt x="39610" y="35792"/>
                        </a:cubicBezTo>
                        <a:lnTo>
                          <a:pt x="38949" y="35499"/>
                        </a:lnTo>
                        <a:cubicBezTo>
                          <a:pt x="36453" y="34324"/>
                          <a:pt x="34508" y="32489"/>
                          <a:pt x="33187" y="30250"/>
                        </a:cubicBezTo>
                        <a:cubicBezTo>
                          <a:pt x="30691" y="30948"/>
                          <a:pt x="28012" y="30911"/>
                          <a:pt x="25369" y="29993"/>
                        </a:cubicBezTo>
                        <a:lnTo>
                          <a:pt x="24708" y="29773"/>
                        </a:lnTo>
                        <a:cubicBezTo>
                          <a:pt x="22102" y="28892"/>
                          <a:pt x="19974" y="27241"/>
                          <a:pt x="18469" y="25149"/>
                        </a:cubicBezTo>
                        <a:cubicBezTo>
                          <a:pt x="16083" y="26103"/>
                          <a:pt x="13404" y="26323"/>
                          <a:pt x="10725" y="25699"/>
                        </a:cubicBezTo>
                        <a:lnTo>
                          <a:pt x="9991" y="25516"/>
                        </a:lnTo>
                        <a:cubicBezTo>
                          <a:pt x="3054" y="23901"/>
                          <a:pt x="-1277" y="16927"/>
                          <a:pt x="338" y="9991"/>
                        </a:cubicBezTo>
                        <a:cubicBezTo>
                          <a:pt x="1953" y="3054"/>
                          <a:pt x="8926" y="-1277"/>
                          <a:pt x="15863" y="338"/>
                        </a:cubicBezTo>
                        <a:lnTo>
                          <a:pt x="16670" y="521"/>
                        </a:lnTo>
                        <a:cubicBezTo>
                          <a:pt x="19790" y="1255"/>
                          <a:pt x="22396" y="3091"/>
                          <a:pt x="24158" y="5513"/>
                        </a:cubicBezTo>
                        <a:cubicBezTo>
                          <a:pt x="26910" y="4412"/>
                          <a:pt x="30067" y="4265"/>
                          <a:pt x="33113" y="5329"/>
                        </a:cubicBezTo>
                        <a:lnTo>
                          <a:pt x="33957" y="5623"/>
                        </a:lnTo>
                        <a:cubicBezTo>
                          <a:pt x="36967" y="6687"/>
                          <a:pt x="39353" y="8743"/>
                          <a:pt x="40821" y="11312"/>
                        </a:cubicBezTo>
                        <a:cubicBezTo>
                          <a:pt x="43684" y="10504"/>
                          <a:pt x="46840" y="10688"/>
                          <a:pt x="49739" y="12009"/>
                        </a:cubicBezTo>
                        <a:lnTo>
                          <a:pt x="50510" y="12376"/>
                        </a:lnTo>
                        <a:cubicBezTo>
                          <a:pt x="53410" y="13734"/>
                          <a:pt x="55575" y="16047"/>
                          <a:pt x="56823" y="18762"/>
                        </a:cubicBezTo>
                        <a:cubicBezTo>
                          <a:pt x="59759" y="18249"/>
                          <a:pt x="62879" y="18762"/>
                          <a:pt x="65668" y="20414"/>
                        </a:cubicBezTo>
                        <a:lnTo>
                          <a:pt x="66402" y="20855"/>
                        </a:lnTo>
                        <a:cubicBezTo>
                          <a:pt x="69155" y="22543"/>
                          <a:pt x="71064" y="25075"/>
                          <a:pt x="71981" y="27938"/>
                        </a:cubicBezTo>
                        <a:cubicBezTo>
                          <a:pt x="74954" y="27755"/>
                          <a:pt x="78037" y="28599"/>
                          <a:pt x="80606" y="30581"/>
                        </a:cubicBezTo>
                        <a:lnTo>
                          <a:pt x="81304" y="31131"/>
                        </a:lnTo>
                        <a:cubicBezTo>
                          <a:pt x="83873" y="33113"/>
                          <a:pt x="85451" y="35866"/>
                          <a:pt x="86075" y="38802"/>
                        </a:cubicBezTo>
                        <a:cubicBezTo>
                          <a:pt x="89084" y="38949"/>
                          <a:pt x="92021" y="40160"/>
                          <a:pt x="94370" y="42399"/>
                        </a:cubicBezTo>
                        <a:lnTo>
                          <a:pt x="94994" y="42986"/>
                        </a:lnTo>
                        <a:cubicBezTo>
                          <a:pt x="97306" y="45262"/>
                          <a:pt x="98590" y="48161"/>
                          <a:pt x="98847" y="51171"/>
                        </a:cubicBezTo>
                        <a:cubicBezTo>
                          <a:pt x="101820" y="51685"/>
                          <a:pt x="104610" y="53226"/>
                          <a:pt x="106665" y="55722"/>
                        </a:cubicBezTo>
                        <a:lnTo>
                          <a:pt x="107215" y="56419"/>
                        </a:lnTo>
                        <a:cubicBezTo>
                          <a:pt x="109234" y="58952"/>
                          <a:pt x="110188" y="61961"/>
                          <a:pt x="110078" y="64971"/>
                        </a:cubicBezTo>
                        <a:cubicBezTo>
                          <a:pt x="112941" y="65815"/>
                          <a:pt x="115547" y="67650"/>
                          <a:pt x="117309" y="70403"/>
                        </a:cubicBezTo>
                        <a:lnTo>
                          <a:pt x="117749" y="71100"/>
                        </a:lnTo>
                        <a:cubicBezTo>
                          <a:pt x="119474" y="73816"/>
                          <a:pt x="120061" y="76936"/>
                          <a:pt x="119658" y="79872"/>
                        </a:cubicBezTo>
                        <a:cubicBezTo>
                          <a:pt x="122410" y="81010"/>
                          <a:pt x="124796" y="83102"/>
                          <a:pt x="126227" y="85965"/>
                        </a:cubicBezTo>
                        <a:lnTo>
                          <a:pt x="126594" y="86699"/>
                        </a:lnTo>
                        <a:cubicBezTo>
                          <a:pt x="128026" y="89562"/>
                          <a:pt x="128319" y="92718"/>
                          <a:pt x="127585" y="95617"/>
                        </a:cubicBezTo>
                        <a:cubicBezTo>
                          <a:pt x="130191" y="97049"/>
                          <a:pt x="132357" y="99361"/>
                          <a:pt x="133494" y="102334"/>
                        </a:cubicBezTo>
                        <a:lnTo>
                          <a:pt x="133788" y="103141"/>
                        </a:lnTo>
                        <a:cubicBezTo>
                          <a:pt x="134926" y="106151"/>
                          <a:pt x="134889" y="109307"/>
                          <a:pt x="133861" y="112097"/>
                        </a:cubicBezTo>
                        <a:cubicBezTo>
                          <a:pt x="136321" y="113785"/>
                          <a:pt x="138229" y="116281"/>
                          <a:pt x="139073" y="119364"/>
                        </a:cubicBezTo>
                        <a:lnTo>
                          <a:pt x="139293" y="120245"/>
                        </a:lnTo>
                        <a:cubicBezTo>
                          <a:pt x="140101" y="123328"/>
                          <a:pt x="139734" y="126448"/>
                          <a:pt x="138449" y="129127"/>
                        </a:cubicBezTo>
                        <a:cubicBezTo>
                          <a:pt x="140725" y="131035"/>
                          <a:pt x="142340" y="133715"/>
                          <a:pt x="142890" y="136871"/>
                        </a:cubicBezTo>
                        <a:lnTo>
                          <a:pt x="143037" y="137752"/>
                        </a:lnTo>
                        <a:cubicBezTo>
                          <a:pt x="143551" y="140908"/>
                          <a:pt x="142854" y="143955"/>
                          <a:pt x="141312" y="146487"/>
                        </a:cubicBezTo>
                        <a:cubicBezTo>
                          <a:pt x="143367" y="148616"/>
                          <a:pt x="144725" y="151442"/>
                          <a:pt x="144946" y="154635"/>
                        </a:cubicBezTo>
                        <a:lnTo>
                          <a:pt x="144982" y="155479"/>
                        </a:lnTo>
                        <a:cubicBezTo>
                          <a:pt x="145166" y="158672"/>
                          <a:pt x="144212" y="161645"/>
                          <a:pt x="142413" y="164031"/>
                        </a:cubicBezTo>
                        <a:cubicBezTo>
                          <a:pt x="144248" y="166343"/>
                          <a:pt x="145349" y="169316"/>
                          <a:pt x="145239" y="172509"/>
                        </a:cubicBezTo>
                        <a:lnTo>
                          <a:pt x="145203" y="173353"/>
                        </a:lnTo>
                        <a:cubicBezTo>
                          <a:pt x="145092" y="176583"/>
                          <a:pt x="143808" y="179446"/>
                          <a:pt x="141789" y="181648"/>
                        </a:cubicBezTo>
                        <a:cubicBezTo>
                          <a:pt x="143404" y="184144"/>
                          <a:pt x="144175" y="187227"/>
                          <a:pt x="143734" y="190420"/>
                        </a:cubicBezTo>
                        <a:lnTo>
                          <a:pt x="143624" y="191227"/>
                        </a:lnTo>
                        <a:cubicBezTo>
                          <a:pt x="142817" y="197724"/>
                          <a:pt x="137275" y="202422"/>
                          <a:pt x="130925" y="202422"/>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57" name="Graphic 174">
                    <a:extLst>
                      <a:ext uri="{FF2B5EF4-FFF2-40B4-BE49-F238E27FC236}">
                        <a16:creationId xmlns:a16="http://schemas.microsoft.com/office/drawing/2014/main" id="{4F63AE7B-538D-816A-2750-C6B27303FF3A}"/>
                      </a:ext>
                    </a:extLst>
                  </p:cNvPr>
                  <p:cNvSpPr/>
                  <p:nvPr/>
                </p:nvSpPr>
                <p:spPr>
                  <a:xfrm>
                    <a:off x="2437920" y="3243616"/>
                    <a:ext cx="25980" cy="26234"/>
                  </a:xfrm>
                  <a:custGeom>
                    <a:avLst/>
                    <a:gdLst>
                      <a:gd name="connsiteX0" fmla="*/ 12918 w 25980"/>
                      <a:gd name="connsiteY0" fmla="*/ 26234 h 26234"/>
                      <a:gd name="connsiteX1" fmla="*/ 8551 w 25980"/>
                      <a:gd name="connsiteY1" fmla="*/ 25464 h 26234"/>
                      <a:gd name="connsiteX2" fmla="*/ 770 w 25980"/>
                      <a:gd name="connsiteY2" fmla="*/ 8911 h 26234"/>
                      <a:gd name="connsiteX3" fmla="*/ 17102 w 25980"/>
                      <a:gd name="connsiteY3" fmla="*/ 653 h 26234"/>
                      <a:gd name="connsiteX4" fmla="*/ 25324 w 25980"/>
                      <a:gd name="connsiteY4" fmla="*/ 16949 h 26234"/>
                      <a:gd name="connsiteX5" fmla="*/ 25103 w 25980"/>
                      <a:gd name="connsiteY5" fmla="*/ 17646 h 26234"/>
                      <a:gd name="connsiteX6" fmla="*/ 12918 w 25980"/>
                      <a:gd name="connsiteY6" fmla="*/ 26234 h 2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80" h="26234">
                        <a:moveTo>
                          <a:pt x="12918" y="26234"/>
                        </a:moveTo>
                        <a:cubicBezTo>
                          <a:pt x="11450" y="26234"/>
                          <a:pt x="9982" y="25978"/>
                          <a:pt x="8551" y="25464"/>
                        </a:cubicBezTo>
                        <a:cubicBezTo>
                          <a:pt x="1834" y="23041"/>
                          <a:pt x="-1653" y="15627"/>
                          <a:pt x="770" y="8911"/>
                        </a:cubicBezTo>
                        <a:cubicBezTo>
                          <a:pt x="3008" y="2121"/>
                          <a:pt x="10312" y="-1586"/>
                          <a:pt x="17102" y="653"/>
                        </a:cubicBezTo>
                        <a:cubicBezTo>
                          <a:pt x="23892" y="2892"/>
                          <a:pt x="27562" y="10195"/>
                          <a:pt x="25324" y="16949"/>
                        </a:cubicBezTo>
                        <a:cubicBezTo>
                          <a:pt x="25250" y="17206"/>
                          <a:pt x="25177" y="17426"/>
                          <a:pt x="25103" y="17646"/>
                        </a:cubicBezTo>
                        <a:cubicBezTo>
                          <a:pt x="23195" y="22968"/>
                          <a:pt x="18240" y="26234"/>
                          <a:pt x="12918" y="26234"/>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37" name="Graphic 174">
                  <a:extLst>
                    <a:ext uri="{FF2B5EF4-FFF2-40B4-BE49-F238E27FC236}">
                      <a16:creationId xmlns:a16="http://schemas.microsoft.com/office/drawing/2014/main" id="{121E5498-2312-5157-E988-68D66A46A78F}"/>
                    </a:ext>
                  </a:extLst>
                </p:cNvPr>
                <p:cNvGrpSpPr/>
                <p:nvPr/>
              </p:nvGrpSpPr>
              <p:grpSpPr>
                <a:xfrm>
                  <a:off x="2294712" y="3007463"/>
                  <a:ext cx="229386" cy="158445"/>
                  <a:chOff x="2294712" y="3007463"/>
                  <a:chExt cx="229386" cy="158445"/>
                </a:xfrm>
                <a:solidFill>
                  <a:srgbClr val="10161E"/>
                </a:solidFill>
              </p:grpSpPr>
              <p:sp>
                <p:nvSpPr>
                  <p:cNvPr id="1552" name="Graphic 174">
                    <a:extLst>
                      <a:ext uri="{FF2B5EF4-FFF2-40B4-BE49-F238E27FC236}">
                        <a16:creationId xmlns:a16="http://schemas.microsoft.com/office/drawing/2014/main" id="{DD6EEE98-60CD-641B-57A9-C53A27982EA4}"/>
                      </a:ext>
                    </a:extLst>
                  </p:cNvPr>
                  <p:cNvSpPr/>
                  <p:nvPr/>
                </p:nvSpPr>
                <p:spPr>
                  <a:xfrm>
                    <a:off x="2294712" y="3022005"/>
                    <a:ext cx="26192" cy="26052"/>
                  </a:xfrm>
                  <a:custGeom>
                    <a:avLst/>
                    <a:gdLst>
                      <a:gd name="connsiteX0" fmla="*/ 12949 w 26192"/>
                      <a:gd name="connsiteY0" fmla="*/ 26052 h 26052"/>
                      <a:gd name="connsiteX1" fmla="*/ 1535 w 26192"/>
                      <a:gd name="connsiteY1" fmla="*/ 19225 h 26052"/>
                      <a:gd name="connsiteX2" fmla="*/ 6820 w 26192"/>
                      <a:gd name="connsiteY2" fmla="*/ 1718 h 26052"/>
                      <a:gd name="connsiteX3" fmla="*/ 7150 w 26192"/>
                      <a:gd name="connsiteY3" fmla="*/ 1535 h 26052"/>
                      <a:gd name="connsiteX4" fmla="*/ 24657 w 26192"/>
                      <a:gd name="connsiteY4" fmla="*/ 6820 h 26052"/>
                      <a:gd name="connsiteX5" fmla="*/ 19372 w 26192"/>
                      <a:gd name="connsiteY5" fmla="*/ 24327 h 26052"/>
                      <a:gd name="connsiteX6" fmla="*/ 19042 w 26192"/>
                      <a:gd name="connsiteY6" fmla="*/ 24511 h 26052"/>
                      <a:gd name="connsiteX7" fmla="*/ 12949 w 26192"/>
                      <a:gd name="connsiteY7" fmla="*/ 26052 h 26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92" h="26052">
                        <a:moveTo>
                          <a:pt x="12949" y="26052"/>
                        </a:moveTo>
                        <a:cubicBezTo>
                          <a:pt x="8325" y="26052"/>
                          <a:pt x="3884" y="23556"/>
                          <a:pt x="1535" y="19225"/>
                        </a:cubicBezTo>
                        <a:cubicBezTo>
                          <a:pt x="-1842" y="12913"/>
                          <a:pt x="544" y="5095"/>
                          <a:pt x="6820" y="1718"/>
                        </a:cubicBezTo>
                        <a:lnTo>
                          <a:pt x="7150" y="1535"/>
                        </a:lnTo>
                        <a:cubicBezTo>
                          <a:pt x="13426" y="-1842"/>
                          <a:pt x="21281" y="544"/>
                          <a:pt x="24657" y="6820"/>
                        </a:cubicBezTo>
                        <a:cubicBezTo>
                          <a:pt x="28034" y="13133"/>
                          <a:pt x="25648" y="20950"/>
                          <a:pt x="19372" y="24327"/>
                        </a:cubicBezTo>
                        <a:lnTo>
                          <a:pt x="19042" y="24511"/>
                        </a:lnTo>
                        <a:cubicBezTo>
                          <a:pt x="17097" y="25575"/>
                          <a:pt x="15005" y="26052"/>
                          <a:pt x="12949" y="26052"/>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53" name="Graphic 174">
                    <a:extLst>
                      <a:ext uri="{FF2B5EF4-FFF2-40B4-BE49-F238E27FC236}">
                        <a16:creationId xmlns:a16="http://schemas.microsoft.com/office/drawing/2014/main" id="{CDFDB8C2-166D-7902-84C8-FA7D4C67D28C}"/>
                      </a:ext>
                    </a:extLst>
                  </p:cNvPr>
                  <p:cNvSpPr/>
                  <p:nvPr/>
                </p:nvSpPr>
                <p:spPr>
                  <a:xfrm>
                    <a:off x="2309151" y="3007463"/>
                    <a:ext cx="212971" cy="143434"/>
                  </a:xfrm>
                  <a:custGeom>
                    <a:avLst/>
                    <a:gdLst>
                      <a:gd name="connsiteX0" fmla="*/ 200154 w 212971"/>
                      <a:gd name="connsiteY0" fmla="*/ 143434 h 143434"/>
                      <a:gd name="connsiteX1" fmla="*/ 187492 w 212971"/>
                      <a:gd name="connsiteY1" fmla="*/ 133084 h 143434"/>
                      <a:gd name="connsiteX2" fmla="*/ 187345 w 212971"/>
                      <a:gd name="connsiteY2" fmla="*/ 132387 h 143434"/>
                      <a:gd name="connsiteX3" fmla="*/ 187969 w 212971"/>
                      <a:gd name="connsiteY3" fmla="*/ 124973 h 143434"/>
                      <a:gd name="connsiteX4" fmla="*/ 183638 w 212971"/>
                      <a:gd name="connsiteY4" fmla="*/ 118880 h 143434"/>
                      <a:gd name="connsiteX5" fmla="*/ 183418 w 212971"/>
                      <a:gd name="connsiteY5" fmla="*/ 118220 h 143434"/>
                      <a:gd name="connsiteX6" fmla="*/ 183161 w 212971"/>
                      <a:gd name="connsiteY6" fmla="*/ 110732 h 143434"/>
                      <a:gd name="connsiteX7" fmla="*/ 178133 w 212971"/>
                      <a:gd name="connsiteY7" fmla="*/ 105153 h 143434"/>
                      <a:gd name="connsiteX8" fmla="*/ 177839 w 212971"/>
                      <a:gd name="connsiteY8" fmla="*/ 104529 h 143434"/>
                      <a:gd name="connsiteX9" fmla="*/ 176702 w 212971"/>
                      <a:gd name="connsiteY9" fmla="*/ 97116 h 143434"/>
                      <a:gd name="connsiteX10" fmla="*/ 171049 w 212971"/>
                      <a:gd name="connsiteY10" fmla="*/ 92124 h 143434"/>
                      <a:gd name="connsiteX11" fmla="*/ 170682 w 212971"/>
                      <a:gd name="connsiteY11" fmla="*/ 91537 h 143434"/>
                      <a:gd name="connsiteX12" fmla="*/ 168737 w 212971"/>
                      <a:gd name="connsiteY12" fmla="*/ 84270 h 143434"/>
                      <a:gd name="connsiteX13" fmla="*/ 162571 w 212971"/>
                      <a:gd name="connsiteY13" fmla="*/ 79939 h 143434"/>
                      <a:gd name="connsiteX14" fmla="*/ 162131 w 212971"/>
                      <a:gd name="connsiteY14" fmla="*/ 79388 h 143434"/>
                      <a:gd name="connsiteX15" fmla="*/ 159415 w 212971"/>
                      <a:gd name="connsiteY15" fmla="*/ 72341 h 143434"/>
                      <a:gd name="connsiteX16" fmla="*/ 152808 w 212971"/>
                      <a:gd name="connsiteY16" fmla="*/ 68671 h 143434"/>
                      <a:gd name="connsiteX17" fmla="*/ 152331 w 212971"/>
                      <a:gd name="connsiteY17" fmla="*/ 68157 h 143434"/>
                      <a:gd name="connsiteX18" fmla="*/ 148881 w 212971"/>
                      <a:gd name="connsiteY18" fmla="*/ 61404 h 143434"/>
                      <a:gd name="connsiteX19" fmla="*/ 141908 w 212971"/>
                      <a:gd name="connsiteY19" fmla="*/ 58394 h 143434"/>
                      <a:gd name="connsiteX20" fmla="*/ 141357 w 212971"/>
                      <a:gd name="connsiteY20" fmla="*/ 57917 h 143434"/>
                      <a:gd name="connsiteX21" fmla="*/ 137246 w 212971"/>
                      <a:gd name="connsiteY21" fmla="*/ 51531 h 143434"/>
                      <a:gd name="connsiteX22" fmla="*/ 130016 w 212971"/>
                      <a:gd name="connsiteY22" fmla="*/ 49219 h 143434"/>
                      <a:gd name="connsiteX23" fmla="*/ 129429 w 212971"/>
                      <a:gd name="connsiteY23" fmla="*/ 48815 h 143434"/>
                      <a:gd name="connsiteX24" fmla="*/ 124731 w 212971"/>
                      <a:gd name="connsiteY24" fmla="*/ 42906 h 143434"/>
                      <a:gd name="connsiteX25" fmla="*/ 117354 w 212971"/>
                      <a:gd name="connsiteY25" fmla="*/ 41365 h 143434"/>
                      <a:gd name="connsiteX26" fmla="*/ 116730 w 212971"/>
                      <a:gd name="connsiteY26" fmla="*/ 41034 h 143434"/>
                      <a:gd name="connsiteX27" fmla="*/ 111445 w 212971"/>
                      <a:gd name="connsiteY27" fmla="*/ 35676 h 143434"/>
                      <a:gd name="connsiteX28" fmla="*/ 103957 w 212971"/>
                      <a:gd name="connsiteY28" fmla="*/ 34942 h 143434"/>
                      <a:gd name="connsiteX29" fmla="*/ 103333 w 212971"/>
                      <a:gd name="connsiteY29" fmla="*/ 34685 h 143434"/>
                      <a:gd name="connsiteX30" fmla="*/ 97498 w 212971"/>
                      <a:gd name="connsiteY30" fmla="*/ 29987 h 143434"/>
                      <a:gd name="connsiteX31" fmla="*/ 90047 w 212971"/>
                      <a:gd name="connsiteY31" fmla="*/ 30134 h 143434"/>
                      <a:gd name="connsiteX32" fmla="*/ 89386 w 212971"/>
                      <a:gd name="connsiteY32" fmla="*/ 29950 h 143434"/>
                      <a:gd name="connsiteX33" fmla="*/ 83074 w 212971"/>
                      <a:gd name="connsiteY33" fmla="*/ 26023 h 143434"/>
                      <a:gd name="connsiteX34" fmla="*/ 75696 w 212971"/>
                      <a:gd name="connsiteY34" fmla="*/ 27087 h 143434"/>
                      <a:gd name="connsiteX35" fmla="*/ 75036 w 212971"/>
                      <a:gd name="connsiteY35" fmla="*/ 27051 h 143434"/>
                      <a:gd name="connsiteX36" fmla="*/ 68319 w 212971"/>
                      <a:gd name="connsiteY36" fmla="*/ 23931 h 143434"/>
                      <a:gd name="connsiteX37" fmla="*/ 61162 w 212971"/>
                      <a:gd name="connsiteY37" fmla="*/ 25913 h 143434"/>
                      <a:gd name="connsiteX38" fmla="*/ 60465 w 212971"/>
                      <a:gd name="connsiteY38" fmla="*/ 25913 h 143434"/>
                      <a:gd name="connsiteX39" fmla="*/ 53418 w 212971"/>
                      <a:gd name="connsiteY39" fmla="*/ 23711 h 143434"/>
                      <a:gd name="connsiteX40" fmla="*/ 46628 w 212971"/>
                      <a:gd name="connsiteY40" fmla="*/ 26610 h 143434"/>
                      <a:gd name="connsiteX41" fmla="*/ 45931 w 212971"/>
                      <a:gd name="connsiteY41" fmla="*/ 26684 h 143434"/>
                      <a:gd name="connsiteX42" fmla="*/ 38663 w 212971"/>
                      <a:gd name="connsiteY42" fmla="*/ 25399 h 143434"/>
                      <a:gd name="connsiteX43" fmla="*/ 32314 w 212971"/>
                      <a:gd name="connsiteY43" fmla="*/ 29143 h 143434"/>
                      <a:gd name="connsiteX44" fmla="*/ 31617 w 212971"/>
                      <a:gd name="connsiteY44" fmla="*/ 29326 h 143434"/>
                      <a:gd name="connsiteX45" fmla="*/ 24203 w 212971"/>
                      <a:gd name="connsiteY45" fmla="*/ 28996 h 143434"/>
                      <a:gd name="connsiteX46" fmla="*/ 18330 w 212971"/>
                      <a:gd name="connsiteY46" fmla="*/ 33547 h 143434"/>
                      <a:gd name="connsiteX47" fmla="*/ 17670 w 212971"/>
                      <a:gd name="connsiteY47" fmla="*/ 33804 h 143434"/>
                      <a:gd name="connsiteX48" fmla="*/ 897 w 212971"/>
                      <a:gd name="connsiteY48" fmla="*/ 26500 h 143434"/>
                      <a:gd name="connsiteX49" fmla="*/ 8200 w 212971"/>
                      <a:gd name="connsiteY49" fmla="*/ 9727 h 143434"/>
                      <a:gd name="connsiteX50" fmla="*/ 9008 w 212971"/>
                      <a:gd name="connsiteY50" fmla="*/ 9397 h 143434"/>
                      <a:gd name="connsiteX51" fmla="*/ 17890 w 212971"/>
                      <a:gd name="connsiteY51" fmla="*/ 9250 h 143434"/>
                      <a:gd name="connsiteX52" fmla="*/ 25230 w 212971"/>
                      <a:gd name="connsiteY52" fmla="*/ 4222 h 143434"/>
                      <a:gd name="connsiteX53" fmla="*/ 26038 w 212971"/>
                      <a:gd name="connsiteY53" fmla="*/ 4001 h 143434"/>
                      <a:gd name="connsiteX54" fmla="*/ 34920 w 212971"/>
                      <a:gd name="connsiteY54" fmla="*/ 4992 h 143434"/>
                      <a:gd name="connsiteX55" fmla="*/ 42884 w 212971"/>
                      <a:gd name="connsiteY55" fmla="*/ 955 h 143434"/>
                      <a:gd name="connsiteX56" fmla="*/ 43728 w 212971"/>
                      <a:gd name="connsiteY56" fmla="*/ 845 h 143434"/>
                      <a:gd name="connsiteX57" fmla="*/ 52427 w 212971"/>
                      <a:gd name="connsiteY57" fmla="*/ 2974 h 143434"/>
                      <a:gd name="connsiteX58" fmla="*/ 60832 w 212971"/>
                      <a:gd name="connsiteY58" fmla="*/ 1 h 143434"/>
                      <a:gd name="connsiteX59" fmla="*/ 61713 w 212971"/>
                      <a:gd name="connsiteY59" fmla="*/ 1 h 143434"/>
                      <a:gd name="connsiteX60" fmla="*/ 70007 w 212971"/>
                      <a:gd name="connsiteY60" fmla="*/ 3231 h 143434"/>
                      <a:gd name="connsiteX61" fmla="*/ 78706 w 212971"/>
                      <a:gd name="connsiteY61" fmla="*/ 1396 h 143434"/>
                      <a:gd name="connsiteX62" fmla="*/ 79550 w 212971"/>
                      <a:gd name="connsiteY62" fmla="*/ 1506 h 143434"/>
                      <a:gd name="connsiteX63" fmla="*/ 87331 w 212971"/>
                      <a:gd name="connsiteY63" fmla="*/ 5763 h 143434"/>
                      <a:gd name="connsiteX64" fmla="*/ 96176 w 212971"/>
                      <a:gd name="connsiteY64" fmla="*/ 5029 h 143434"/>
                      <a:gd name="connsiteX65" fmla="*/ 96984 w 212971"/>
                      <a:gd name="connsiteY65" fmla="*/ 5249 h 143434"/>
                      <a:gd name="connsiteX66" fmla="*/ 104177 w 212971"/>
                      <a:gd name="connsiteY66" fmla="*/ 10424 h 143434"/>
                      <a:gd name="connsiteX67" fmla="*/ 113023 w 212971"/>
                      <a:gd name="connsiteY67" fmla="*/ 10755 h 143434"/>
                      <a:gd name="connsiteX68" fmla="*/ 113830 w 212971"/>
                      <a:gd name="connsiteY68" fmla="*/ 11085 h 143434"/>
                      <a:gd name="connsiteX69" fmla="*/ 120327 w 212971"/>
                      <a:gd name="connsiteY69" fmla="*/ 17031 h 143434"/>
                      <a:gd name="connsiteX70" fmla="*/ 129025 w 212971"/>
                      <a:gd name="connsiteY70" fmla="*/ 18352 h 143434"/>
                      <a:gd name="connsiteX71" fmla="*/ 129759 w 212971"/>
                      <a:gd name="connsiteY71" fmla="*/ 18756 h 143434"/>
                      <a:gd name="connsiteX72" fmla="*/ 135558 w 212971"/>
                      <a:gd name="connsiteY72" fmla="*/ 25326 h 143434"/>
                      <a:gd name="connsiteX73" fmla="*/ 144036 w 212971"/>
                      <a:gd name="connsiteY73" fmla="*/ 27564 h 143434"/>
                      <a:gd name="connsiteX74" fmla="*/ 144697 w 212971"/>
                      <a:gd name="connsiteY74" fmla="*/ 28042 h 143434"/>
                      <a:gd name="connsiteX75" fmla="*/ 149762 w 212971"/>
                      <a:gd name="connsiteY75" fmla="*/ 35162 h 143434"/>
                      <a:gd name="connsiteX76" fmla="*/ 157947 w 212971"/>
                      <a:gd name="connsiteY76" fmla="*/ 38208 h 143434"/>
                      <a:gd name="connsiteX77" fmla="*/ 158570 w 212971"/>
                      <a:gd name="connsiteY77" fmla="*/ 38759 h 143434"/>
                      <a:gd name="connsiteX78" fmla="*/ 162938 w 212971"/>
                      <a:gd name="connsiteY78" fmla="*/ 46356 h 143434"/>
                      <a:gd name="connsiteX79" fmla="*/ 170792 w 212971"/>
                      <a:gd name="connsiteY79" fmla="*/ 50210 h 143434"/>
                      <a:gd name="connsiteX80" fmla="*/ 171380 w 212971"/>
                      <a:gd name="connsiteY80" fmla="*/ 50834 h 143434"/>
                      <a:gd name="connsiteX81" fmla="*/ 174940 w 212971"/>
                      <a:gd name="connsiteY81" fmla="*/ 58835 h 143434"/>
                      <a:gd name="connsiteX82" fmla="*/ 182390 w 212971"/>
                      <a:gd name="connsiteY82" fmla="*/ 63496 h 143434"/>
                      <a:gd name="connsiteX83" fmla="*/ 182904 w 212971"/>
                      <a:gd name="connsiteY83" fmla="*/ 64157 h 143434"/>
                      <a:gd name="connsiteX84" fmla="*/ 185620 w 212971"/>
                      <a:gd name="connsiteY84" fmla="*/ 72525 h 143434"/>
                      <a:gd name="connsiteX85" fmla="*/ 192557 w 212971"/>
                      <a:gd name="connsiteY85" fmla="*/ 77957 h 143434"/>
                      <a:gd name="connsiteX86" fmla="*/ 192997 w 212971"/>
                      <a:gd name="connsiteY86" fmla="*/ 78691 h 143434"/>
                      <a:gd name="connsiteX87" fmla="*/ 194759 w 212971"/>
                      <a:gd name="connsiteY87" fmla="*/ 87316 h 143434"/>
                      <a:gd name="connsiteX88" fmla="*/ 201035 w 212971"/>
                      <a:gd name="connsiteY88" fmla="*/ 93519 h 143434"/>
                      <a:gd name="connsiteX89" fmla="*/ 201402 w 212971"/>
                      <a:gd name="connsiteY89" fmla="*/ 94290 h 143434"/>
                      <a:gd name="connsiteX90" fmla="*/ 202210 w 212971"/>
                      <a:gd name="connsiteY90" fmla="*/ 103061 h 143434"/>
                      <a:gd name="connsiteX91" fmla="*/ 207752 w 212971"/>
                      <a:gd name="connsiteY91" fmla="*/ 109925 h 143434"/>
                      <a:gd name="connsiteX92" fmla="*/ 208009 w 212971"/>
                      <a:gd name="connsiteY92" fmla="*/ 110732 h 143434"/>
                      <a:gd name="connsiteX93" fmla="*/ 207789 w 212971"/>
                      <a:gd name="connsiteY93" fmla="*/ 119578 h 143434"/>
                      <a:gd name="connsiteX94" fmla="*/ 212523 w 212971"/>
                      <a:gd name="connsiteY94" fmla="*/ 127138 h 143434"/>
                      <a:gd name="connsiteX95" fmla="*/ 212707 w 212971"/>
                      <a:gd name="connsiteY95" fmla="*/ 127946 h 143434"/>
                      <a:gd name="connsiteX96" fmla="*/ 202650 w 212971"/>
                      <a:gd name="connsiteY96" fmla="*/ 143214 h 143434"/>
                      <a:gd name="connsiteX97" fmla="*/ 200154 w 212971"/>
                      <a:gd name="connsiteY97" fmla="*/ 143434 h 1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12971" h="143434">
                        <a:moveTo>
                          <a:pt x="200154" y="143434"/>
                        </a:moveTo>
                        <a:cubicBezTo>
                          <a:pt x="194135" y="143434"/>
                          <a:pt x="188740" y="139213"/>
                          <a:pt x="187492" y="133084"/>
                        </a:cubicBezTo>
                        <a:lnTo>
                          <a:pt x="187345" y="132387"/>
                        </a:lnTo>
                        <a:cubicBezTo>
                          <a:pt x="186795" y="129817"/>
                          <a:pt x="187088" y="127248"/>
                          <a:pt x="187969" y="124973"/>
                        </a:cubicBezTo>
                        <a:cubicBezTo>
                          <a:pt x="186024" y="123468"/>
                          <a:pt x="184482" y="121376"/>
                          <a:pt x="183638" y="118880"/>
                        </a:cubicBezTo>
                        <a:lnTo>
                          <a:pt x="183418" y="118220"/>
                        </a:lnTo>
                        <a:cubicBezTo>
                          <a:pt x="182574" y="115724"/>
                          <a:pt x="182501" y="113118"/>
                          <a:pt x="183161" y="110732"/>
                        </a:cubicBezTo>
                        <a:cubicBezTo>
                          <a:pt x="181032" y="109448"/>
                          <a:pt x="179271" y="107576"/>
                          <a:pt x="178133" y="105153"/>
                        </a:cubicBezTo>
                        <a:lnTo>
                          <a:pt x="177839" y="104529"/>
                        </a:lnTo>
                        <a:cubicBezTo>
                          <a:pt x="176702" y="102144"/>
                          <a:pt x="176371" y="99538"/>
                          <a:pt x="176702" y="97116"/>
                        </a:cubicBezTo>
                        <a:cubicBezTo>
                          <a:pt x="174463" y="96088"/>
                          <a:pt x="172444" y="94400"/>
                          <a:pt x="171049" y="92124"/>
                        </a:cubicBezTo>
                        <a:lnTo>
                          <a:pt x="170682" y="91537"/>
                        </a:lnTo>
                        <a:cubicBezTo>
                          <a:pt x="169288" y="89261"/>
                          <a:pt x="168664" y="86729"/>
                          <a:pt x="168737" y="84270"/>
                        </a:cubicBezTo>
                        <a:cubicBezTo>
                          <a:pt x="166388" y="83499"/>
                          <a:pt x="164223" y="82031"/>
                          <a:pt x="162571" y="79939"/>
                        </a:cubicBezTo>
                        <a:lnTo>
                          <a:pt x="162131" y="79388"/>
                        </a:lnTo>
                        <a:cubicBezTo>
                          <a:pt x="160479" y="77296"/>
                          <a:pt x="159598" y="74837"/>
                          <a:pt x="159415" y="72341"/>
                        </a:cubicBezTo>
                        <a:cubicBezTo>
                          <a:pt x="156992" y="71828"/>
                          <a:pt x="154680" y="70580"/>
                          <a:pt x="152808" y="68671"/>
                        </a:cubicBezTo>
                        <a:lnTo>
                          <a:pt x="152331" y="68157"/>
                        </a:lnTo>
                        <a:cubicBezTo>
                          <a:pt x="150459" y="66249"/>
                          <a:pt x="149322" y="63863"/>
                          <a:pt x="148881" y="61404"/>
                        </a:cubicBezTo>
                        <a:cubicBezTo>
                          <a:pt x="146385" y="61147"/>
                          <a:pt x="143963" y="60156"/>
                          <a:pt x="141908" y="58394"/>
                        </a:cubicBezTo>
                        <a:lnTo>
                          <a:pt x="141357" y="57917"/>
                        </a:lnTo>
                        <a:cubicBezTo>
                          <a:pt x="139302" y="56192"/>
                          <a:pt x="137907" y="53953"/>
                          <a:pt x="137246" y="51531"/>
                        </a:cubicBezTo>
                        <a:cubicBezTo>
                          <a:pt x="134751" y="51494"/>
                          <a:pt x="132218" y="50760"/>
                          <a:pt x="130016" y="49219"/>
                        </a:cubicBezTo>
                        <a:lnTo>
                          <a:pt x="129429" y="48815"/>
                        </a:lnTo>
                        <a:cubicBezTo>
                          <a:pt x="127227" y="47310"/>
                          <a:pt x="125648" y="45218"/>
                          <a:pt x="124731" y="42906"/>
                        </a:cubicBezTo>
                        <a:cubicBezTo>
                          <a:pt x="122235" y="43126"/>
                          <a:pt x="119703" y="42649"/>
                          <a:pt x="117354" y="41365"/>
                        </a:cubicBezTo>
                        <a:lnTo>
                          <a:pt x="116730" y="41034"/>
                        </a:lnTo>
                        <a:cubicBezTo>
                          <a:pt x="114381" y="39750"/>
                          <a:pt x="112582" y="37878"/>
                          <a:pt x="111445" y="35676"/>
                        </a:cubicBezTo>
                        <a:cubicBezTo>
                          <a:pt x="109022" y="36153"/>
                          <a:pt x="106416" y="35969"/>
                          <a:pt x="103957" y="34942"/>
                        </a:cubicBezTo>
                        <a:lnTo>
                          <a:pt x="103333" y="34685"/>
                        </a:lnTo>
                        <a:cubicBezTo>
                          <a:pt x="100874" y="33694"/>
                          <a:pt x="98892" y="32042"/>
                          <a:pt x="97498" y="29987"/>
                        </a:cubicBezTo>
                        <a:cubicBezTo>
                          <a:pt x="95149" y="30758"/>
                          <a:pt x="92579" y="30831"/>
                          <a:pt x="90047" y="30134"/>
                        </a:cubicBezTo>
                        <a:lnTo>
                          <a:pt x="89386" y="29950"/>
                        </a:lnTo>
                        <a:cubicBezTo>
                          <a:pt x="86854" y="29253"/>
                          <a:pt x="84688" y="27858"/>
                          <a:pt x="83074" y="26023"/>
                        </a:cubicBezTo>
                        <a:cubicBezTo>
                          <a:pt x="80835" y="27051"/>
                          <a:pt x="78302" y="27454"/>
                          <a:pt x="75696" y="27087"/>
                        </a:cubicBezTo>
                        <a:lnTo>
                          <a:pt x="75036" y="27051"/>
                        </a:lnTo>
                        <a:cubicBezTo>
                          <a:pt x="72430" y="26684"/>
                          <a:pt x="70118" y="25546"/>
                          <a:pt x="68319" y="23931"/>
                        </a:cubicBezTo>
                        <a:cubicBezTo>
                          <a:pt x="66264" y="25215"/>
                          <a:pt x="63805" y="25950"/>
                          <a:pt x="61162" y="25913"/>
                        </a:cubicBezTo>
                        <a:lnTo>
                          <a:pt x="60465" y="25913"/>
                        </a:lnTo>
                        <a:cubicBezTo>
                          <a:pt x="57859" y="25876"/>
                          <a:pt x="55437" y="25069"/>
                          <a:pt x="53418" y="23711"/>
                        </a:cubicBezTo>
                        <a:cubicBezTo>
                          <a:pt x="51546" y="25252"/>
                          <a:pt x="49234" y="26317"/>
                          <a:pt x="46628" y="26610"/>
                        </a:cubicBezTo>
                        <a:lnTo>
                          <a:pt x="45931" y="26684"/>
                        </a:lnTo>
                        <a:cubicBezTo>
                          <a:pt x="43325" y="26977"/>
                          <a:pt x="40829" y="26500"/>
                          <a:pt x="38663" y="25399"/>
                        </a:cubicBezTo>
                        <a:cubicBezTo>
                          <a:pt x="37012" y="27197"/>
                          <a:pt x="34846" y="28519"/>
                          <a:pt x="32314" y="29143"/>
                        </a:cubicBezTo>
                        <a:lnTo>
                          <a:pt x="31617" y="29326"/>
                        </a:lnTo>
                        <a:cubicBezTo>
                          <a:pt x="29084" y="29987"/>
                          <a:pt x="26515" y="29803"/>
                          <a:pt x="24203" y="28996"/>
                        </a:cubicBezTo>
                        <a:cubicBezTo>
                          <a:pt x="22771" y="30978"/>
                          <a:pt x="20789" y="32593"/>
                          <a:pt x="18330" y="33547"/>
                        </a:cubicBezTo>
                        <a:lnTo>
                          <a:pt x="17670" y="33804"/>
                        </a:lnTo>
                        <a:cubicBezTo>
                          <a:pt x="11027" y="36410"/>
                          <a:pt x="3539" y="33143"/>
                          <a:pt x="897" y="26500"/>
                        </a:cubicBezTo>
                        <a:cubicBezTo>
                          <a:pt x="-1709" y="19857"/>
                          <a:pt x="1557" y="12370"/>
                          <a:pt x="8200" y="9727"/>
                        </a:cubicBezTo>
                        <a:lnTo>
                          <a:pt x="9008" y="9397"/>
                        </a:lnTo>
                        <a:cubicBezTo>
                          <a:pt x="11981" y="8259"/>
                          <a:pt x="15101" y="8259"/>
                          <a:pt x="17890" y="9250"/>
                        </a:cubicBezTo>
                        <a:cubicBezTo>
                          <a:pt x="19615" y="6828"/>
                          <a:pt x="22147" y="4992"/>
                          <a:pt x="25230" y="4222"/>
                        </a:cubicBezTo>
                        <a:lnTo>
                          <a:pt x="26038" y="4001"/>
                        </a:lnTo>
                        <a:cubicBezTo>
                          <a:pt x="29158" y="3231"/>
                          <a:pt x="32277" y="3634"/>
                          <a:pt x="34920" y="4992"/>
                        </a:cubicBezTo>
                        <a:cubicBezTo>
                          <a:pt x="36938" y="2827"/>
                          <a:pt x="39691" y="1322"/>
                          <a:pt x="42884" y="955"/>
                        </a:cubicBezTo>
                        <a:lnTo>
                          <a:pt x="43728" y="845"/>
                        </a:lnTo>
                        <a:cubicBezTo>
                          <a:pt x="46922" y="478"/>
                          <a:pt x="49968" y="1322"/>
                          <a:pt x="52427" y="2974"/>
                        </a:cubicBezTo>
                        <a:cubicBezTo>
                          <a:pt x="54703" y="1102"/>
                          <a:pt x="57675" y="-36"/>
                          <a:pt x="60832" y="1"/>
                        </a:cubicBezTo>
                        <a:lnTo>
                          <a:pt x="61713" y="1"/>
                        </a:lnTo>
                        <a:cubicBezTo>
                          <a:pt x="64906" y="74"/>
                          <a:pt x="67805" y="1285"/>
                          <a:pt x="70007" y="3231"/>
                        </a:cubicBezTo>
                        <a:cubicBezTo>
                          <a:pt x="72503" y="1652"/>
                          <a:pt x="75549" y="918"/>
                          <a:pt x="78706" y="1396"/>
                        </a:cubicBezTo>
                        <a:lnTo>
                          <a:pt x="79550" y="1506"/>
                        </a:lnTo>
                        <a:cubicBezTo>
                          <a:pt x="82706" y="1983"/>
                          <a:pt x="85386" y="3561"/>
                          <a:pt x="87331" y="5763"/>
                        </a:cubicBezTo>
                        <a:cubicBezTo>
                          <a:pt x="90010" y="4515"/>
                          <a:pt x="93130" y="4185"/>
                          <a:pt x="96176" y="5029"/>
                        </a:cubicBezTo>
                        <a:lnTo>
                          <a:pt x="96984" y="5249"/>
                        </a:lnTo>
                        <a:cubicBezTo>
                          <a:pt x="100030" y="6093"/>
                          <a:pt x="102526" y="8002"/>
                          <a:pt x="104177" y="10424"/>
                        </a:cubicBezTo>
                        <a:cubicBezTo>
                          <a:pt x="106967" y="9507"/>
                          <a:pt x="110087" y="9544"/>
                          <a:pt x="113023" y="10755"/>
                        </a:cubicBezTo>
                        <a:lnTo>
                          <a:pt x="113830" y="11085"/>
                        </a:lnTo>
                        <a:cubicBezTo>
                          <a:pt x="116730" y="12296"/>
                          <a:pt x="118969" y="14425"/>
                          <a:pt x="120327" y="17031"/>
                        </a:cubicBezTo>
                        <a:cubicBezTo>
                          <a:pt x="123189" y="16444"/>
                          <a:pt x="126272" y="16847"/>
                          <a:pt x="129025" y="18352"/>
                        </a:cubicBezTo>
                        <a:lnTo>
                          <a:pt x="129759" y="18756"/>
                        </a:lnTo>
                        <a:cubicBezTo>
                          <a:pt x="132512" y="20261"/>
                          <a:pt x="134494" y="22646"/>
                          <a:pt x="135558" y="25326"/>
                        </a:cubicBezTo>
                        <a:cubicBezTo>
                          <a:pt x="138458" y="25069"/>
                          <a:pt x="141467" y="25766"/>
                          <a:pt x="144036" y="27564"/>
                        </a:cubicBezTo>
                        <a:lnTo>
                          <a:pt x="144697" y="28042"/>
                        </a:lnTo>
                        <a:cubicBezTo>
                          <a:pt x="147266" y="29840"/>
                          <a:pt x="148991" y="32372"/>
                          <a:pt x="149762" y="35162"/>
                        </a:cubicBezTo>
                        <a:cubicBezTo>
                          <a:pt x="152661" y="35199"/>
                          <a:pt x="155561" y="36189"/>
                          <a:pt x="157947" y="38208"/>
                        </a:cubicBezTo>
                        <a:lnTo>
                          <a:pt x="158570" y="38759"/>
                        </a:lnTo>
                        <a:cubicBezTo>
                          <a:pt x="160956" y="40777"/>
                          <a:pt x="162424" y="43493"/>
                          <a:pt x="162938" y="46356"/>
                        </a:cubicBezTo>
                        <a:cubicBezTo>
                          <a:pt x="165838" y="46686"/>
                          <a:pt x="168627" y="47934"/>
                          <a:pt x="170792" y="50210"/>
                        </a:cubicBezTo>
                        <a:lnTo>
                          <a:pt x="171380" y="50834"/>
                        </a:lnTo>
                        <a:cubicBezTo>
                          <a:pt x="173545" y="53109"/>
                          <a:pt x="174720" y="55935"/>
                          <a:pt x="174940" y="58835"/>
                        </a:cubicBezTo>
                        <a:cubicBezTo>
                          <a:pt x="177803" y="59459"/>
                          <a:pt x="180445" y="61000"/>
                          <a:pt x="182390" y="63496"/>
                        </a:cubicBezTo>
                        <a:lnTo>
                          <a:pt x="182904" y="64157"/>
                        </a:lnTo>
                        <a:cubicBezTo>
                          <a:pt x="184849" y="66653"/>
                          <a:pt x="185730" y="69589"/>
                          <a:pt x="185620" y="72525"/>
                        </a:cubicBezTo>
                        <a:cubicBezTo>
                          <a:pt x="188410" y="73443"/>
                          <a:pt x="190869" y="75278"/>
                          <a:pt x="192557" y="77957"/>
                        </a:cubicBezTo>
                        <a:lnTo>
                          <a:pt x="192997" y="78691"/>
                        </a:lnTo>
                        <a:cubicBezTo>
                          <a:pt x="194649" y="81370"/>
                          <a:pt x="195200" y="84417"/>
                          <a:pt x="194759" y="87316"/>
                        </a:cubicBezTo>
                        <a:cubicBezTo>
                          <a:pt x="197402" y="88527"/>
                          <a:pt x="199677" y="90656"/>
                          <a:pt x="201035" y="93519"/>
                        </a:cubicBezTo>
                        <a:lnTo>
                          <a:pt x="201402" y="94290"/>
                        </a:lnTo>
                        <a:cubicBezTo>
                          <a:pt x="202724" y="97152"/>
                          <a:pt x="202944" y="100235"/>
                          <a:pt x="202210" y="103061"/>
                        </a:cubicBezTo>
                        <a:cubicBezTo>
                          <a:pt x="204706" y="104566"/>
                          <a:pt x="206724" y="106952"/>
                          <a:pt x="207752" y="109925"/>
                        </a:cubicBezTo>
                        <a:lnTo>
                          <a:pt x="208009" y="110732"/>
                        </a:lnTo>
                        <a:cubicBezTo>
                          <a:pt x="209036" y="113742"/>
                          <a:pt x="208853" y="116862"/>
                          <a:pt x="207789" y="119578"/>
                        </a:cubicBezTo>
                        <a:cubicBezTo>
                          <a:pt x="210137" y="121376"/>
                          <a:pt x="211862" y="124019"/>
                          <a:pt x="212523" y="127138"/>
                        </a:cubicBezTo>
                        <a:lnTo>
                          <a:pt x="212707" y="127946"/>
                        </a:lnTo>
                        <a:cubicBezTo>
                          <a:pt x="214138" y="134956"/>
                          <a:pt x="209624" y="141783"/>
                          <a:pt x="202650" y="143214"/>
                        </a:cubicBezTo>
                        <a:cubicBezTo>
                          <a:pt x="201879" y="143361"/>
                          <a:pt x="200999" y="143434"/>
                          <a:pt x="200154" y="143434"/>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54" name="Graphic 174">
                    <a:extLst>
                      <a:ext uri="{FF2B5EF4-FFF2-40B4-BE49-F238E27FC236}">
                        <a16:creationId xmlns:a16="http://schemas.microsoft.com/office/drawing/2014/main" id="{DE4B7CCA-A530-65C3-0395-89C8632B308B}"/>
                      </a:ext>
                    </a:extLst>
                  </p:cNvPr>
                  <p:cNvSpPr/>
                  <p:nvPr/>
                </p:nvSpPr>
                <p:spPr>
                  <a:xfrm>
                    <a:off x="2498247" y="3139666"/>
                    <a:ext cx="25851" cy="26242"/>
                  </a:xfrm>
                  <a:custGeom>
                    <a:avLst/>
                    <a:gdLst>
                      <a:gd name="connsiteX0" fmla="*/ 12930 w 25851"/>
                      <a:gd name="connsiteY0" fmla="*/ 26242 h 26242"/>
                      <a:gd name="connsiteX1" fmla="*/ 12417 w 25851"/>
                      <a:gd name="connsiteY1" fmla="*/ 26242 h 26242"/>
                      <a:gd name="connsiteX2" fmla="*/ 11 w 25851"/>
                      <a:gd name="connsiteY2" fmla="*/ 12809 h 26242"/>
                      <a:gd name="connsiteX3" fmla="*/ 12930 w 25851"/>
                      <a:gd name="connsiteY3" fmla="*/ 0 h 26242"/>
                      <a:gd name="connsiteX4" fmla="*/ 13077 w 25851"/>
                      <a:gd name="connsiteY4" fmla="*/ 0 h 26242"/>
                      <a:gd name="connsiteX5" fmla="*/ 25850 w 25851"/>
                      <a:gd name="connsiteY5" fmla="*/ 13066 h 26242"/>
                      <a:gd name="connsiteX6" fmla="*/ 25813 w 25851"/>
                      <a:gd name="connsiteY6" fmla="*/ 13837 h 26242"/>
                      <a:gd name="connsiteX7" fmla="*/ 12930 w 25851"/>
                      <a:gd name="connsiteY7" fmla="*/ 26242 h 2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51" h="26242">
                        <a:moveTo>
                          <a:pt x="12930" y="26242"/>
                        </a:moveTo>
                        <a:cubicBezTo>
                          <a:pt x="12747" y="26242"/>
                          <a:pt x="12563" y="26242"/>
                          <a:pt x="12417" y="26242"/>
                        </a:cubicBezTo>
                        <a:cubicBezTo>
                          <a:pt x="5296" y="25949"/>
                          <a:pt x="-283" y="19929"/>
                          <a:pt x="11" y="12809"/>
                        </a:cubicBezTo>
                        <a:cubicBezTo>
                          <a:pt x="85" y="5726"/>
                          <a:pt x="5847" y="0"/>
                          <a:pt x="12930" y="0"/>
                        </a:cubicBezTo>
                        <a:cubicBezTo>
                          <a:pt x="12967" y="0"/>
                          <a:pt x="13040" y="0"/>
                          <a:pt x="13077" y="0"/>
                        </a:cubicBezTo>
                        <a:cubicBezTo>
                          <a:pt x="20234" y="73"/>
                          <a:pt x="25960" y="5909"/>
                          <a:pt x="25850" y="13066"/>
                        </a:cubicBezTo>
                        <a:cubicBezTo>
                          <a:pt x="25850" y="13360"/>
                          <a:pt x="25850" y="13617"/>
                          <a:pt x="25813" y="13837"/>
                        </a:cubicBezTo>
                        <a:cubicBezTo>
                          <a:pt x="25556" y="20810"/>
                          <a:pt x="19830" y="26242"/>
                          <a:pt x="12930" y="26242"/>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38" name="Graphic 174">
                  <a:extLst>
                    <a:ext uri="{FF2B5EF4-FFF2-40B4-BE49-F238E27FC236}">
                      <a16:creationId xmlns:a16="http://schemas.microsoft.com/office/drawing/2014/main" id="{943C6BFA-EDF7-C054-4A6A-FB26A304E4F7}"/>
                    </a:ext>
                  </a:extLst>
                </p:cNvPr>
                <p:cNvGrpSpPr/>
                <p:nvPr/>
              </p:nvGrpSpPr>
              <p:grpSpPr>
                <a:xfrm>
                  <a:off x="2133799" y="3031557"/>
                  <a:ext cx="191289" cy="191938"/>
                  <a:chOff x="2133799" y="3031557"/>
                  <a:chExt cx="191289" cy="191938"/>
                </a:xfrm>
                <a:solidFill>
                  <a:srgbClr val="10161E"/>
                </a:solidFill>
              </p:grpSpPr>
              <p:sp>
                <p:nvSpPr>
                  <p:cNvPr id="1549" name="Graphic 174">
                    <a:extLst>
                      <a:ext uri="{FF2B5EF4-FFF2-40B4-BE49-F238E27FC236}">
                        <a16:creationId xmlns:a16="http://schemas.microsoft.com/office/drawing/2014/main" id="{902E2573-55D4-AD0E-D639-6BA4DB7C8D49}"/>
                      </a:ext>
                    </a:extLst>
                  </p:cNvPr>
                  <p:cNvSpPr/>
                  <p:nvPr/>
                </p:nvSpPr>
                <p:spPr>
                  <a:xfrm>
                    <a:off x="2134753" y="3032065"/>
                    <a:ext cx="174476" cy="173445"/>
                  </a:xfrm>
                  <a:custGeom>
                    <a:avLst/>
                    <a:gdLst>
                      <a:gd name="connsiteX0" fmla="*/ 12959 w 174476"/>
                      <a:gd name="connsiteY0" fmla="*/ 173445 h 173445"/>
                      <a:gd name="connsiteX1" fmla="*/ 11528 w 174476"/>
                      <a:gd name="connsiteY1" fmla="*/ 173372 h 173445"/>
                      <a:gd name="connsiteX2" fmla="*/ 77 w 174476"/>
                      <a:gd name="connsiteY2" fmla="*/ 159131 h 173445"/>
                      <a:gd name="connsiteX3" fmla="*/ 150 w 174476"/>
                      <a:gd name="connsiteY3" fmla="*/ 158324 h 173445"/>
                      <a:gd name="connsiteX4" fmla="*/ 3930 w 174476"/>
                      <a:gd name="connsiteY4" fmla="*/ 150543 h 173445"/>
                      <a:gd name="connsiteX5" fmla="*/ 2682 w 174476"/>
                      <a:gd name="connsiteY5" fmla="*/ 141991 h 173445"/>
                      <a:gd name="connsiteX6" fmla="*/ 2829 w 174476"/>
                      <a:gd name="connsiteY6" fmla="*/ 141184 h 173445"/>
                      <a:gd name="connsiteX7" fmla="*/ 7270 w 174476"/>
                      <a:gd name="connsiteY7" fmla="*/ 133807 h 173445"/>
                      <a:gd name="connsiteX8" fmla="*/ 6793 w 174476"/>
                      <a:gd name="connsiteY8" fmla="*/ 125182 h 173445"/>
                      <a:gd name="connsiteX9" fmla="*/ 7013 w 174476"/>
                      <a:gd name="connsiteY9" fmla="*/ 124411 h 173445"/>
                      <a:gd name="connsiteX10" fmla="*/ 12115 w 174476"/>
                      <a:gd name="connsiteY10" fmla="*/ 117401 h 173445"/>
                      <a:gd name="connsiteX11" fmla="*/ 12409 w 174476"/>
                      <a:gd name="connsiteY11" fmla="*/ 108739 h 173445"/>
                      <a:gd name="connsiteX12" fmla="*/ 12702 w 174476"/>
                      <a:gd name="connsiteY12" fmla="*/ 107968 h 173445"/>
                      <a:gd name="connsiteX13" fmla="*/ 18428 w 174476"/>
                      <a:gd name="connsiteY13" fmla="*/ 101472 h 173445"/>
                      <a:gd name="connsiteX14" fmla="*/ 19566 w 174476"/>
                      <a:gd name="connsiteY14" fmla="*/ 92847 h 173445"/>
                      <a:gd name="connsiteX15" fmla="*/ 19969 w 174476"/>
                      <a:gd name="connsiteY15" fmla="*/ 92076 h 173445"/>
                      <a:gd name="connsiteX16" fmla="*/ 26356 w 174476"/>
                      <a:gd name="connsiteY16" fmla="*/ 86167 h 173445"/>
                      <a:gd name="connsiteX17" fmla="*/ 28374 w 174476"/>
                      <a:gd name="connsiteY17" fmla="*/ 77652 h 173445"/>
                      <a:gd name="connsiteX18" fmla="*/ 28851 w 174476"/>
                      <a:gd name="connsiteY18" fmla="*/ 76955 h 173445"/>
                      <a:gd name="connsiteX19" fmla="*/ 35825 w 174476"/>
                      <a:gd name="connsiteY19" fmla="*/ 71706 h 173445"/>
                      <a:gd name="connsiteX20" fmla="*/ 38724 w 174476"/>
                      <a:gd name="connsiteY20" fmla="*/ 63448 h 173445"/>
                      <a:gd name="connsiteX21" fmla="*/ 39238 w 174476"/>
                      <a:gd name="connsiteY21" fmla="*/ 62787 h 173445"/>
                      <a:gd name="connsiteX22" fmla="*/ 46762 w 174476"/>
                      <a:gd name="connsiteY22" fmla="*/ 58310 h 173445"/>
                      <a:gd name="connsiteX23" fmla="*/ 50579 w 174476"/>
                      <a:gd name="connsiteY23" fmla="*/ 50419 h 173445"/>
                      <a:gd name="connsiteX24" fmla="*/ 51166 w 174476"/>
                      <a:gd name="connsiteY24" fmla="*/ 49832 h 173445"/>
                      <a:gd name="connsiteX25" fmla="*/ 59131 w 174476"/>
                      <a:gd name="connsiteY25" fmla="*/ 46198 h 173445"/>
                      <a:gd name="connsiteX26" fmla="*/ 63792 w 174476"/>
                      <a:gd name="connsiteY26" fmla="*/ 38784 h 173445"/>
                      <a:gd name="connsiteX27" fmla="*/ 64453 w 174476"/>
                      <a:gd name="connsiteY27" fmla="*/ 38270 h 173445"/>
                      <a:gd name="connsiteX28" fmla="*/ 72747 w 174476"/>
                      <a:gd name="connsiteY28" fmla="*/ 35554 h 173445"/>
                      <a:gd name="connsiteX29" fmla="*/ 78106 w 174476"/>
                      <a:gd name="connsiteY29" fmla="*/ 28691 h 173445"/>
                      <a:gd name="connsiteX30" fmla="*/ 78803 w 174476"/>
                      <a:gd name="connsiteY30" fmla="*/ 28250 h 173445"/>
                      <a:gd name="connsiteX31" fmla="*/ 87245 w 174476"/>
                      <a:gd name="connsiteY31" fmla="*/ 26379 h 173445"/>
                      <a:gd name="connsiteX32" fmla="*/ 93191 w 174476"/>
                      <a:gd name="connsiteY32" fmla="*/ 20103 h 173445"/>
                      <a:gd name="connsiteX33" fmla="*/ 93925 w 174476"/>
                      <a:gd name="connsiteY33" fmla="*/ 19735 h 173445"/>
                      <a:gd name="connsiteX34" fmla="*/ 102513 w 174476"/>
                      <a:gd name="connsiteY34" fmla="*/ 18634 h 173445"/>
                      <a:gd name="connsiteX35" fmla="*/ 109009 w 174476"/>
                      <a:gd name="connsiteY35" fmla="*/ 12909 h 173445"/>
                      <a:gd name="connsiteX36" fmla="*/ 109744 w 174476"/>
                      <a:gd name="connsiteY36" fmla="*/ 12615 h 173445"/>
                      <a:gd name="connsiteX37" fmla="*/ 118369 w 174476"/>
                      <a:gd name="connsiteY37" fmla="*/ 12285 h 173445"/>
                      <a:gd name="connsiteX38" fmla="*/ 125342 w 174476"/>
                      <a:gd name="connsiteY38" fmla="*/ 7147 h 173445"/>
                      <a:gd name="connsiteX39" fmla="*/ 126150 w 174476"/>
                      <a:gd name="connsiteY39" fmla="*/ 6890 h 173445"/>
                      <a:gd name="connsiteX40" fmla="*/ 134775 w 174476"/>
                      <a:gd name="connsiteY40" fmla="*/ 7330 h 173445"/>
                      <a:gd name="connsiteX41" fmla="*/ 142189 w 174476"/>
                      <a:gd name="connsiteY41" fmla="*/ 2852 h 173445"/>
                      <a:gd name="connsiteX42" fmla="*/ 142996 w 174476"/>
                      <a:gd name="connsiteY42" fmla="*/ 2669 h 173445"/>
                      <a:gd name="connsiteX43" fmla="*/ 151584 w 174476"/>
                      <a:gd name="connsiteY43" fmla="*/ 3917 h 173445"/>
                      <a:gd name="connsiteX44" fmla="*/ 159439 w 174476"/>
                      <a:gd name="connsiteY44" fmla="*/ 136 h 173445"/>
                      <a:gd name="connsiteX45" fmla="*/ 160283 w 174476"/>
                      <a:gd name="connsiteY45" fmla="*/ 63 h 173445"/>
                      <a:gd name="connsiteX46" fmla="*/ 174413 w 174476"/>
                      <a:gd name="connsiteY46" fmla="*/ 11661 h 173445"/>
                      <a:gd name="connsiteX47" fmla="*/ 162815 w 174476"/>
                      <a:gd name="connsiteY47" fmla="*/ 25791 h 173445"/>
                      <a:gd name="connsiteX48" fmla="*/ 162118 w 174476"/>
                      <a:gd name="connsiteY48" fmla="*/ 25865 h 173445"/>
                      <a:gd name="connsiteX49" fmla="*/ 154741 w 174476"/>
                      <a:gd name="connsiteY49" fmla="*/ 24433 h 173445"/>
                      <a:gd name="connsiteX50" fmla="*/ 148098 w 174476"/>
                      <a:gd name="connsiteY50" fmla="*/ 28030 h 173445"/>
                      <a:gd name="connsiteX51" fmla="*/ 147400 w 174476"/>
                      <a:gd name="connsiteY51" fmla="*/ 28177 h 173445"/>
                      <a:gd name="connsiteX52" fmla="*/ 139840 w 174476"/>
                      <a:gd name="connsiteY52" fmla="*/ 27480 h 173445"/>
                      <a:gd name="connsiteX53" fmla="*/ 133490 w 174476"/>
                      <a:gd name="connsiteY53" fmla="*/ 31700 h 173445"/>
                      <a:gd name="connsiteX54" fmla="*/ 132793 w 174476"/>
                      <a:gd name="connsiteY54" fmla="*/ 31921 h 173445"/>
                      <a:gd name="connsiteX55" fmla="*/ 125195 w 174476"/>
                      <a:gd name="connsiteY55" fmla="*/ 31884 h 173445"/>
                      <a:gd name="connsiteX56" fmla="*/ 119286 w 174476"/>
                      <a:gd name="connsiteY56" fmla="*/ 36655 h 173445"/>
                      <a:gd name="connsiteX57" fmla="*/ 118589 w 174476"/>
                      <a:gd name="connsiteY57" fmla="*/ 36912 h 173445"/>
                      <a:gd name="connsiteX58" fmla="*/ 111028 w 174476"/>
                      <a:gd name="connsiteY58" fmla="*/ 37536 h 173445"/>
                      <a:gd name="connsiteX59" fmla="*/ 105559 w 174476"/>
                      <a:gd name="connsiteY59" fmla="*/ 42785 h 173445"/>
                      <a:gd name="connsiteX60" fmla="*/ 104936 w 174476"/>
                      <a:gd name="connsiteY60" fmla="*/ 43115 h 173445"/>
                      <a:gd name="connsiteX61" fmla="*/ 97448 w 174476"/>
                      <a:gd name="connsiteY61" fmla="*/ 44436 h 173445"/>
                      <a:gd name="connsiteX62" fmla="*/ 92493 w 174476"/>
                      <a:gd name="connsiteY62" fmla="*/ 50162 h 173445"/>
                      <a:gd name="connsiteX63" fmla="*/ 91869 w 174476"/>
                      <a:gd name="connsiteY63" fmla="*/ 50529 h 173445"/>
                      <a:gd name="connsiteX64" fmla="*/ 84602 w 174476"/>
                      <a:gd name="connsiteY64" fmla="*/ 52511 h 173445"/>
                      <a:gd name="connsiteX65" fmla="*/ 80271 w 174476"/>
                      <a:gd name="connsiteY65" fmla="*/ 58603 h 173445"/>
                      <a:gd name="connsiteX66" fmla="*/ 79721 w 174476"/>
                      <a:gd name="connsiteY66" fmla="*/ 59044 h 173445"/>
                      <a:gd name="connsiteX67" fmla="*/ 72747 w 174476"/>
                      <a:gd name="connsiteY67" fmla="*/ 61760 h 173445"/>
                      <a:gd name="connsiteX68" fmla="*/ 69114 w 174476"/>
                      <a:gd name="connsiteY68" fmla="*/ 68293 h 173445"/>
                      <a:gd name="connsiteX69" fmla="*/ 68600 w 174476"/>
                      <a:gd name="connsiteY69" fmla="*/ 68807 h 173445"/>
                      <a:gd name="connsiteX70" fmla="*/ 61994 w 174476"/>
                      <a:gd name="connsiteY70" fmla="*/ 72257 h 173445"/>
                      <a:gd name="connsiteX71" fmla="*/ 59131 w 174476"/>
                      <a:gd name="connsiteY71" fmla="*/ 79157 h 173445"/>
                      <a:gd name="connsiteX72" fmla="*/ 58690 w 174476"/>
                      <a:gd name="connsiteY72" fmla="*/ 79707 h 173445"/>
                      <a:gd name="connsiteX73" fmla="*/ 52488 w 174476"/>
                      <a:gd name="connsiteY73" fmla="*/ 83891 h 173445"/>
                      <a:gd name="connsiteX74" fmla="*/ 50359 w 174476"/>
                      <a:gd name="connsiteY74" fmla="*/ 91085 h 173445"/>
                      <a:gd name="connsiteX75" fmla="*/ 49992 w 174476"/>
                      <a:gd name="connsiteY75" fmla="*/ 91672 h 173445"/>
                      <a:gd name="connsiteX76" fmla="*/ 44266 w 174476"/>
                      <a:gd name="connsiteY76" fmla="*/ 96517 h 173445"/>
                      <a:gd name="connsiteX77" fmla="*/ 42908 w 174476"/>
                      <a:gd name="connsiteY77" fmla="*/ 103931 h 173445"/>
                      <a:gd name="connsiteX78" fmla="*/ 42578 w 174476"/>
                      <a:gd name="connsiteY78" fmla="*/ 104555 h 173445"/>
                      <a:gd name="connsiteX79" fmla="*/ 37330 w 174476"/>
                      <a:gd name="connsiteY79" fmla="*/ 109987 h 173445"/>
                      <a:gd name="connsiteX80" fmla="*/ 36706 w 174476"/>
                      <a:gd name="connsiteY80" fmla="*/ 117511 h 173445"/>
                      <a:gd name="connsiteX81" fmla="*/ 36449 w 174476"/>
                      <a:gd name="connsiteY81" fmla="*/ 118171 h 173445"/>
                      <a:gd name="connsiteX82" fmla="*/ 31714 w 174476"/>
                      <a:gd name="connsiteY82" fmla="*/ 124117 h 173445"/>
                      <a:gd name="connsiteX83" fmla="*/ 31787 w 174476"/>
                      <a:gd name="connsiteY83" fmla="*/ 131715 h 173445"/>
                      <a:gd name="connsiteX84" fmla="*/ 31567 w 174476"/>
                      <a:gd name="connsiteY84" fmla="*/ 132412 h 173445"/>
                      <a:gd name="connsiteX85" fmla="*/ 27383 w 174476"/>
                      <a:gd name="connsiteY85" fmla="*/ 138762 h 173445"/>
                      <a:gd name="connsiteX86" fmla="*/ 28117 w 174476"/>
                      <a:gd name="connsiteY86" fmla="*/ 146359 h 173445"/>
                      <a:gd name="connsiteX87" fmla="*/ 27970 w 174476"/>
                      <a:gd name="connsiteY87" fmla="*/ 147056 h 173445"/>
                      <a:gd name="connsiteX88" fmla="*/ 24337 w 174476"/>
                      <a:gd name="connsiteY88" fmla="*/ 153736 h 173445"/>
                      <a:gd name="connsiteX89" fmla="*/ 25732 w 174476"/>
                      <a:gd name="connsiteY89" fmla="*/ 161187 h 173445"/>
                      <a:gd name="connsiteX90" fmla="*/ 25658 w 174476"/>
                      <a:gd name="connsiteY90" fmla="*/ 161921 h 173445"/>
                      <a:gd name="connsiteX91" fmla="*/ 12959 w 174476"/>
                      <a:gd name="connsiteY91" fmla="*/ 173445 h 173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74476" h="173445">
                        <a:moveTo>
                          <a:pt x="12959" y="173445"/>
                        </a:moveTo>
                        <a:cubicBezTo>
                          <a:pt x="12482" y="173445"/>
                          <a:pt x="12005" y="173409"/>
                          <a:pt x="11528" y="173372"/>
                        </a:cubicBezTo>
                        <a:cubicBezTo>
                          <a:pt x="4444" y="172601"/>
                          <a:pt x="-694" y="166215"/>
                          <a:pt x="77" y="159131"/>
                        </a:cubicBezTo>
                        <a:lnTo>
                          <a:pt x="150" y="158324"/>
                        </a:lnTo>
                        <a:cubicBezTo>
                          <a:pt x="480" y="155241"/>
                          <a:pt x="1875" y="152525"/>
                          <a:pt x="3930" y="150543"/>
                        </a:cubicBezTo>
                        <a:cubicBezTo>
                          <a:pt x="2609" y="148011"/>
                          <a:pt x="2095" y="145001"/>
                          <a:pt x="2682" y="141991"/>
                        </a:cubicBezTo>
                        <a:lnTo>
                          <a:pt x="2829" y="141184"/>
                        </a:lnTo>
                        <a:cubicBezTo>
                          <a:pt x="3453" y="138174"/>
                          <a:pt x="5068" y="135605"/>
                          <a:pt x="7270" y="133807"/>
                        </a:cubicBezTo>
                        <a:cubicBezTo>
                          <a:pt x="6169" y="131164"/>
                          <a:pt x="5912" y="128155"/>
                          <a:pt x="6793" y="125182"/>
                        </a:cubicBezTo>
                        <a:lnTo>
                          <a:pt x="7013" y="124411"/>
                        </a:lnTo>
                        <a:cubicBezTo>
                          <a:pt x="7894" y="121438"/>
                          <a:pt x="9729" y="119016"/>
                          <a:pt x="12115" y="117401"/>
                        </a:cubicBezTo>
                        <a:cubicBezTo>
                          <a:pt x="11234" y="114648"/>
                          <a:pt x="11271" y="111638"/>
                          <a:pt x="12409" y="108739"/>
                        </a:cubicBezTo>
                        <a:lnTo>
                          <a:pt x="12702" y="107968"/>
                        </a:lnTo>
                        <a:cubicBezTo>
                          <a:pt x="13840" y="105105"/>
                          <a:pt x="15932" y="102867"/>
                          <a:pt x="18428" y="101472"/>
                        </a:cubicBezTo>
                        <a:cubicBezTo>
                          <a:pt x="17804" y="98646"/>
                          <a:pt x="18134" y="95599"/>
                          <a:pt x="19566" y="92847"/>
                        </a:cubicBezTo>
                        <a:lnTo>
                          <a:pt x="19969" y="92076"/>
                        </a:lnTo>
                        <a:cubicBezTo>
                          <a:pt x="21401" y="89323"/>
                          <a:pt x="23676" y="87305"/>
                          <a:pt x="26356" y="86167"/>
                        </a:cubicBezTo>
                        <a:cubicBezTo>
                          <a:pt x="26025" y="83304"/>
                          <a:pt x="26649" y="80295"/>
                          <a:pt x="28374" y="77652"/>
                        </a:cubicBezTo>
                        <a:lnTo>
                          <a:pt x="28851" y="76955"/>
                        </a:lnTo>
                        <a:cubicBezTo>
                          <a:pt x="30576" y="74349"/>
                          <a:pt x="33072" y="72550"/>
                          <a:pt x="35825" y="71706"/>
                        </a:cubicBezTo>
                        <a:cubicBezTo>
                          <a:pt x="35788" y="68807"/>
                          <a:pt x="36742" y="65870"/>
                          <a:pt x="38724" y="63448"/>
                        </a:cubicBezTo>
                        <a:lnTo>
                          <a:pt x="39238" y="62787"/>
                        </a:lnTo>
                        <a:cubicBezTo>
                          <a:pt x="41220" y="60365"/>
                          <a:pt x="43936" y="58860"/>
                          <a:pt x="46762" y="58310"/>
                        </a:cubicBezTo>
                        <a:cubicBezTo>
                          <a:pt x="47056" y="55410"/>
                          <a:pt x="48340" y="52621"/>
                          <a:pt x="50579" y="50419"/>
                        </a:cubicBezTo>
                        <a:lnTo>
                          <a:pt x="51166" y="49832"/>
                        </a:lnTo>
                        <a:cubicBezTo>
                          <a:pt x="53405" y="47629"/>
                          <a:pt x="56268" y="46455"/>
                          <a:pt x="59131" y="46198"/>
                        </a:cubicBezTo>
                        <a:cubicBezTo>
                          <a:pt x="59755" y="43372"/>
                          <a:pt x="61333" y="40693"/>
                          <a:pt x="63792" y="38784"/>
                        </a:cubicBezTo>
                        <a:lnTo>
                          <a:pt x="64453" y="38270"/>
                        </a:lnTo>
                        <a:cubicBezTo>
                          <a:pt x="66912" y="36362"/>
                          <a:pt x="69848" y="35481"/>
                          <a:pt x="72747" y="35554"/>
                        </a:cubicBezTo>
                        <a:cubicBezTo>
                          <a:pt x="73665" y="32802"/>
                          <a:pt x="75500" y="30379"/>
                          <a:pt x="78106" y="28691"/>
                        </a:cubicBezTo>
                        <a:lnTo>
                          <a:pt x="78803" y="28250"/>
                        </a:lnTo>
                        <a:cubicBezTo>
                          <a:pt x="81409" y="26599"/>
                          <a:pt x="84419" y="26012"/>
                          <a:pt x="87245" y="26379"/>
                        </a:cubicBezTo>
                        <a:cubicBezTo>
                          <a:pt x="88419" y="23773"/>
                          <a:pt x="90438" y="21497"/>
                          <a:pt x="93191" y="20103"/>
                        </a:cubicBezTo>
                        <a:lnTo>
                          <a:pt x="93925" y="19735"/>
                        </a:lnTo>
                        <a:cubicBezTo>
                          <a:pt x="96677" y="18341"/>
                          <a:pt x="99724" y="18010"/>
                          <a:pt x="102513" y="18634"/>
                        </a:cubicBezTo>
                        <a:cubicBezTo>
                          <a:pt x="103908" y="16139"/>
                          <a:pt x="106147" y="14047"/>
                          <a:pt x="109009" y="12909"/>
                        </a:cubicBezTo>
                        <a:lnTo>
                          <a:pt x="109744" y="12615"/>
                        </a:lnTo>
                        <a:cubicBezTo>
                          <a:pt x="112606" y="11477"/>
                          <a:pt x="115653" y="11441"/>
                          <a:pt x="118369" y="12285"/>
                        </a:cubicBezTo>
                        <a:cubicBezTo>
                          <a:pt x="119984" y="9899"/>
                          <a:pt x="122369" y="8064"/>
                          <a:pt x="125342" y="7147"/>
                        </a:cubicBezTo>
                        <a:lnTo>
                          <a:pt x="126150" y="6890"/>
                        </a:lnTo>
                        <a:cubicBezTo>
                          <a:pt x="129122" y="6009"/>
                          <a:pt x="132132" y="6229"/>
                          <a:pt x="134775" y="7330"/>
                        </a:cubicBezTo>
                        <a:cubicBezTo>
                          <a:pt x="136573" y="5091"/>
                          <a:pt x="139142" y="3476"/>
                          <a:pt x="142189" y="2852"/>
                        </a:cubicBezTo>
                        <a:lnTo>
                          <a:pt x="142996" y="2669"/>
                        </a:lnTo>
                        <a:cubicBezTo>
                          <a:pt x="146042" y="2045"/>
                          <a:pt x="149052" y="2559"/>
                          <a:pt x="151584" y="3917"/>
                        </a:cubicBezTo>
                        <a:cubicBezTo>
                          <a:pt x="153603" y="1861"/>
                          <a:pt x="156356" y="467"/>
                          <a:pt x="159439" y="136"/>
                        </a:cubicBezTo>
                        <a:lnTo>
                          <a:pt x="160283" y="63"/>
                        </a:lnTo>
                        <a:cubicBezTo>
                          <a:pt x="167403" y="-634"/>
                          <a:pt x="173716" y="4541"/>
                          <a:pt x="174413" y="11661"/>
                        </a:cubicBezTo>
                        <a:cubicBezTo>
                          <a:pt x="175111" y="18781"/>
                          <a:pt x="169936" y="25094"/>
                          <a:pt x="162815" y="25791"/>
                        </a:cubicBezTo>
                        <a:lnTo>
                          <a:pt x="162118" y="25865"/>
                        </a:lnTo>
                        <a:cubicBezTo>
                          <a:pt x="159475" y="26122"/>
                          <a:pt x="156943" y="25608"/>
                          <a:pt x="154741" y="24433"/>
                        </a:cubicBezTo>
                        <a:cubicBezTo>
                          <a:pt x="152979" y="26195"/>
                          <a:pt x="150704" y="27480"/>
                          <a:pt x="148098" y="28030"/>
                        </a:cubicBezTo>
                        <a:lnTo>
                          <a:pt x="147400" y="28177"/>
                        </a:lnTo>
                        <a:cubicBezTo>
                          <a:pt x="144758" y="28728"/>
                          <a:pt x="142152" y="28434"/>
                          <a:pt x="139840" y="27480"/>
                        </a:cubicBezTo>
                        <a:cubicBezTo>
                          <a:pt x="138261" y="29425"/>
                          <a:pt x="136096" y="30930"/>
                          <a:pt x="133490" y="31700"/>
                        </a:cubicBezTo>
                        <a:lnTo>
                          <a:pt x="132793" y="31921"/>
                        </a:lnTo>
                        <a:cubicBezTo>
                          <a:pt x="130224" y="32691"/>
                          <a:pt x="127581" y="32618"/>
                          <a:pt x="125195" y="31884"/>
                        </a:cubicBezTo>
                        <a:cubicBezTo>
                          <a:pt x="123801" y="33976"/>
                          <a:pt x="121782" y="35664"/>
                          <a:pt x="119286" y="36655"/>
                        </a:cubicBezTo>
                        <a:lnTo>
                          <a:pt x="118589" y="36912"/>
                        </a:lnTo>
                        <a:cubicBezTo>
                          <a:pt x="116093" y="37903"/>
                          <a:pt x="113450" y="38087"/>
                          <a:pt x="111028" y="37536"/>
                        </a:cubicBezTo>
                        <a:cubicBezTo>
                          <a:pt x="109817" y="39738"/>
                          <a:pt x="107945" y="41573"/>
                          <a:pt x="105559" y="42785"/>
                        </a:cubicBezTo>
                        <a:lnTo>
                          <a:pt x="104936" y="43115"/>
                        </a:lnTo>
                        <a:cubicBezTo>
                          <a:pt x="102550" y="44326"/>
                          <a:pt x="99944" y="44730"/>
                          <a:pt x="97448" y="44436"/>
                        </a:cubicBezTo>
                        <a:cubicBezTo>
                          <a:pt x="96457" y="46712"/>
                          <a:pt x="94769" y="48730"/>
                          <a:pt x="92493" y="50162"/>
                        </a:cubicBezTo>
                        <a:lnTo>
                          <a:pt x="91869" y="50529"/>
                        </a:lnTo>
                        <a:cubicBezTo>
                          <a:pt x="89631" y="51960"/>
                          <a:pt x="87098" y="52584"/>
                          <a:pt x="84602" y="52511"/>
                        </a:cubicBezTo>
                        <a:cubicBezTo>
                          <a:pt x="83832" y="54860"/>
                          <a:pt x="82364" y="56988"/>
                          <a:pt x="80271" y="58603"/>
                        </a:cubicBezTo>
                        <a:lnTo>
                          <a:pt x="79721" y="59044"/>
                        </a:lnTo>
                        <a:cubicBezTo>
                          <a:pt x="77629" y="60695"/>
                          <a:pt x="75207" y="61576"/>
                          <a:pt x="72747" y="61760"/>
                        </a:cubicBezTo>
                        <a:cubicBezTo>
                          <a:pt x="72234" y="64145"/>
                          <a:pt x="71022" y="66458"/>
                          <a:pt x="69114" y="68293"/>
                        </a:cubicBezTo>
                        <a:lnTo>
                          <a:pt x="68600" y="68807"/>
                        </a:lnTo>
                        <a:cubicBezTo>
                          <a:pt x="66728" y="70642"/>
                          <a:pt x="64416" y="71816"/>
                          <a:pt x="61994" y="72257"/>
                        </a:cubicBezTo>
                        <a:cubicBezTo>
                          <a:pt x="61737" y="74716"/>
                          <a:pt x="60782" y="77101"/>
                          <a:pt x="59131" y="79157"/>
                        </a:cubicBezTo>
                        <a:lnTo>
                          <a:pt x="58690" y="79707"/>
                        </a:lnTo>
                        <a:cubicBezTo>
                          <a:pt x="57002" y="81763"/>
                          <a:pt x="54837" y="83157"/>
                          <a:pt x="52488" y="83891"/>
                        </a:cubicBezTo>
                        <a:cubicBezTo>
                          <a:pt x="52524" y="86350"/>
                          <a:pt x="51827" y="88883"/>
                          <a:pt x="50359" y="91085"/>
                        </a:cubicBezTo>
                        <a:lnTo>
                          <a:pt x="49992" y="91672"/>
                        </a:lnTo>
                        <a:cubicBezTo>
                          <a:pt x="48561" y="93911"/>
                          <a:pt x="46542" y="95526"/>
                          <a:pt x="44266" y="96517"/>
                        </a:cubicBezTo>
                        <a:cubicBezTo>
                          <a:pt x="44560" y="98976"/>
                          <a:pt x="44120" y="101545"/>
                          <a:pt x="42908" y="103931"/>
                        </a:cubicBezTo>
                        <a:lnTo>
                          <a:pt x="42578" y="104555"/>
                        </a:lnTo>
                        <a:cubicBezTo>
                          <a:pt x="41367" y="106941"/>
                          <a:pt x="39495" y="108776"/>
                          <a:pt x="37330" y="109987"/>
                        </a:cubicBezTo>
                        <a:cubicBezTo>
                          <a:pt x="37843" y="112409"/>
                          <a:pt x="37697" y="115052"/>
                          <a:pt x="36706" y="117511"/>
                        </a:cubicBezTo>
                        <a:lnTo>
                          <a:pt x="36449" y="118171"/>
                        </a:lnTo>
                        <a:cubicBezTo>
                          <a:pt x="35458" y="120667"/>
                          <a:pt x="33769" y="122686"/>
                          <a:pt x="31714" y="124117"/>
                        </a:cubicBezTo>
                        <a:cubicBezTo>
                          <a:pt x="32485" y="126503"/>
                          <a:pt x="32558" y="129109"/>
                          <a:pt x="31787" y="131715"/>
                        </a:cubicBezTo>
                        <a:lnTo>
                          <a:pt x="31567" y="132412"/>
                        </a:lnTo>
                        <a:cubicBezTo>
                          <a:pt x="30797" y="135018"/>
                          <a:pt x="29328" y="137183"/>
                          <a:pt x="27383" y="138762"/>
                        </a:cubicBezTo>
                        <a:cubicBezTo>
                          <a:pt x="28374" y="141074"/>
                          <a:pt x="28668" y="143716"/>
                          <a:pt x="28117" y="146359"/>
                        </a:cubicBezTo>
                        <a:lnTo>
                          <a:pt x="27970" y="147056"/>
                        </a:lnTo>
                        <a:cubicBezTo>
                          <a:pt x="27457" y="149699"/>
                          <a:pt x="26135" y="151974"/>
                          <a:pt x="24337" y="153736"/>
                        </a:cubicBezTo>
                        <a:cubicBezTo>
                          <a:pt x="25511" y="155938"/>
                          <a:pt x="26062" y="158508"/>
                          <a:pt x="25732" y="161187"/>
                        </a:cubicBezTo>
                        <a:lnTo>
                          <a:pt x="25658" y="161921"/>
                        </a:lnTo>
                        <a:cubicBezTo>
                          <a:pt x="25071" y="168527"/>
                          <a:pt x="19455" y="173445"/>
                          <a:pt x="12959" y="173445"/>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50" name="Graphic 174">
                    <a:extLst>
                      <a:ext uri="{FF2B5EF4-FFF2-40B4-BE49-F238E27FC236}">
                        <a16:creationId xmlns:a16="http://schemas.microsoft.com/office/drawing/2014/main" id="{05F865EF-03A9-491A-B010-9241B85FED0D}"/>
                      </a:ext>
                    </a:extLst>
                  </p:cNvPr>
                  <p:cNvSpPr/>
                  <p:nvPr/>
                </p:nvSpPr>
                <p:spPr>
                  <a:xfrm>
                    <a:off x="2298869" y="3031557"/>
                    <a:ext cx="26219" cy="25859"/>
                  </a:xfrm>
                  <a:custGeom>
                    <a:avLst/>
                    <a:gdLst>
                      <a:gd name="connsiteX0" fmla="*/ 13307 w 26219"/>
                      <a:gd name="connsiteY0" fmla="*/ 25860 h 25859"/>
                      <a:gd name="connsiteX1" fmla="*/ 12500 w 26219"/>
                      <a:gd name="connsiteY1" fmla="*/ 25823 h 25859"/>
                      <a:gd name="connsiteX2" fmla="*/ 12206 w 26219"/>
                      <a:gd name="connsiteY2" fmla="*/ 25823 h 25859"/>
                      <a:gd name="connsiteX3" fmla="*/ 21 w 26219"/>
                      <a:gd name="connsiteY3" fmla="*/ 12206 h 25859"/>
                      <a:gd name="connsiteX4" fmla="*/ 13638 w 26219"/>
                      <a:gd name="connsiteY4" fmla="*/ 21 h 25859"/>
                      <a:gd name="connsiteX5" fmla="*/ 14115 w 26219"/>
                      <a:gd name="connsiteY5" fmla="*/ 58 h 25859"/>
                      <a:gd name="connsiteX6" fmla="*/ 26190 w 26219"/>
                      <a:gd name="connsiteY6" fmla="*/ 13784 h 25859"/>
                      <a:gd name="connsiteX7" fmla="*/ 13307 w 26219"/>
                      <a:gd name="connsiteY7" fmla="*/ 25860 h 2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19" h="25859">
                        <a:moveTo>
                          <a:pt x="13307" y="25860"/>
                        </a:moveTo>
                        <a:cubicBezTo>
                          <a:pt x="13050" y="25860"/>
                          <a:pt x="12757" y="25860"/>
                          <a:pt x="12500" y="25823"/>
                        </a:cubicBezTo>
                        <a:lnTo>
                          <a:pt x="12206" y="25823"/>
                        </a:lnTo>
                        <a:cubicBezTo>
                          <a:pt x="5086" y="25419"/>
                          <a:pt x="-383" y="19326"/>
                          <a:pt x="21" y="12206"/>
                        </a:cubicBezTo>
                        <a:cubicBezTo>
                          <a:pt x="425" y="5086"/>
                          <a:pt x="6517" y="-383"/>
                          <a:pt x="13638" y="21"/>
                        </a:cubicBezTo>
                        <a:lnTo>
                          <a:pt x="14115" y="58"/>
                        </a:lnTo>
                        <a:cubicBezTo>
                          <a:pt x="21235" y="498"/>
                          <a:pt x="26667" y="6627"/>
                          <a:pt x="26190" y="13784"/>
                        </a:cubicBezTo>
                        <a:cubicBezTo>
                          <a:pt x="25749" y="20611"/>
                          <a:pt x="20061" y="25860"/>
                          <a:pt x="13307" y="25860"/>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51" name="Graphic 174">
                    <a:extLst>
                      <a:ext uri="{FF2B5EF4-FFF2-40B4-BE49-F238E27FC236}">
                        <a16:creationId xmlns:a16="http://schemas.microsoft.com/office/drawing/2014/main" id="{4FF6E633-9707-5AFC-9A68-DC464D0B9C59}"/>
                      </a:ext>
                    </a:extLst>
                  </p:cNvPr>
                  <p:cNvSpPr/>
                  <p:nvPr/>
                </p:nvSpPr>
                <p:spPr>
                  <a:xfrm>
                    <a:off x="2133799" y="3197250"/>
                    <a:ext cx="25842" cy="26245"/>
                  </a:xfrm>
                  <a:custGeom>
                    <a:avLst/>
                    <a:gdLst>
                      <a:gd name="connsiteX0" fmla="*/ 12922 w 25842"/>
                      <a:gd name="connsiteY0" fmla="*/ 26245 h 26245"/>
                      <a:gd name="connsiteX1" fmla="*/ 3 w 25842"/>
                      <a:gd name="connsiteY1" fmla="*/ 13509 h 26245"/>
                      <a:gd name="connsiteX2" fmla="*/ 3 w 25842"/>
                      <a:gd name="connsiteY2" fmla="*/ 13179 h 26245"/>
                      <a:gd name="connsiteX3" fmla="*/ 12665 w 25842"/>
                      <a:gd name="connsiteY3" fmla="*/ 3 h 26245"/>
                      <a:gd name="connsiteX4" fmla="*/ 25841 w 25842"/>
                      <a:gd name="connsiteY4" fmla="*/ 12665 h 26245"/>
                      <a:gd name="connsiteX5" fmla="*/ 25841 w 25842"/>
                      <a:gd name="connsiteY5" fmla="*/ 13106 h 26245"/>
                      <a:gd name="connsiteX6" fmla="*/ 13106 w 25842"/>
                      <a:gd name="connsiteY6" fmla="*/ 26208 h 26245"/>
                      <a:gd name="connsiteX7" fmla="*/ 12922 w 25842"/>
                      <a:gd name="connsiteY7" fmla="*/ 26245 h 2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42" h="26245">
                        <a:moveTo>
                          <a:pt x="12922" y="26245"/>
                        </a:moveTo>
                        <a:cubicBezTo>
                          <a:pt x="5875" y="26245"/>
                          <a:pt x="113" y="20593"/>
                          <a:pt x="3" y="13509"/>
                        </a:cubicBezTo>
                        <a:lnTo>
                          <a:pt x="3" y="13179"/>
                        </a:lnTo>
                        <a:cubicBezTo>
                          <a:pt x="-144" y="6059"/>
                          <a:pt x="5508" y="150"/>
                          <a:pt x="12665" y="3"/>
                        </a:cubicBezTo>
                        <a:cubicBezTo>
                          <a:pt x="19822" y="-144"/>
                          <a:pt x="25695" y="5508"/>
                          <a:pt x="25841" y="12665"/>
                        </a:cubicBezTo>
                        <a:lnTo>
                          <a:pt x="25841" y="13106"/>
                        </a:lnTo>
                        <a:cubicBezTo>
                          <a:pt x="25951" y="20226"/>
                          <a:pt x="20263" y="26135"/>
                          <a:pt x="13106" y="26208"/>
                        </a:cubicBezTo>
                        <a:cubicBezTo>
                          <a:pt x="13032" y="26245"/>
                          <a:pt x="12995" y="26245"/>
                          <a:pt x="12922" y="26245"/>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39" name="Graphic 174">
                  <a:extLst>
                    <a:ext uri="{FF2B5EF4-FFF2-40B4-BE49-F238E27FC236}">
                      <a16:creationId xmlns:a16="http://schemas.microsoft.com/office/drawing/2014/main" id="{6BADE972-9C8D-4A67-08AE-FAD3548D8331}"/>
                    </a:ext>
                  </a:extLst>
                </p:cNvPr>
                <p:cNvGrpSpPr/>
                <p:nvPr/>
              </p:nvGrpSpPr>
              <p:grpSpPr>
                <a:xfrm>
                  <a:off x="2249562" y="3057766"/>
                  <a:ext cx="75477" cy="218213"/>
                  <a:chOff x="2249562" y="3057766"/>
                  <a:chExt cx="75477" cy="218213"/>
                </a:xfrm>
                <a:solidFill>
                  <a:srgbClr val="10161E"/>
                </a:solidFill>
              </p:grpSpPr>
              <p:sp>
                <p:nvSpPr>
                  <p:cNvPr id="1546" name="Graphic 174">
                    <a:extLst>
                      <a:ext uri="{FF2B5EF4-FFF2-40B4-BE49-F238E27FC236}">
                        <a16:creationId xmlns:a16="http://schemas.microsoft.com/office/drawing/2014/main" id="{5511A3EB-EFC1-4075-1F18-31D996E0F031}"/>
                      </a:ext>
                    </a:extLst>
                  </p:cNvPr>
                  <p:cNvSpPr/>
                  <p:nvPr/>
                </p:nvSpPr>
                <p:spPr>
                  <a:xfrm>
                    <a:off x="2298929" y="3057766"/>
                    <a:ext cx="26110" cy="26149"/>
                  </a:xfrm>
                  <a:custGeom>
                    <a:avLst/>
                    <a:gdLst>
                      <a:gd name="connsiteX0" fmla="*/ 12917 w 26110"/>
                      <a:gd name="connsiteY0" fmla="*/ 26150 h 26149"/>
                      <a:gd name="connsiteX1" fmla="*/ 4439 w 26110"/>
                      <a:gd name="connsiteY1" fmla="*/ 22956 h 26149"/>
                      <a:gd name="connsiteX2" fmla="*/ 3191 w 26110"/>
                      <a:gd name="connsiteY2" fmla="*/ 4715 h 26149"/>
                      <a:gd name="connsiteX3" fmla="*/ 3485 w 26110"/>
                      <a:gd name="connsiteY3" fmla="*/ 4385 h 26149"/>
                      <a:gd name="connsiteX4" fmla="*/ 21726 w 26110"/>
                      <a:gd name="connsiteY4" fmla="*/ 3210 h 26149"/>
                      <a:gd name="connsiteX5" fmla="*/ 22900 w 26110"/>
                      <a:gd name="connsiteY5" fmla="*/ 21452 h 26149"/>
                      <a:gd name="connsiteX6" fmla="*/ 22680 w 26110"/>
                      <a:gd name="connsiteY6" fmla="*/ 21709 h 26149"/>
                      <a:gd name="connsiteX7" fmla="*/ 12917 w 26110"/>
                      <a:gd name="connsiteY7" fmla="*/ 26150 h 2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10" h="26149">
                        <a:moveTo>
                          <a:pt x="12917" y="26150"/>
                        </a:moveTo>
                        <a:cubicBezTo>
                          <a:pt x="9908" y="26150"/>
                          <a:pt x="6861" y="25085"/>
                          <a:pt x="4439" y="22956"/>
                        </a:cubicBezTo>
                        <a:cubicBezTo>
                          <a:pt x="-956" y="18259"/>
                          <a:pt x="-1507" y="10111"/>
                          <a:pt x="3191" y="4715"/>
                        </a:cubicBezTo>
                        <a:lnTo>
                          <a:pt x="3485" y="4385"/>
                        </a:lnTo>
                        <a:cubicBezTo>
                          <a:pt x="8183" y="-974"/>
                          <a:pt x="16367" y="-1487"/>
                          <a:pt x="21726" y="3210"/>
                        </a:cubicBezTo>
                        <a:cubicBezTo>
                          <a:pt x="27084" y="7908"/>
                          <a:pt x="27598" y="16093"/>
                          <a:pt x="22900" y="21452"/>
                        </a:cubicBezTo>
                        <a:lnTo>
                          <a:pt x="22680" y="21709"/>
                        </a:lnTo>
                        <a:cubicBezTo>
                          <a:pt x="20111" y="24681"/>
                          <a:pt x="16514" y="26150"/>
                          <a:pt x="12917" y="26150"/>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47" name="Graphic 174">
                    <a:extLst>
                      <a:ext uri="{FF2B5EF4-FFF2-40B4-BE49-F238E27FC236}">
                        <a16:creationId xmlns:a16="http://schemas.microsoft.com/office/drawing/2014/main" id="{53ACBDE2-9865-3533-55FD-18265CD90914}"/>
                      </a:ext>
                    </a:extLst>
                  </p:cNvPr>
                  <p:cNvSpPr/>
                  <p:nvPr/>
                </p:nvSpPr>
                <p:spPr>
                  <a:xfrm>
                    <a:off x="2249562" y="3070803"/>
                    <a:ext cx="65119" cy="188660"/>
                  </a:xfrm>
                  <a:custGeom>
                    <a:avLst/>
                    <a:gdLst>
                      <a:gd name="connsiteX0" fmla="*/ 13286 w 65119"/>
                      <a:gd name="connsiteY0" fmla="*/ 188660 h 188660"/>
                      <a:gd name="connsiteX1" fmla="*/ 367 w 65119"/>
                      <a:gd name="connsiteY1" fmla="*/ 176181 h 188660"/>
                      <a:gd name="connsiteX2" fmla="*/ 330 w 65119"/>
                      <a:gd name="connsiteY2" fmla="*/ 175337 h 188660"/>
                      <a:gd name="connsiteX3" fmla="*/ 3010 w 65119"/>
                      <a:gd name="connsiteY3" fmla="*/ 167006 h 188660"/>
                      <a:gd name="connsiteX4" fmla="*/ 0 w 65119"/>
                      <a:gd name="connsiteY4" fmla="*/ 158784 h 188660"/>
                      <a:gd name="connsiteX5" fmla="*/ 0 w 65119"/>
                      <a:gd name="connsiteY5" fmla="*/ 157940 h 188660"/>
                      <a:gd name="connsiteX6" fmla="*/ 3010 w 65119"/>
                      <a:gd name="connsiteY6" fmla="*/ 149646 h 188660"/>
                      <a:gd name="connsiteX7" fmla="*/ 330 w 65119"/>
                      <a:gd name="connsiteY7" fmla="*/ 141241 h 188660"/>
                      <a:gd name="connsiteX8" fmla="*/ 367 w 65119"/>
                      <a:gd name="connsiteY8" fmla="*/ 140397 h 188660"/>
                      <a:gd name="connsiteX9" fmla="*/ 3744 w 65119"/>
                      <a:gd name="connsiteY9" fmla="*/ 132212 h 188660"/>
                      <a:gd name="connsiteX10" fmla="*/ 1468 w 65119"/>
                      <a:gd name="connsiteY10" fmla="*/ 123660 h 188660"/>
                      <a:gd name="connsiteX11" fmla="*/ 1541 w 65119"/>
                      <a:gd name="connsiteY11" fmla="*/ 122816 h 188660"/>
                      <a:gd name="connsiteX12" fmla="*/ 5359 w 65119"/>
                      <a:gd name="connsiteY12" fmla="*/ 114778 h 188660"/>
                      <a:gd name="connsiteX13" fmla="*/ 3523 w 65119"/>
                      <a:gd name="connsiteY13" fmla="*/ 106080 h 188660"/>
                      <a:gd name="connsiteX14" fmla="*/ 3634 w 65119"/>
                      <a:gd name="connsiteY14" fmla="*/ 105272 h 188660"/>
                      <a:gd name="connsiteX15" fmla="*/ 7891 w 65119"/>
                      <a:gd name="connsiteY15" fmla="*/ 97455 h 188660"/>
                      <a:gd name="connsiteX16" fmla="*/ 6570 w 65119"/>
                      <a:gd name="connsiteY16" fmla="*/ 88646 h 188660"/>
                      <a:gd name="connsiteX17" fmla="*/ 6753 w 65119"/>
                      <a:gd name="connsiteY17" fmla="*/ 87802 h 188660"/>
                      <a:gd name="connsiteX18" fmla="*/ 11525 w 65119"/>
                      <a:gd name="connsiteY18" fmla="*/ 80241 h 188660"/>
                      <a:gd name="connsiteX19" fmla="*/ 10790 w 65119"/>
                      <a:gd name="connsiteY19" fmla="*/ 71322 h 188660"/>
                      <a:gd name="connsiteX20" fmla="*/ 11011 w 65119"/>
                      <a:gd name="connsiteY20" fmla="*/ 70515 h 188660"/>
                      <a:gd name="connsiteX21" fmla="*/ 16333 w 65119"/>
                      <a:gd name="connsiteY21" fmla="*/ 63248 h 188660"/>
                      <a:gd name="connsiteX22" fmla="*/ 16259 w 65119"/>
                      <a:gd name="connsiteY22" fmla="*/ 54219 h 188660"/>
                      <a:gd name="connsiteX23" fmla="*/ 16553 w 65119"/>
                      <a:gd name="connsiteY23" fmla="*/ 53412 h 188660"/>
                      <a:gd name="connsiteX24" fmla="*/ 22425 w 65119"/>
                      <a:gd name="connsiteY24" fmla="*/ 46548 h 188660"/>
                      <a:gd name="connsiteX25" fmla="*/ 23086 w 65119"/>
                      <a:gd name="connsiteY25" fmla="*/ 37520 h 188660"/>
                      <a:gd name="connsiteX26" fmla="*/ 23453 w 65119"/>
                      <a:gd name="connsiteY26" fmla="*/ 36749 h 188660"/>
                      <a:gd name="connsiteX27" fmla="*/ 29912 w 65119"/>
                      <a:gd name="connsiteY27" fmla="*/ 30399 h 188660"/>
                      <a:gd name="connsiteX28" fmla="*/ 31381 w 65119"/>
                      <a:gd name="connsiteY28" fmla="*/ 21444 h 188660"/>
                      <a:gd name="connsiteX29" fmla="*/ 31821 w 65119"/>
                      <a:gd name="connsiteY29" fmla="*/ 20710 h 188660"/>
                      <a:gd name="connsiteX30" fmla="*/ 38868 w 65119"/>
                      <a:gd name="connsiteY30" fmla="*/ 14948 h 188660"/>
                      <a:gd name="connsiteX31" fmla="*/ 41180 w 65119"/>
                      <a:gd name="connsiteY31" fmla="*/ 6139 h 188660"/>
                      <a:gd name="connsiteX32" fmla="*/ 41694 w 65119"/>
                      <a:gd name="connsiteY32" fmla="*/ 5405 h 188660"/>
                      <a:gd name="connsiteX33" fmla="*/ 59715 w 65119"/>
                      <a:gd name="connsiteY33" fmla="*/ 2432 h 188660"/>
                      <a:gd name="connsiteX34" fmla="*/ 62688 w 65119"/>
                      <a:gd name="connsiteY34" fmla="*/ 20453 h 188660"/>
                      <a:gd name="connsiteX35" fmla="*/ 62284 w 65119"/>
                      <a:gd name="connsiteY35" fmla="*/ 21040 h 188660"/>
                      <a:gd name="connsiteX36" fmla="*/ 55861 w 65119"/>
                      <a:gd name="connsiteY36" fmla="*/ 25848 h 188660"/>
                      <a:gd name="connsiteX37" fmla="*/ 54210 w 65119"/>
                      <a:gd name="connsiteY37" fmla="*/ 33666 h 188660"/>
                      <a:gd name="connsiteX38" fmla="*/ 53843 w 65119"/>
                      <a:gd name="connsiteY38" fmla="*/ 34326 h 188660"/>
                      <a:gd name="connsiteX39" fmla="*/ 47897 w 65119"/>
                      <a:gd name="connsiteY39" fmla="*/ 39722 h 188660"/>
                      <a:gd name="connsiteX40" fmla="*/ 46942 w 65119"/>
                      <a:gd name="connsiteY40" fmla="*/ 47723 h 188660"/>
                      <a:gd name="connsiteX41" fmla="*/ 46612 w 65119"/>
                      <a:gd name="connsiteY41" fmla="*/ 48420 h 188660"/>
                      <a:gd name="connsiteX42" fmla="*/ 41107 w 65119"/>
                      <a:gd name="connsiteY42" fmla="*/ 54329 h 188660"/>
                      <a:gd name="connsiteX43" fmla="*/ 40813 w 65119"/>
                      <a:gd name="connsiteY43" fmla="*/ 62404 h 188660"/>
                      <a:gd name="connsiteX44" fmla="*/ 40556 w 65119"/>
                      <a:gd name="connsiteY44" fmla="*/ 63138 h 188660"/>
                      <a:gd name="connsiteX45" fmla="*/ 35528 w 65119"/>
                      <a:gd name="connsiteY45" fmla="*/ 69487 h 188660"/>
                      <a:gd name="connsiteX46" fmla="*/ 35858 w 65119"/>
                      <a:gd name="connsiteY46" fmla="*/ 77599 h 188660"/>
                      <a:gd name="connsiteX47" fmla="*/ 35638 w 65119"/>
                      <a:gd name="connsiteY47" fmla="*/ 78333 h 188660"/>
                      <a:gd name="connsiteX48" fmla="*/ 31050 w 65119"/>
                      <a:gd name="connsiteY48" fmla="*/ 85086 h 188660"/>
                      <a:gd name="connsiteX49" fmla="*/ 31968 w 65119"/>
                      <a:gd name="connsiteY49" fmla="*/ 93197 h 188660"/>
                      <a:gd name="connsiteX50" fmla="*/ 31821 w 65119"/>
                      <a:gd name="connsiteY50" fmla="*/ 93931 h 188660"/>
                      <a:gd name="connsiteX51" fmla="*/ 27674 w 65119"/>
                      <a:gd name="connsiteY51" fmla="*/ 101015 h 188660"/>
                      <a:gd name="connsiteX52" fmla="*/ 29105 w 65119"/>
                      <a:gd name="connsiteY52" fmla="*/ 109089 h 188660"/>
                      <a:gd name="connsiteX53" fmla="*/ 28995 w 65119"/>
                      <a:gd name="connsiteY53" fmla="*/ 109860 h 188660"/>
                      <a:gd name="connsiteX54" fmla="*/ 25288 w 65119"/>
                      <a:gd name="connsiteY54" fmla="*/ 117201 h 188660"/>
                      <a:gd name="connsiteX55" fmla="*/ 27196 w 65119"/>
                      <a:gd name="connsiteY55" fmla="*/ 125238 h 188660"/>
                      <a:gd name="connsiteX56" fmla="*/ 27123 w 65119"/>
                      <a:gd name="connsiteY56" fmla="*/ 125972 h 188660"/>
                      <a:gd name="connsiteX57" fmla="*/ 23783 w 65119"/>
                      <a:gd name="connsiteY57" fmla="*/ 133570 h 188660"/>
                      <a:gd name="connsiteX58" fmla="*/ 26095 w 65119"/>
                      <a:gd name="connsiteY58" fmla="*/ 141534 h 188660"/>
                      <a:gd name="connsiteX59" fmla="*/ 26059 w 65119"/>
                      <a:gd name="connsiteY59" fmla="*/ 142305 h 188660"/>
                      <a:gd name="connsiteX60" fmla="*/ 23086 w 65119"/>
                      <a:gd name="connsiteY60" fmla="*/ 150049 h 188660"/>
                      <a:gd name="connsiteX61" fmla="*/ 25765 w 65119"/>
                      <a:gd name="connsiteY61" fmla="*/ 157940 h 188660"/>
                      <a:gd name="connsiteX62" fmla="*/ 25765 w 65119"/>
                      <a:gd name="connsiteY62" fmla="*/ 158711 h 188660"/>
                      <a:gd name="connsiteX63" fmla="*/ 23086 w 65119"/>
                      <a:gd name="connsiteY63" fmla="*/ 166639 h 188660"/>
                      <a:gd name="connsiteX64" fmla="*/ 26059 w 65119"/>
                      <a:gd name="connsiteY64" fmla="*/ 174493 h 188660"/>
                      <a:gd name="connsiteX65" fmla="*/ 26095 w 65119"/>
                      <a:gd name="connsiteY65" fmla="*/ 175264 h 188660"/>
                      <a:gd name="connsiteX66" fmla="*/ 13653 w 65119"/>
                      <a:gd name="connsiteY66" fmla="*/ 188660 h 188660"/>
                      <a:gd name="connsiteX67" fmla="*/ 13286 w 65119"/>
                      <a:gd name="connsiteY67" fmla="*/ 188660 h 1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5119" h="188660">
                        <a:moveTo>
                          <a:pt x="13286" y="188660"/>
                        </a:moveTo>
                        <a:cubicBezTo>
                          <a:pt x="6350" y="188660"/>
                          <a:pt x="624" y="183192"/>
                          <a:pt x="367" y="176181"/>
                        </a:cubicBezTo>
                        <a:lnTo>
                          <a:pt x="330" y="175337"/>
                        </a:lnTo>
                        <a:cubicBezTo>
                          <a:pt x="220" y="172218"/>
                          <a:pt x="1248" y="169318"/>
                          <a:pt x="3010" y="167006"/>
                        </a:cubicBezTo>
                        <a:cubicBezTo>
                          <a:pt x="1138" y="164767"/>
                          <a:pt x="37" y="161904"/>
                          <a:pt x="0" y="158784"/>
                        </a:cubicBezTo>
                        <a:lnTo>
                          <a:pt x="0" y="157940"/>
                        </a:lnTo>
                        <a:cubicBezTo>
                          <a:pt x="0" y="154784"/>
                          <a:pt x="1138" y="151921"/>
                          <a:pt x="3010" y="149646"/>
                        </a:cubicBezTo>
                        <a:cubicBezTo>
                          <a:pt x="1211" y="147333"/>
                          <a:pt x="220" y="144397"/>
                          <a:pt x="330" y="141241"/>
                        </a:cubicBezTo>
                        <a:lnTo>
                          <a:pt x="367" y="140397"/>
                        </a:lnTo>
                        <a:cubicBezTo>
                          <a:pt x="514" y="137240"/>
                          <a:pt x="1762" y="134377"/>
                          <a:pt x="3744" y="132212"/>
                        </a:cubicBezTo>
                        <a:cubicBezTo>
                          <a:pt x="2055" y="129790"/>
                          <a:pt x="1174" y="126817"/>
                          <a:pt x="1468" y="123660"/>
                        </a:cubicBezTo>
                        <a:lnTo>
                          <a:pt x="1541" y="122816"/>
                        </a:lnTo>
                        <a:cubicBezTo>
                          <a:pt x="1835" y="119660"/>
                          <a:pt x="3230" y="116870"/>
                          <a:pt x="5359" y="114778"/>
                        </a:cubicBezTo>
                        <a:cubicBezTo>
                          <a:pt x="3780" y="112282"/>
                          <a:pt x="3083" y="109199"/>
                          <a:pt x="3523" y="106080"/>
                        </a:cubicBezTo>
                        <a:lnTo>
                          <a:pt x="3634" y="105272"/>
                        </a:lnTo>
                        <a:cubicBezTo>
                          <a:pt x="4111" y="102116"/>
                          <a:pt x="5689" y="99400"/>
                          <a:pt x="7891" y="97455"/>
                        </a:cubicBezTo>
                        <a:cubicBezTo>
                          <a:pt x="6460" y="94849"/>
                          <a:pt x="5946" y="91766"/>
                          <a:pt x="6570" y="88646"/>
                        </a:cubicBezTo>
                        <a:lnTo>
                          <a:pt x="6753" y="87802"/>
                        </a:lnTo>
                        <a:cubicBezTo>
                          <a:pt x="7414" y="84682"/>
                          <a:pt x="9176" y="82040"/>
                          <a:pt x="11525" y="80241"/>
                        </a:cubicBezTo>
                        <a:cubicBezTo>
                          <a:pt x="10277" y="77525"/>
                          <a:pt x="9946" y="74406"/>
                          <a:pt x="10790" y="71322"/>
                        </a:cubicBezTo>
                        <a:lnTo>
                          <a:pt x="11011" y="70515"/>
                        </a:lnTo>
                        <a:cubicBezTo>
                          <a:pt x="11892" y="67432"/>
                          <a:pt x="13837" y="64900"/>
                          <a:pt x="16333" y="63248"/>
                        </a:cubicBezTo>
                        <a:cubicBezTo>
                          <a:pt x="15268" y="60459"/>
                          <a:pt x="15158" y="57265"/>
                          <a:pt x="16259" y="54219"/>
                        </a:cubicBezTo>
                        <a:lnTo>
                          <a:pt x="16553" y="53412"/>
                        </a:lnTo>
                        <a:cubicBezTo>
                          <a:pt x="17654" y="50365"/>
                          <a:pt x="19819" y="48016"/>
                          <a:pt x="22425" y="46548"/>
                        </a:cubicBezTo>
                        <a:cubicBezTo>
                          <a:pt x="21581" y="43649"/>
                          <a:pt x="21728" y="40456"/>
                          <a:pt x="23086" y="37520"/>
                        </a:cubicBezTo>
                        <a:lnTo>
                          <a:pt x="23453" y="36749"/>
                        </a:lnTo>
                        <a:cubicBezTo>
                          <a:pt x="24811" y="33813"/>
                          <a:pt x="27160" y="31610"/>
                          <a:pt x="29912" y="30399"/>
                        </a:cubicBezTo>
                        <a:cubicBezTo>
                          <a:pt x="29325" y="27426"/>
                          <a:pt x="29766" y="24270"/>
                          <a:pt x="31381" y="21444"/>
                        </a:cubicBezTo>
                        <a:lnTo>
                          <a:pt x="31821" y="20710"/>
                        </a:lnTo>
                        <a:cubicBezTo>
                          <a:pt x="33473" y="17884"/>
                          <a:pt x="36005" y="15902"/>
                          <a:pt x="38868" y="14948"/>
                        </a:cubicBezTo>
                        <a:cubicBezTo>
                          <a:pt x="38538" y="11938"/>
                          <a:pt x="39272" y="8818"/>
                          <a:pt x="41180" y="6139"/>
                        </a:cubicBezTo>
                        <a:lnTo>
                          <a:pt x="41694" y="5405"/>
                        </a:lnTo>
                        <a:cubicBezTo>
                          <a:pt x="45841" y="-394"/>
                          <a:pt x="53916" y="-1752"/>
                          <a:pt x="59715" y="2432"/>
                        </a:cubicBezTo>
                        <a:cubicBezTo>
                          <a:pt x="65514" y="6579"/>
                          <a:pt x="66872" y="14654"/>
                          <a:pt x="62688" y="20453"/>
                        </a:cubicBezTo>
                        <a:lnTo>
                          <a:pt x="62284" y="21040"/>
                        </a:lnTo>
                        <a:cubicBezTo>
                          <a:pt x="60632" y="23352"/>
                          <a:pt x="58357" y="24967"/>
                          <a:pt x="55861" y="25848"/>
                        </a:cubicBezTo>
                        <a:cubicBezTo>
                          <a:pt x="56155" y="28491"/>
                          <a:pt x="55604" y="31207"/>
                          <a:pt x="54210" y="33666"/>
                        </a:cubicBezTo>
                        <a:lnTo>
                          <a:pt x="53843" y="34326"/>
                        </a:lnTo>
                        <a:cubicBezTo>
                          <a:pt x="52411" y="36785"/>
                          <a:pt x="50319" y="38621"/>
                          <a:pt x="47897" y="39722"/>
                        </a:cubicBezTo>
                        <a:cubicBezTo>
                          <a:pt x="48411" y="42328"/>
                          <a:pt x="48154" y="45117"/>
                          <a:pt x="46942" y="47723"/>
                        </a:cubicBezTo>
                        <a:lnTo>
                          <a:pt x="46612" y="48420"/>
                        </a:lnTo>
                        <a:cubicBezTo>
                          <a:pt x="45401" y="51026"/>
                          <a:pt x="43456" y="53045"/>
                          <a:pt x="41107" y="54329"/>
                        </a:cubicBezTo>
                        <a:cubicBezTo>
                          <a:pt x="41841" y="56898"/>
                          <a:pt x="41804" y="59725"/>
                          <a:pt x="40813" y="62404"/>
                        </a:cubicBezTo>
                        <a:lnTo>
                          <a:pt x="40556" y="63138"/>
                        </a:lnTo>
                        <a:cubicBezTo>
                          <a:pt x="39565" y="65854"/>
                          <a:pt x="37767" y="68019"/>
                          <a:pt x="35528" y="69487"/>
                        </a:cubicBezTo>
                        <a:cubicBezTo>
                          <a:pt x="36482" y="71983"/>
                          <a:pt x="36666" y="74846"/>
                          <a:pt x="35858" y="77599"/>
                        </a:cubicBezTo>
                        <a:lnTo>
                          <a:pt x="35638" y="78333"/>
                        </a:lnTo>
                        <a:cubicBezTo>
                          <a:pt x="34867" y="81122"/>
                          <a:pt x="33216" y="83434"/>
                          <a:pt x="31050" y="85086"/>
                        </a:cubicBezTo>
                        <a:cubicBezTo>
                          <a:pt x="32188" y="87545"/>
                          <a:pt x="32555" y="90371"/>
                          <a:pt x="31968" y="93197"/>
                        </a:cubicBezTo>
                        <a:lnTo>
                          <a:pt x="31821" y="93931"/>
                        </a:lnTo>
                        <a:cubicBezTo>
                          <a:pt x="31234" y="96794"/>
                          <a:pt x="29729" y="99253"/>
                          <a:pt x="27674" y="101015"/>
                        </a:cubicBezTo>
                        <a:cubicBezTo>
                          <a:pt x="28958" y="103400"/>
                          <a:pt x="29545" y="106190"/>
                          <a:pt x="29105" y="109089"/>
                        </a:cubicBezTo>
                        <a:lnTo>
                          <a:pt x="28995" y="109860"/>
                        </a:lnTo>
                        <a:cubicBezTo>
                          <a:pt x="28555" y="112760"/>
                          <a:pt x="27196" y="115292"/>
                          <a:pt x="25288" y="117201"/>
                        </a:cubicBezTo>
                        <a:cubicBezTo>
                          <a:pt x="26719" y="119513"/>
                          <a:pt x="27453" y="122302"/>
                          <a:pt x="27196" y="125238"/>
                        </a:cubicBezTo>
                        <a:lnTo>
                          <a:pt x="27123" y="125972"/>
                        </a:lnTo>
                        <a:cubicBezTo>
                          <a:pt x="26866" y="128909"/>
                          <a:pt x="25618" y="131551"/>
                          <a:pt x="23783" y="133570"/>
                        </a:cubicBezTo>
                        <a:cubicBezTo>
                          <a:pt x="25361" y="135809"/>
                          <a:pt x="26242" y="138561"/>
                          <a:pt x="26095" y="141534"/>
                        </a:cubicBezTo>
                        <a:lnTo>
                          <a:pt x="26059" y="142305"/>
                        </a:lnTo>
                        <a:cubicBezTo>
                          <a:pt x="25949" y="145278"/>
                          <a:pt x="24848" y="147957"/>
                          <a:pt x="23086" y="150049"/>
                        </a:cubicBezTo>
                        <a:cubicBezTo>
                          <a:pt x="24774" y="152215"/>
                          <a:pt x="25765" y="154967"/>
                          <a:pt x="25765" y="157940"/>
                        </a:cubicBezTo>
                        <a:lnTo>
                          <a:pt x="25765" y="158711"/>
                        </a:lnTo>
                        <a:cubicBezTo>
                          <a:pt x="25765" y="161684"/>
                          <a:pt x="24774" y="164437"/>
                          <a:pt x="23086" y="166639"/>
                        </a:cubicBezTo>
                        <a:cubicBezTo>
                          <a:pt x="24848" y="168768"/>
                          <a:pt x="25985" y="171484"/>
                          <a:pt x="26059" y="174493"/>
                        </a:cubicBezTo>
                        <a:lnTo>
                          <a:pt x="26095" y="175264"/>
                        </a:lnTo>
                        <a:cubicBezTo>
                          <a:pt x="26352" y="182384"/>
                          <a:pt x="20774" y="188403"/>
                          <a:pt x="13653" y="188660"/>
                        </a:cubicBezTo>
                        <a:cubicBezTo>
                          <a:pt x="13580" y="188624"/>
                          <a:pt x="13433" y="188660"/>
                          <a:pt x="13286" y="188660"/>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48" name="Graphic 174">
                    <a:extLst>
                      <a:ext uri="{FF2B5EF4-FFF2-40B4-BE49-F238E27FC236}">
                        <a16:creationId xmlns:a16="http://schemas.microsoft.com/office/drawing/2014/main" id="{E9928E93-7A2E-F7E7-D065-1245A9900692}"/>
                      </a:ext>
                    </a:extLst>
                  </p:cNvPr>
                  <p:cNvSpPr/>
                  <p:nvPr/>
                </p:nvSpPr>
                <p:spPr>
                  <a:xfrm>
                    <a:off x="2250513" y="3249734"/>
                    <a:ext cx="25842" cy="26245"/>
                  </a:xfrm>
                  <a:custGeom>
                    <a:avLst/>
                    <a:gdLst>
                      <a:gd name="connsiteX0" fmla="*/ 12922 w 25842"/>
                      <a:gd name="connsiteY0" fmla="*/ 26245 h 26245"/>
                      <a:gd name="connsiteX1" fmla="*/ 3 w 25842"/>
                      <a:gd name="connsiteY1" fmla="*/ 13509 h 26245"/>
                      <a:gd name="connsiteX2" fmla="*/ 3 w 25842"/>
                      <a:gd name="connsiteY2" fmla="*/ 13179 h 26245"/>
                      <a:gd name="connsiteX3" fmla="*/ 12665 w 25842"/>
                      <a:gd name="connsiteY3" fmla="*/ 3 h 26245"/>
                      <a:gd name="connsiteX4" fmla="*/ 25841 w 25842"/>
                      <a:gd name="connsiteY4" fmla="*/ 12665 h 26245"/>
                      <a:gd name="connsiteX5" fmla="*/ 25841 w 25842"/>
                      <a:gd name="connsiteY5" fmla="*/ 13106 h 26245"/>
                      <a:gd name="connsiteX6" fmla="*/ 13106 w 25842"/>
                      <a:gd name="connsiteY6" fmla="*/ 26208 h 26245"/>
                      <a:gd name="connsiteX7" fmla="*/ 12922 w 25842"/>
                      <a:gd name="connsiteY7" fmla="*/ 26245 h 2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42" h="26245">
                        <a:moveTo>
                          <a:pt x="12922" y="26245"/>
                        </a:moveTo>
                        <a:cubicBezTo>
                          <a:pt x="5875" y="26245"/>
                          <a:pt x="113" y="20593"/>
                          <a:pt x="3" y="13509"/>
                        </a:cubicBezTo>
                        <a:lnTo>
                          <a:pt x="3" y="13179"/>
                        </a:lnTo>
                        <a:cubicBezTo>
                          <a:pt x="-144" y="6059"/>
                          <a:pt x="5508" y="150"/>
                          <a:pt x="12665" y="3"/>
                        </a:cubicBezTo>
                        <a:cubicBezTo>
                          <a:pt x="19822" y="-144"/>
                          <a:pt x="25695" y="5508"/>
                          <a:pt x="25841" y="12665"/>
                        </a:cubicBezTo>
                        <a:lnTo>
                          <a:pt x="25841" y="13106"/>
                        </a:lnTo>
                        <a:cubicBezTo>
                          <a:pt x="25951" y="20226"/>
                          <a:pt x="20263" y="26135"/>
                          <a:pt x="13106" y="26208"/>
                        </a:cubicBezTo>
                        <a:cubicBezTo>
                          <a:pt x="13069" y="26245"/>
                          <a:pt x="12995" y="26245"/>
                          <a:pt x="12922" y="26245"/>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40" name="Graphic 174">
                  <a:extLst>
                    <a:ext uri="{FF2B5EF4-FFF2-40B4-BE49-F238E27FC236}">
                      <a16:creationId xmlns:a16="http://schemas.microsoft.com/office/drawing/2014/main" id="{9212E274-3E5C-8449-A509-ECBC4A9E2D65}"/>
                    </a:ext>
                  </a:extLst>
                </p:cNvPr>
                <p:cNvGrpSpPr/>
                <p:nvPr/>
              </p:nvGrpSpPr>
              <p:grpSpPr>
                <a:xfrm>
                  <a:off x="2082279" y="2995412"/>
                  <a:ext cx="241350" cy="156292"/>
                  <a:chOff x="2082279" y="2995412"/>
                  <a:chExt cx="241350" cy="156292"/>
                </a:xfrm>
                <a:solidFill>
                  <a:srgbClr val="10161E"/>
                </a:solidFill>
              </p:grpSpPr>
              <p:sp>
                <p:nvSpPr>
                  <p:cNvPr id="1543" name="Graphic 174">
                    <a:extLst>
                      <a:ext uri="{FF2B5EF4-FFF2-40B4-BE49-F238E27FC236}">
                        <a16:creationId xmlns:a16="http://schemas.microsoft.com/office/drawing/2014/main" id="{AB1848C8-0418-6D87-67DF-7771B0CEB254}"/>
                      </a:ext>
                    </a:extLst>
                  </p:cNvPr>
                  <p:cNvSpPr/>
                  <p:nvPr/>
                </p:nvSpPr>
                <p:spPr>
                  <a:xfrm>
                    <a:off x="2297370" y="3008991"/>
                    <a:ext cx="26259" cy="26000"/>
                  </a:xfrm>
                  <a:custGeom>
                    <a:avLst/>
                    <a:gdLst>
                      <a:gd name="connsiteX0" fmla="*/ 13301 w 26259"/>
                      <a:gd name="connsiteY0" fmla="*/ 26000 h 26000"/>
                      <a:gd name="connsiteX1" fmla="*/ 8713 w 26259"/>
                      <a:gd name="connsiteY1" fmla="*/ 25156 h 26000"/>
                      <a:gd name="connsiteX2" fmla="*/ 8053 w 26259"/>
                      <a:gd name="connsiteY2" fmla="*/ 24899 h 26000"/>
                      <a:gd name="connsiteX3" fmla="*/ 969 w 26259"/>
                      <a:gd name="connsiteY3" fmla="*/ 8053 h 26000"/>
                      <a:gd name="connsiteX4" fmla="*/ 17815 w 26259"/>
                      <a:gd name="connsiteY4" fmla="*/ 969 h 26000"/>
                      <a:gd name="connsiteX5" fmla="*/ 17926 w 26259"/>
                      <a:gd name="connsiteY5" fmla="*/ 1006 h 26000"/>
                      <a:gd name="connsiteX6" fmla="*/ 25413 w 26259"/>
                      <a:gd name="connsiteY6" fmla="*/ 17669 h 26000"/>
                      <a:gd name="connsiteX7" fmla="*/ 13301 w 26259"/>
                      <a:gd name="connsiteY7" fmla="*/ 26000 h 2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59" h="26000">
                        <a:moveTo>
                          <a:pt x="13301" y="26000"/>
                        </a:moveTo>
                        <a:cubicBezTo>
                          <a:pt x="11760" y="26000"/>
                          <a:pt x="10218" y="25743"/>
                          <a:pt x="8713" y="25156"/>
                        </a:cubicBezTo>
                        <a:cubicBezTo>
                          <a:pt x="8530" y="25083"/>
                          <a:pt x="8309" y="25009"/>
                          <a:pt x="8053" y="24899"/>
                        </a:cubicBezTo>
                        <a:cubicBezTo>
                          <a:pt x="1446" y="22220"/>
                          <a:pt x="-1747" y="14659"/>
                          <a:pt x="969" y="8053"/>
                        </a:cubicBezTo>
                        <a:cubicBezTo>
                          <a:pt x="3648" y="1446"/>
                          <a:pt x="11209" y="-1747"/>
                          <a:pt x="17815" y="969"/>
                        </a:cubicBezTo>
                        <a:lnTo>
                          <a:pt x="17926" y="1006"/>
                        </a:lnTo>
                        <a:cubicBezTo>
                          <a:pt x="24605" y="3538"/>
                          <a:pt x="27945" y="10989"/>
                          <a:pt x="25413" y="17669"/>
                        </a:cubicBezTo>
                        <a:cubicBezTo>
                          <a:pt x="23431" y="22807"/>
                          <a:pt x="18513" y="26000"/>
                          <a:pt x="13301" y="26000"/>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44" name="Graphic 174">
                    <a:extLst>
                      <a:ext uri="{FF2B5EF4-FFF2-40B4-BE49-F238E27FC236}">
                        <a16:creationId xmlns:a16="http://schemas.microsoft.com/office/drawing/2014/main" id="{31532781-00FD-239D-01A2-338B188566C7}"/>
                      </a:ext>
                    </a:extLst>
                  </p:cNvPr>
                  <p:cNvSpPr/>
                  <p:nvPr/>
                </p:nvSpPr>
                <p:spPr>
                  <a:xfrm>
                    <a:off x="2085057" y="2995412"/>
                    <a:ext cx="223188" cy="141574"/>
                  </a:xfrm>
                  <a:custGeom>
                    <a:avLst/>
                    <a:gdLst>
                      <a:gd name="connsiteX0" fmla="*/ 12924 w 223188"/>
                      <a:gd name="connsiteY0" fmla="*/ 141575 h 141574"/>
                      <a:gd name="connsiteX1" fmla="*/ 9841 w 223188"/>
                      <a:gd name="connsiteY1" fmla="*/ 141208 h 141574"/>
                      <a:gd name="connsiteX2" fmla="*/ 372 w 223188"/>
                      <a:gd name="connsiteY2" fmla="*/ 125573 h 141574"/>
                      <a:gd name="connsiteX3" fmla="*/ 592 w 223188"/>
                      <a:gd name="connsiteY3" fmla="*/ 124728 h 141574"/>
                      <a:gd name="connsiteX4" fmla="*/ 5840 w 223188"/>
                      <a:gd name="connsiteY4" fmla="*/ 117204 h 141574"/>
                      <a:gd name="connsiteX5" fmla="*/ 5730 w 223188"/>
                      <a:gd name="connsiteY5" fmla="*/ 108029 h 141574"/>
                      <a:gd name="connsiteX6" fmla="*/ 6024 w 223188"/>
                      <a:gd name="connsiteY6" fmla="*/ 107221 h 141574"/>
                      <a:gd name="connsiteX7" fmla="*/ 12006 w 223188"/>
                      <a:gd name="connsiteY7" fmla="*/ 100321 h 141574"/>
                      <a:gd name="connsiteX8" fmla="*/ 12851 w 223188"/>
                      <a:gd name="connsiteY8" fmla="*/ 91219 h 141574"/>
                      <a:gd name="connsiteX9" fmla="*/ 13218 w 223188"/>
                      <a:gd name="connsiteY9" fmla="*/ 90448 h 141574"/>
                      <a:gd name="connsiteX10" fmla="*/ 19897 w 223188"/>
                      <a:gd name="connsiteY10" fmla="*/ 84209 h 141574"/>
                      <a:gd name="connsiteX11" fmla="*/ 21659 w 223188"/>
                      <a:gd name="connsiteY11" fmla="*/ 75253 h 141574"/>
                      <a:gd name="connsiteX12" fmla="*/ 22136 w 223188"/>
                      <a:gd name="connsiteY12" fmla="*/ 74519 h 141574"/>
                      <a:gd name="connsiteX13" fmla="*/ 29403 w 223188"/>
                      <a:gd name="connsiteY13" fmla="*/ 68977 h 141574"/>
                      <a:gd name="connsiteX14" fmla="*/ 32083 w 223188"/>
                      <a:gd name="connsiteY14" fmla="*/ 60242 h 141574"/>
                      <a:gd name="connsiteX15" fmla="*/ 32596 w 223188"/>
                      <a:gd name="connsiteY15" fmla="*/ 59582 h 141574"/>
                      <a:gd name="connsiteX16" fmla="*/ 40414 w 223188"/>
                      <a:gd name="connsiteY16" fmla="*/ 54847 h 141574"/>
                      <a:gd name="connsiteX17" fmla="*/ 44011 w 223188"/>
                      <a:gd name="connsiteY17" fmla="*/ 46442 h 141574"/>
                      <a:gd name="connsiteX18" fmla="*/ 44598 w 223188"/>
                      <a:gd name="connsiteY18" fmla="*/ 45818 h 141574"/>
                      <a:gd name="connsiteX19" fmla="*/ 52856 w 223188"/>
                      <a:gd name="connsiteY19" fmla="*/ 41928 h 141574"/>
                      <a:gd name="connsiteX20" fmla="*/ 57261 w 223188"/>
                      <a:gd name="connsiteY20" fmla="*/ 33963 h 141574"/>
                      <a:gd name="connsiteX21" fmla="*/ 57921 w 223188"/>
                      <a:gd name="connsiteY21" fmla="*/ 33413 h 141574"/>
                      <a:gd name="connsiteX22" fmla="*/ 66583 w 223188"/>
                      <a:gd name="connsiteY22" fmla="*/ 30366 h 141574"/>
                      <a:gd name="connsiteX23" fmla="*/ 71978 w 223188"/>
                      <a:gd name="connsiteY23" fmla="*/ 22806 h 141574"/>
                      <a:gd name="connsiteX24" fmla="*/ 72712 w 223188"/>
                      <a:gd name="connsiteY24" fmla="*/ 22329 h 141574"/>
                      <a:gd name="connsiteX25" fmla="*/ 81851 w 223188"/>
                      <a:gd name="connsiteY25" fmla="*/ 20383 h 141574"/>
                      <a:gd name="connsiteX26" fmla="*/ 88237 w 223188"/>
                      <a:gd name="connsiteY26" fmla="*/ 13593 h 141574"/>
                      <a:gd name="connsiteX27" fmla="*/ 89045 w 223188"/>
                      <a:gd name="connsiteY27" fmla="*/ 13226 h 141574"/>
                      <a:gd name="connsiteX28" fmla="*/ 98367 w 223188"/>
                      <a:gd name="connsiteY28" fmla="*/ 12566 h 141574"/>
                      <a:gd name="connsiteX29" fmla="*/ 105634 w 223188"/>
                      <a:gd name="connsiteY29" fmla="*/ 6730 h 141574"/>
                      <a:gd name="connsiteX30" fmla="*/ 106479 w 223188"/>
                      <a:gd name="connsiteY30" fmla="*/ 6473 h 141574"/>
                      <a:gd name="connsiteX31" fmla="*/ 115764 w 223188"/>
                      <a:gd name="connsiteY31" fmla="*/ 7060 h 141574"/>
                      <a:gd name="connsiteX32" fmla="*/ 123692 w 223188"/>
                      <a:gd name="connsiteY32" fmla="*/ 2252 h 141574"/>
                      <a:gd name="connsiteX33" fmla="*/ 124573 w 223188"/>
                      <a:gd name="connsiteY33" fmla="*/ 2105 h 141574"/>
                      <a:gd name="connsiteX34" fmla="*/ 133638 w 223188"/>
                      <a:gd name="connsiteY34" fmla="*/ 3867 h 141574"/>
                      <a:gd name="connsiteX35" fmla="*/ 142007 w 223188"/>
                      <a:gd name="connsiteY35" fmla="*/ 87 h 141574"/>
                      <a:gd name="connsiteX36" fmla="*/ 142887 w 223188"/>
                      <a:gd name="connsiteY36" fmla="*/ 50 h 141574"/>
                      <a:gd name="connsiteX37" fmla="*/ 151623 w 223188"/>
                      <a:gd name="connsiteY37" fmla="*/ 2840 h 141574"/>
                      <a:gd name="connsiteX38" fmla="*/ 160321 w 223188"/>
                      <a:gd name="connsiteY38" fmla="*/ 13 h 141574"/>
                      <a:gd name="connsiteX39" fmla="*/ 161202 w 223188"/>
                      <a:gd name="connsiteY39" fmla="*/ 50 h 141574"/>
                      <a:gd name="connsiteX40" fmla="*/ 169533 w 223188"/>
                      <a:gd name="connsiteY40" fmla="*/ 3684 h 141574"/>
                      <a:gd name="connsiteX41" fmla="*/ 178415 w 223188"/>
                      <a:gd name="connsiteY41" fmla="*/ 1738 h 141574"/>
                      <a:gd name="connsiteX42" fmla="*/ 179260 w 223188"/>
                      <a:gd name="connsiteY42" fmla="*/ 1849 h 141574"/>
                      <a:gd name="connsiteX43" fmla="*/ 187187 w 223188"/>
                      <a:gd name="connsiteY43" fmla="*/ 6216 h 141574"/>
                      <a:gd name="connsiteX44" fmla="*/ 196143 w 223188"/>
                      <a:gd name="connsiteY44" fmla="*/ 5078 h 141574"/>
                      <a:gd name="connsiteX45" fmla="*/ 196987 w 223188"/>
                      <a:gd name="connsiteY45" fmla="*/ 5262 h 141574"/>
                      <a:gd name="connsiteX46" fmla="*/ 204474 w 223188"/>
                      <a:gd name="connsiteY46" fmla="*/ 10290 h 141574"/>
                      <a:gd name="connsiteX47" fmla="*/ 213466 w 223188"/>
                      <a:gd name="connsiteY47" fmla="*/ 9923 h 141574"/>
                      <a:gd name="connsiteX48" fmla="*/ 214310 w 223188"/>
                      <a:gd name="connsiteY48" fmla="*/ 10180 h 141574"/>
                      <a:gd name="connsiteX49" fmla="*/ 222532 w 223188"/>
                      <a:gd name="connsiteY49" fmla="*/ 26513 h 141574"/>
                      <a:gd name="connsiteX50" fmla="*/ 206199 w 223188"/>
                      <a:gd name="connsiteY50" fmla="*/ 34734 h 141574"/>
                      <a:gd name="connsiteX51" fmla="*/ 205502 w 223188"/>
                      <a:gd name="connsiteY51" fmla="*/ 34514 h 141574"/>
                      <a:gd name="connsiteX52" fmla="*/ 198969 w 223188"/>
                      <a:gd name="connsiteY52" fmla="*/ 29742 h 141574"/>
                      <a:gd name="connsiteX53" fmla="*/ 190931 w 223188"/>
                      <a:gd name="connsiteY53" fmla="*/ 30403 h 141574"/>
                      <a:gd name="connsiteX54" fmla="*/ 190197 w 223188"/>
                      <a:gd name="connsiteY54" fmla="*/ 30220 h 141574"/>
                      <a:gd name="connsiteX55" fmla="*/ 183334 w 223188"/>
                      <a:gd name="connsiteY55" fmla="*/ 26035 h 141574"/>
                      <a:gd name="connsiteX56" fmla="*/ 175443 w 223188"/>
                      <a:gd name="connsiteY56" fmla="*/ 27357 h 141574"/>
                      <a:gd name="connsiteX57" fmla="*/ 174708 w 223188"/>
                      <a:gd name="connsiteY57" fmla="*/ 27247 h 141574"/>
                      <a:gd name="connsiteX58" fmla="*/ 167551 w 223188"/>
                      <a:gd name="connsiteY58" fmla="*/ 23723 h 141574"/>
                      <a:gd name="connsiteX59" fmla="*/ 159844 w 223188"/>
                      <a:gd name="connsiteY59" fmla="*/ 25779 h 141574"/>
                      <a:gd name="connsiteX60" fmla="*/ 159110 w 223188"/>
                      <a:gd name="connsiteY60" fmla="*/ 25742 h 141574"/>
                      <a:gd name="connsiteX61" fmla="*/ 151696 w 223188"/>
                      <a:gd name="connsiteY61" fmla="*/ 22952 h 141574"/>
                      <a:gd name="connsiteX62" fmla="*/ 144319 w 223188"/>
                      <a:gd name="connsiteY62" fmla="*/ 25779 h 141574"/>
                      <a:gd name="connsiteX63" fmla="*/ 143621 w 223188"/>
                      <a:gd name="connsiteY63" fmla="*/ 25815 h 141574"/>
                      <a:gd name="connsiteX64" fmla="*/ 135987 w 223188"/>
                      <a:gd name="connsiteY64" fmla="*/ 23870 h 141574"/>
                      <a:gd name="connsiteX65" fmla="*/ 129051 w 223188"/>
                      <a:gd name="connsiteY65" fmla="*/ 27504 h 141574"/>
                      <a:gd name="connsiteX66" fmla="*/ 128353 w 223188"/>
                      <a:gd name="connsiteY66" fmla="*/ 27614 h 141574"/>
                      <a:gd name="connsiteX67" fmla="*/ 120609 w 223188"/>
                      <a:gd name="connsiteY67" fmla="*/ 26623 h 141574"/>
                      <a:gd name="connsiteX68" fmla="*/ 114259 w 223188"/>
                      <a:gd name="connsiteY68" fmla="*/ 31064 h 141574"/>
                      <a:gd name="connsiteX69" fmla="*/ 113562 w 223188"/>
                      <a:gd name="connsiteY69" fmla="*/ 31284 h 141574"/>
                      <a:gd name="connsiteX70" fmla="*/ 105855 w 223188"/>
                      <a:gd name="connsiteY70" fmla="*/ 31321 h 141574"/>
                      <a:gd name="connsiteX71" fmla="*/ 100166 w 223188"/>
                      <a:gd name="connsiteY71" fmla="*/ 36532 h 141574"/>
                      <a:gd name="connsiteX72" fmla="*/ 99505 w 223188"/>
                      <a:gd name="connsiteY72" fmla="*/ 36826 h 141574"/>
                      <a:gd name="connsiteX73" fmla="*/ 91871 w 223188"/>
                      <a:gd name="connsiteY73" fmla="*/ 37927 h 141574"/>
                      <a:gd name="connsiteX74" fmla="*/ 86953 w 223188"/>
                      <a:gd name="connsiteY74" fmla="*/ 43873 h 141574"/>
                      <a:gd name="connsiteX75" fmla="*/ 86329 w 223188"/>
                      <a:gd name="connsiteY75" fmla="*/ 44277 h 141574"/>
                      <a:gd name="connsiteX76" fmla="*/ 78878 w 223188"/>
                      <a:gd name="connsiteY76" fmla="*/ 46405 h 141574"/>
                      <a:gd name="connsiteX77" fmla="*/ 74694 w 223188"/>
                      <a:gd name="connsiteY77" fmla="*/ 53085 h 141574"/>
                      <a:gd name="connsiteX78" fmla="*/ 74144 w 223188"/>
                      <a:gd name="connsiteY78" fmla="*/ 53562 h 141574"/>
                      <a:gd name="connsiteX79" fmla="*/ 66803 w 223188"/>
                      <a:gd name="connsiteY79" fmla="*/ 56609 h 141574"/>
                      <a:gd name="connsiteX80" fmla="*/ 63280 w 223188"/>
                      <a:gd name="connsiteY80" fmla="*/ 63729 h 141574"/>
                      <a:gd name="connsiteX81" fmla="*/ 62766 w 223188"/>
                      <a:gd name="connsiteY81" fmla="*/ 64279 h 141574"/>
                      <a:gd name="connsiteX82" fmla="*/ 55792 w 223188"/>
                      <a:gd name="connsiteY82" fmla="*/ 68060 h 141574"/>
                      <a:gd name="connsiteX83" fmla="*/ 53040 w 223188"/>
                      <a:gd name="connsiteY83" fmla="*/ 75474 h 141574"/>
                      <a:gd name="connsiteX84" fmla="*/ 52563 w 223188"/>
                      <a:gd name="connsiteY84" fmla="*/ 76061 h 141574"/>
                      <a:gd name="connsiteX85" fmla="*/ 46030 w 223188"/>
                      <a:gd name="connsiteY85" fmla="*/ 80539 h 141574"/>
                      <a:gd name="connsiteX86" fmla="*/ 44084 w 223188"/>
                      <a:gd name="connsiteY86" fmla="*/ 88209 h 141574"/>
                      <a:gd name="connsiteX87" fmla="*/ 43681 w 223188"/>
                      <a:gd name="connsiteY87" fmla="*/ 88833 h 141574"/>
                      <a:gd name="connsiteX88" fmla="*/ 37625 w 223188"/>
                      <a:gd name="connsiteY88" fmla="*/ 93972 h 141574"/>
                      <a:gd name="connsiteX89" fmla="*/ 36487 w 223188"/>
                      <a:gd name="connsiteY89" fmla="*/ 101826 h 141574"/>
                      <a:gd name="connsiteX90" fmla="*/ 36157 w 223188"/>
                      <a:gd name="connsiteY90" fmla="*/ 102487 h 141574"/>
                      <a:gd name="connsiteX91" fmla="*/ 30651 w 223188"/>
                      <a:gd name="connsiteY91" fmla="*/ 108212 h 141574"/>
                      <a:gd name="connsiteX92" fmla="*/ 30321 w 223188"/>
                      <a:gd name="connsiteY92" fmla="*/ 116140 h 141574"/>
                      <a:gd name="connsiteX93" fmla="*/ 30064 w 223188"/>
                      <a:gd name="connsiteY93" fmla="*/ 116837 h 141574"/>
                      <a:gd name="connsiteX94" fmla="*/ 25219 w 223188"/>
                      <a:gd name="connsiteY94" fmla="*/ 123077 h 141574"/>
                      <a:gd name="connsiteX95" fmla="*/ 25733 w 223188"/>
                      <a:gd name="connsiteY95" fmla="*/ 130968 h 141574"/>
                      <a:gd name="connsiteX96" fmla="*/ 25550 w 223188"/>
                      <a:gd name="connsiteY96" fmla="*/ 131702 h 141574"/>
                      <a:gd name="connsiteX97" fmla="*/ 12924 w 223188"/>
                      <a:gd name="connsiteY97" fmla="*/ 141575 h 141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23188" h="141574">
                        <a:moveTo>
                          <a:pt x="12924" y="141575"/>
                        </a:moveTo>
                        <a:cubicBezTo>
                          <a:pt x="11896" y="141575"/>
                          <a:pt x="10869" y="141465"/>
                          <a:pt x="9841" y="141208"/>
                        </a:cubicBezTo>
                        <a:cubicBezTo>
                          <a:pt x="2904" y="139520"/>
                          <a:pt x="-1317" y="132509"/>
                          <a:pt x="372" y="125573"/>
                        </a:cubicBezTo>
                        <a:lnTo>
                          <a:pt x="592" y="124728"/>
                        </a:lnTo>
                        <a:cubicBezTo>
                          <a:pt x="1399" y="121535"/>
                          <a:pt x="3308" y="118929"/>
                          <a:pt x="5840" y="117204"/>
                        </a:cubicBezTo>
                        <a:cubicBezTo>
                          <a:pt x="4739" y="114378"/>
                          <a:pt x="4592" y="111149"/>
                          <a:pt x="5730" y="108029"/>
                        </a:cubicBezTo>
                        <a:lnTo>
                          <a:pt x="6024" y="107221"/>
                        </a:lnTo>
                        <a:cubicBezTo>
                          <a:pt x="7162" y="104138"/>
                          <a:pt x="9327" y="101753"/>
                          <a:pt x="12006" y="100321"/>
                        </a:cubicBezTo>
                        <a:cubicBezTo>
                          <a:pt x="11199" y="97385"/>
                          <a:pt x="11419" y="94155"/>
                          <a:pt x="12851" y="91219"/>
                        </a:cubicBezTo>
                        <a:lnTo>
                          <a:pt x="13218" y="90448"/>
                        </a:lnTo>
                        <a:cubicBezTo>
                          <a:pt x="14649" y="87512"/>
                          <a:pt x="17071" y="85347"/>
                          <a:pt x="19897" y="84209"/>
                        </a:cubicBezTo>
                        <a:cubicBezTo>
                          <a:pt x="19384" y="81199"/>
                          <a:pt x="19934" y="78043"/>
                          <a:pt x="21659" y="75253"/>
                        </a:cubicBezTo>
                        <a:lnTo>
                          <a:pt x="22136" y="74519"/>
                        </a:lnTo>
                        <a:cubicBezTo>
                          <a:pt x="23861" y="71730"/>
                          <a:pt x="26504" y="69858"/>
                          <a:pt x="29403" y="68977"/>
                        </a:cubicBezTo>
                        <a:cubicBezTo>
                          <a:pt x="29220" y="65931"/>
                          <a:pt x="30101" y="62811"/>
                          <a:pt x="32083" y="60242"/>
                        </a:cubicBezTo>
                        <a:lnTo>
                          <a:pt x="32596" y="59582"/>
                        </a:lnTo>
                        <a:cubicBezTo>
                          <a:pt x="34615" y="57012"/>
                          <a:pt x="37441" y="55397"/>
                          <a:pt x="40414" y="54847"/>
                        </a:cubicBezTo>
                        <a:cubicBezTo>
                          <a:pt x="40524" y="51801"/>
                          <a:pt x="41735" y="48791"/>
                          <a:pt x="44011" y="46442"/>
                        </a:cubicBezTo>
                        <a:lnTo>
                          <a:pt x="44598" y="45818"/>
                        </a:lnTo>
                        <a:cubicBezTo>
                          <a:pt x="46874" y="43469"/>
                          <a:pt x="49810" y="42185"/>
                          <a:pt x="52856" y="41928"/>
                        </a:cubicBezTo>
                        <a:cubicBezTo>
                          <a:pt x="53297" y="38918"/>
                          <a:pt x="54765" y="36055"/>
                          <a:pt x="57261" y="33963"/>
                        </a:cubicBezTo>
                        <a:lnTo>
                          <a:pt x="57921" y="33413"/>
                        </a:lnTo>
                        <a:cubicBezTo>
                          <a:pt x="60454" y="31284"/>
                          <a:pt x="63537" y="30293"/>
                          <a:pt x="66583" y="30366"/>
                        </a:cubicBezTo>
                        <a:cubicBezTo>
                          <a:pt x="67354" y="27357"/>
                          <a:pt x="69189" y="24641"/>
                          <a:pt x="71978" y="22806"/>
                        </a:cubicBezTo>
                        <a:lnTo>
                          <a:pt x="72712" y="22329"/>
                        </a:lnTo>
                        <a:cubicBezTo>
                          <a:pt x="75502" y="20493"/>
                          <a:pt x="78768" y="19906"/>
                          <a:pt x="81851" y="20383"/>
                        </a:cubicBezTo>
                        <a:cubicBezTo>
                          <a:pt x="83026" y="17521"/>
                          <a:pt x="85228" y="15025"/>
                          <a:pt x="88237" y="13593"/>
                        </a:cubicBezTo>
                        <a:lnTo>
                          <a:pt x="89045" y="13226"/>
                        </a:lnTo>
                        <a:cubicBezTo>
                          <a:pt x="92091" y="11795"/>
                          <a:pt x="95394" y="11648"/>
                          <a:pt x="98367" y="12566"/>
                        </a:cubicBezTo>
                        <a:cubicBezTo>
                          <a:pt x="99909" y="9886"/>
                          <a:pt x="102441" y="7721"/>
                          <a:pt x="105634" y="6730"/>
                        </a:cubicBezTo>
                        <a:lnTo>
                          <a:pt x="106479" y="6473"/>
                        </a:lnTo>
                        <a:cubicBezTo>
                          <a:pt x="109672" y="5482"/>
                          <a:pt x="112938" y="5776"/>
                          <a:pt x="115764" y="7060"/>
                        </a:cubicBezTo>
                        <a:cubicBezTo>
                          <a:pt x="117636" y="4601"/>
                          <a:pt x="120389" y="2840"/>
                          <a:pt x="123692" y="2252"/>
                        </a:cubicBezTo>
                        <a:lnTo>
                          <a:pt x="124573" y="2105"/>
                        </a:lnTo>
                        <a:cubicBezTo>
                          <a:pt x="127839" y="1518"/>
                          <a:pt x="131032" y="2252"/>
                          <a:pt x="133638" y="3867"/>
                        </a:cubicBezTo>
                        <a:cubicBezTo>
                          <a:pt x="135804" y="1702"/>
                          <a:pt x="138740" y="270"/>
                          <a:pt x="142007" y="87"/>
                        </a:cubicBezTo>
                        <a:lnTo>
                          <a:pt x="142887" y="50"/>
                        </a:lnTo>
                        <a:cubicBezTo>
                          <a:pt x="146154" y="-133"/>
                          <a:pt x="149237" y="931"/>
                          <a:pt x="151623" y="2840"/>
                        </a:cubicBezTo>
                        <a:cubicBezTo>
                          <a:pt x="154008" y="931"/>
                          <a:pt x="157055" y="-133"/>
                          <a:pt x="160321" y="13"/>
                        </a:cubicBezTo>
                        <a:lnTo>
                          <a:pt x="161202" y="50"/>
                        </a:lnTo>
                        <a:cubicBezTo>
                          <a:pt x="164468" y="234"/>
                          <a:pt x="167368" y="1592"/>
                          <a:pt x="169533" y="3684"/>
                        </a:cubicBezTo>
                        <a:cubicBezTo>
                          <a:pt x="172066" y="2032"/>
                          <a:pt x="175186" y="1261"/>
                          <a:pt x="178415" y="1738"/>
                        </a:cubicBezTo>
                        <a:lnTo>
                          <a:pt x="179260" y="1849"/>
                        </a:lnTo>
                        <a:cubicBezTo>
                          <a:pt x="182453" y="2326"/>
                          <a:pt x="185242" y="3941"/>
                          <a:pt x="187187" y="6216"/>
                        </a:cubicBezTo>
                        <a:cubicBezTo>
                          <a:pt x="189867" y="4821"/>
                          <a:pt x="192986" y="4344"/>
                          <a:pt x="196143" y="5078"/>
                        </a:cubicBezTo>
                        <a:lnTo>
                          <a:pt x="196987" y="5262"/>
                        </a:lnTo>
                        <a:cubicBezTo>
                          <a:pt x="200143" y="6033"/>
                          <a:pt x="202712" y="7868"/>
                          <a:pt x="204474" y="10290"/>
                        </a:cubicBezTo>
                        <a:cubicBezTo>
                          <a:pt x="207227" y="9116"/>
                          <a:pt x="210383" y="8895"/>
                          <a:pt x="213466" y="9923"/>
                        </a:cubicBezTo>
                        <a:lnTo>
                          <a:pt x="214310" y="10180"/>
                        </a:lnTo>
                        <a:cubicBezTo>
                          <a:pt x="221100" y="12419"/>
                          <a:pt x="224771" y="19723"/>
                          <a:pt x="222532" y="26513"/>
                        </a:cubicBezTo>
                        <a:cubicBezTo>
                          <a:pt x="220293" y="33303"/>
                          <a:pt x="212989" y="36973"/>
                          <a:pt x="206199" y="34734"/>
                        </a:cubicBezTo>
                        <a:lnTo>
                          <a:pt x="205502" y="34514"/>
                        </a:lnTo>
                        <a:cubicBezTo>
                          <a:pt x="202786" y="33633"/>
                          <a:pt x="200547" y="31908"/>
                          <a:pt x="198969" y="29742"/>
                        </a:cubicBezTo>
                        <a:cubicBezTo>
                          <a:pt x="196510" y="30770"/>
                          <a:pt x="193720" y="31064"/>
                          <a:pt x="190931" y="30403"/>
                        </a:cubicBezTo>
                        <a:lnTo>
                          <a:pt x="190197" y="30220"/>
                        </a:lnTo>
                        <a:cubicBezTo>
                          <a:pt x="187407" y="29559"/>
                          <a:pt x="185059" y="28054"/>
                          <a:pt x="183334" y="26035"/>
                        </a:cubicBezTo>
                        <a:cubicBezTo>
                          <a:pt x="180985" y="27283"/>
                          <a:pt x="178232" y="27797"/>
                          <a:pt x="175443" y="27357"/>
                        </a:cubicBezTo>
                        <a:lnTo>
                          <a:pt x="174708" y="27247"/>
                        </a:lnTo>
                        <a:cubicBezTo>
                          <a:pt x="171919" y="26843"/>
                          <a:pt x="169423" y="25558"/>
                          <a:pt x="167551" y="23723"/>
                        </a:cubicBezTo>
                        <a:cubicBezTo>
                          <a:pt x="165349" y="25155"/>
                          <a:pt x="162670" y="25925"/>
                          <a:pt x="159844" y="25779"/>
                        </a:cubicBezTo>
                        <a:lnTo>
                          <a:pt x="159110" y="25742"/>
                        </a:lnTo>
                        <a:cubicBezTo>
                          <a:pt x="156284" y="25595"/>
                          <a:pt x="153751" y="24604"/>
                          <a:pt x="151696" y="22952"/>
                        </a:cubicBezTo>
                        <a:cubicBezTo>
                          <a:pt x="149677" y="24567"/>
                          <a:pt x="147108" y="25632"/>
                          <a:pt x="144319" y="25779"/>
                        </a:cubicBezTo>
                        <a:lnTo>
                          <a:pt x="143621" y="25815"/>
                        </a:lnTo>
                        <a:cubicBezTo>
                          <a:pt x="140832" y="25999"/>
                          <a:pt x="138189" y="25265"/>
                          <a:pt x="135987" y="23870"/>
                        </a:cubicBezTo>
                        <a:cubicBezTo>
                          <a:pt x="134152" y="25705"/>
                          <a:pt x="131803" y="27026"/>
                          <a:pt x="129051" y="27504"/>
                        </a:cubicBezTo>
                        <a:lnTo>
                          <a:pt x="128353" y="27614"/>
                        </a:lnTo>
                        <a:cubicBezTo>
                          <a:pt x="125637" y="28128"/>
                          <a:pt x="122958" y="27724"/>
                          <a:pt x="120609" y="26623"/>
                        </a:cubicBezTo>
                        <a:cubicBezTo>
                          <a:pt x="119031" y="28641"/>
                          <a:pt x="116865" y="30220"/>
                          <a:pt x="114259" y="31064"/>
                        </a:cubicBezTo>
                        <a:lnTo>
                          <a:pt x="113562" y="31284"/>
                        </a:lnTo>
                        <a:cubicBezTo>
                          <a:pt x="110956" y="32128"/>
                          <a:pt x="108277" y="32091"/>
                          <a:pt x="105855" y="31321"/>
                        </a:cubicBezTo>
                        <a:cubicBezTo>
                          <a:pt x="104570" y="33523"/>
                          <a:pt x="102661" y="35395"/>
                          <a:pt x="100166" y="36532"/>
                        </a:cubicBezTo>
                        <a:lnTo>
                          <a:pt x="99505" y="36826"/>
                        </a:lnTo>
                        <a:cubicBezTo>
                          <a:pt x="97046" y="38000"/>
                          <a:pt x="94367" y="38331"/>
                          <a:pt x="91871" y="37927"/>
                        </a:cubicBezTo>
                        <a:cubicBezTo>
                          <a:pt x="90917" y="40276"/>
                          <a:pt x="89265" y="42405"/>
                          <a:pt x="86953" y="43873"/>
                        </a:cubicBezTo>
                        <a:lnTo>
                          <a:pt x="86329" y="44277"/>
                        </a:lnTo>
                        <a:cubicBezTo>
                          <a:pt x="84017" y="45781"/>
                          <a:pt x="81447" y="46479"/>
                          <a:pt x="78878" y="46405"/>
                        </a:cubicBezTo>
                        <a:cubicBezTo>
                          <a:pt x="78218" y="48938"/>
                          <a:pt x="76823" y="51287"/>
                          <a:pt x="74694" y="53085"/>
                        </a:cubicBezTo>
                        <a:lnTo>
                          <a:pt x="74144" y="53562"/>
                        </a:lnTo>
                        <a:cubicBezTo>
                          <a:pt x="71978" y="55397"/>
                          <a:pt x="69409" y="56388"/>
                          <a:pt x="66803" y="56609"/>
                        </a:cubicBezTo>
                        <a:cubicBezTo>
                          <a:pt x="66436" y="59215"/>
                          <a:pt x="65262" y="61710"/>
                          <a:pt x="63280" y="63729"/>
                        </a:cubicBezTo>
                        <a:lnTo>
                          <a:pt x="62766" y="64279"/>
                        </a:lnTo>
                        <a:cubicBezTo>
                          <a:pt x="60821" y="66298"/>
                          <a:pt x="58362" y="67583"/>
                          <a:pt x="55792" y="68060"/>
                        </a:cubicBezTo>
                        <a:cubicBezTo>
                          <a:pt x="55682" y="70666"/>
                          <a:pt x="54801" y="73272"/>
                          <a:pt x="53040" y="75474"/>
                        </a:cubicBezTo>
                        <a:lnTo>
                          <a:pt x="52563" y="76061"/>
                        </a:lnTo>
                        <a:cubicBezTo>
                          <a:pt x="50838" y="78263"/>
                          <a:pt x="48525" y="79768"/>
                          <a:pt x="46030" y="80539"/>
                        </a:cubicBezTo>
                        <a:cubicBezTo>
                          <a:pt x="46213" y="83145"/>
                          <a:pt x="45589" y="85824"/>
                          <a:pt x="44084" y="88209"/>
                        </a:cubicBezTo>
                        <a:lnTo>
                          <a:pt x="43681" y="88833"/>
                        </a:lnTo>
                        <a:cubicBezTo>
                          <a:pt x="42213" y="91219"/>
                          <a:pt x="40047" y="92981"/>
                          <a:pt x="37625" y="93972"/>
                        </a:cubicBezTo>
                        <a:cubicBezTo>
                          <a:pt x="38065" y="96541"/>
                          <a:pt x="37735" y="99294"/>
                          <a:pt x="36487" y="101826"/>
                        </a:cubicBezTo>
                        <a:lnTo>
                          <a:pt x="36157" y="102487"/>
                        </a:lnTo>
                        <a:cubicBezTo>
                          <a:pt x="34909" y="105019"/>
                          <a:pt x="32963" y="106964"/>
                          <a:pt x="30651" y="108212"/>
                        </a:cubicBezTo>
                        <a:cubicBezTo>
                          <a:pt x="31349" y="110745"/>
                          <a:pt x="31312" y="113497"/>
                          <a:pt x="30321" y="116140"/>
                        </a:cubicBezTo>
                        <a:lnTo>
                          <a:pt x="30064" y="116837"/>
                        </a:lnTo>
                        <a:cubicBezTo>
                          <a:pt x="29110" y="119480"/>
                          <a:pt x="27385" y="121609"/>
                          <a:pt x="25219" y="123077"/>
                        </a:cubicBezTo>
                        <a:cubicBezTo>
                          <a:pt x="26174" y="125499"/>
                          <a:pt x="26430" y="128215"/>
                          <a:pt x="25733" y="130968"/>
                        </a:cubicBezTo>
                        <a:lnTo>
                          <a:pt x="25550" y="131702"/>
                        </a:lnTo>
                        <a:cubicBezTo>
                          <a:pt x="24008" y="137648"/>
                          <a:pt x="18723" y="141575"/>
                          <a:pt x="12924" y="141575"/>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45" name="Graphic 174">
                    <a:extLst>
                      <a:ext uri="{FF2B5EF4-FFF2-40B4-BE49-F238E27FC236}">
                        <a16:creationId xmlns:a16="http://schemas.microsoft.com/office/drawing/2014/main" id="{96978EE1-FD30-25E0-691B-C9EE0FF286DE}"/>
                      </a:ext>
                    </a:extLst>
                  </p:cNvPr>
                  <p:cNvSpPr/>
                  <p:nvPr/>
                </p:nvSpPr>
                <p:spPr>
                  <a:xfrm>
                    <a:off x="2082279" y="3125460"/>
                    <a:ext cx="25870" cy="26244"/>
                  </a:xfrm>
                  <a:custGeom>
                    <a:avLst/>
                    <a:gdLst>
                      <a:gd name="connsiteX0" fmla="*/ 12912 w 25870"/>
                      <a:gd name="connsiteY0" fmla="*/ 26245 h 26244"/>
                      <a:gd name="connsiteX1" fmla="*/ 12068 w 25870"/>
                      <a:gd name="connsiteY1" fmla="*/ 26208 h 26244"/>
                      <a:gd name="connsiteX2" fmla="*/ 29 w 25870"/>
                      <a:gd name="connsiteY2" fmla="*/ 12445 h 26244"/>
                      <a:gd name="connsiteX3" fmla="*/ 66 w 25870"/>
                      <a:gd name="connsiteY3" fmla="*/ 11931 h 26244"/>
                      <a:gd name="connsiteX4" fmla="*/ 13940 w 25870"/>
                      <a:gd name="connsiteY4" fmla="*/ 39 h 26244"/>
                      <a:gd name="connsiteX5" fmla="*/ 25831 w 25870"/>
                      <a:gd name="connsiteY5" fmla="*/ 13913 h 26244"/>
                      <a:gd name="connsiteX6" fmla="*/ 25794 w 25870"/>
                      <a:gd name="connsiteY6" fmla="*/ 14170 h 26244"/>
                      <a:gd name="connsiteX7" fmla="*/ 12912 w 25870"/>
                      <a:gd name="connsiteY7" fmla="*/ 26245 h 2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70" h="26244">
                        <a:moveTo>
                          <a:pt x="12912" y="26245"/>
                        </a:moveTo>
                        <a:cubicBezTo>
                          <a:pt x="12618" y="26245"/>
                          <a:pt x="12325" y="26245"/>
                          <a:pt x="12068" y="26208"/>
                        </a:cubicBezTo>
                        <a:cubicBezTo>
                          <a:pt x="4947" y="25731"/>
                          <a:pt x="-448" y="19602"/>
                          <a:pt x="29" y="12445"/>
                        </a:cubicBezTo>
                        <a:lnTo>
                          <a:pt x="66" y="11931"/>
                        </a:lnTo>
                        <a:cubicBezTo>
                          <a:pt x="617" y="4810"/>
                          <a:pt x="6819" y="-511"/>
                          <a:pt x="13940" y="39"/>
                        </a:cubicBezTo>
                        <a:cubicBezTo>
                          <a:pt x="21060" y="590"/>
                          <a:pt x="26382" y="6792"/>
                          <a:pt x="25831" y="13913"/>
                        </a:cubicBezTo>
                        <a:lnTo>
                          <a:pt x="25794" y="14170"/>
                        </a:lnTo>
                        <a:cubicBezTo>
                          <a:pt x="25317" y="20996"/>
                          <a:pt x="19665" y="26245"/>
                          <a:pt x="12912" y="26245"/>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1541" name="Graphic 174">
                  <a:extLst>
                    <a:ext uri="{FF2B5EF4-FFF2-40B4-BE49-F238E27FC236}">
                      <a16:creationId xmlns:a16="http://schemas.microsoft.com/office/drawing/2014/main" id="{BA5CE0EE-A621-C446-C385-FDCFB40BD42D}"/>
                    </a:ext>
                  </a:extLst>
                </p:cNvPr>
                <p:cNvSpPr/>
                <p:nvPr/>
              </p:nvSpPr>
              <p:spPr>
                <a:xfrm>
                  <a:off x="2305449" y="2967928"/>
                  <a:ext cx="195849" cy="57226"/>
                </a:xfrm>
                <a:custGeom>
                  <a:avLst/>
                  <a:gdLst>
                    <a:gd name="connsiteX0" fmla="*/ 12930 w 195849"/>
                    <a:gd name="connsiteY0" fmla="*/ 57227 h 57226"/>
                    <a:gd name="connsiteX1" fmla="*/ 4305 w 195849"/>
                    <a:gd name="connsiteY1" fmla="*/ 53924 h 57226"/>
                    <a:gd name="connsiteX2" fmla="*/ 3277 w 195849"/>
                    <a:gd name="connsiteY2" fmla="*/ 35683 h 57226"/>
                    <a:gd name="connsiteX3" fmla="*/ 3865 w 195849"/>
                    <a:gd name="connsiteY3" fmla="*/ 35022 h 57226"/>
                    <a:gd name="connsiteX4" fmla="*/ 12196 w 195849"/>
                    <a:gd name="connsiteY4" fmla="*/ 30838 h 57226"/>
                    <a:gd name="connsiteX5" fmla="*/ 17041 w 195849"/>
                    <a:gd name="connsiteY5" fmla="*/ 22873 h 57226"/>
                    <a:gd name="connsiteX6" fmla="*/ 17775 w 195849"/>
                    <a:gd name="connsiteY6" fmla="*/ 22323 h 57226"/>
                    <a:gd name="connsiteX7" fmla="*/ 26730 w 195849"/>
                    <a:gd name="connsiteY7" fmla="*/ 19754 h 57226"/>
                    <a:gd name="connsiteX8" fmla="*/ 32970 w 195849"/>
                    <a:gd name="connsiteY8" fmla="*/ 12817 h 57226"/>
                    <a:gd name="connsiteX9" fmla="*/ 33741 w 195849"/>
                    <a:gd name="connsiteY9" fmla="*/ 12413 h 57226"/>
                    <a:gd name="connsiteX10" fmla="*/ 42953 w 195849"/>
                    <a:gd name="connsiteY10" fmla="*/ 11532 h 57226"/>
                    <a:gd name="connsiteX11" fmla="*/ 50220 w 195849"/>
                    <a:gd name="connsiteY11" fmla="*/ 5843 h 57226"/>
                    <a:gd name="connsiteX12" fmla="*/ 51064 w 195849"/>
                    <a:gd name="connsiteY12" fmla="*/ 5587 h 57226"/>
                    <a:gd name="connsiteX13" fmla="*/ 60166 w 195849"/>
                    <a:gd name="connsiteY13" fmla="*/ 6211 h 57226"/>
                    <a:gd name="connsiteX14" fmla="*/ 68094 w 195849"/>
                    <a:gd name="connsiteY14" fmla="*/ 1733 h 57226"/>
                    <a:gd name="connsiteX15" fmla="*/ 68938 w 195849"/>
                    <a:gd name="connsiteY15" fmla="*/ 1586 h 57226"/>
                    <a:gd name="connsiteX16" fmla="*/ 77747 w 195849"/>
                    <a:gd name="connsiteY16" fmla="*/ 3421 h 57226"/>
                    <a:gd name="connsiteX17" fmla="*/ 86042 w 195849"/>
                    <a:gd name="connsiteY17" fmla="*/ 44 h 57226"/>
                    <a:gd name="connsiteX18" fmla="*/ 86849 w 195849"/>
                    <a:gd name="connsiteY18" fmla="*/ 8 h 57226"/>
                    <a:gd name="connsiteX19" fmla="*/ 95254 w 195849"/>
                    <a:gd name="connsiteY19" fmla="*/ 2797 h 57226"/>
                    <a:gd name="connsiteX20" fmla="*/ 103732 w 195849"/>
                    <a:gd name="connsiteY20" fmla="*/ 338 h 57226"/>
                    <a:gd name="connsiteX21" fmla="*/ 104540 w 195849"/>
                    <a:gd name="connsiteY21" fmla="*/ 412 h 57226"/>
                    <a:gd name="connsiteX22" fmla="*/ 112577 w 195849"/>
                    <a:gd name="connsiteY22" fmla="*/ 3972 h 57226"/>
                    <a:gd name="connsiteX23" fmla="*/ 121166 w 195849"/>
                    <a:gd name="connsiteY23" fmla="*/ 2283 h 57226"/>
                    <a:gd name="connsiteX24" fmla="*/ 121973 w 195849"/>
                    <a:gd name="connsiteY24" fmla="*/ 2393 h 57226"/>
                    <a:gd name="connsiteX25" fmla="*/ 129607 w 195849"/>
                    <a:gd name="connsiteY25" fmla="*/ 6541 h 57226"/>
                    <a:gd name="connsiteX26" fmla="*/ 138232 w 195849"/>
                    <a:gd name="connsiteY26" fmla="*/ 5513 h 57226"/>
                    <a:gd name="connsiteX27" fmla="*/ 139040 w 195849"/>
                    <a:gd name="connsiteY27" fmla="*/ 5697 h 57226"/>
                    <a:gd name="connsiteX28" fmla="*/ 146344 w 195849"/>
                    <a:gd name="connsiteY28" fmla="*/ 10358 h 57226"/>
                    <a:gd name="connsiteX29" fmla="*/ 154969 w 195849"/>
                    <a:gd name="connsiteY29" fmla="*/ 9881 h 57226"/>
                    <a:gd name="connsiteX30" fmla="*/ 155739 w 195849"/>
                    <a:gd name="connsiteY30" fmla="*/ 10101 h 57226"/>
                    <a:gd name="connsiteX31" fmla="*/ 162713 w 195849"/>
                    <a:gd name="connsiteY31" fmla="*/ 15166 h 57226"/>
                    <a:gd name="connsiteX32" fmla="*/ 171338 w 195849"/>
                    <a:gd name="connsiteY32" fmla="*/ 15239 h 57226"/>
                    <a:gd name="connsiteX33" fmla="*/ 172109 w 195849"/>
                    <a:gd name="connsiteY33" fmla="*/ 15533 h 57226"/>
                    <a:gd name="connsiteX34" fmla="*/ 178789 w 195849"/>
                    <a:gd name="connsiteY34" fmla="*/ 21075 h 57226"/>
                    <a:gd name="connsiteX35" fmla="*/ 187561 w 195849"/>
                    <a:gd name="connsiteY35" fmla="*/ 21772 h 57226"/>
                    <a:gd name="connsiteX36" fmla="*/ 188478 w 195849"/>
                    <a:gd name="connsiteY36" fmla="*/ 22213 h 57226"/>
                    <a:gd name="connsiteX37" fmla="*/ 194607 w 195849"/>
                    <a:gd name="connsiteY37" fmla="*/ 39426 h 57226"/>
                    <a:gd name="connsiteX38" fmla="*/ 177394 w 195849"/>
                    <a:gd name="connsiteY38" fmla="*/ 45556 h 57226"/>
                    <a:gd name="connsiteX39" fmla="*/ 177394 w 195849"/>
                    <a:gd name="connsiteY39" fmla="*/ 45556 h 57226"/>
                    <a:gd name="connsiteX40" fmla="*/ 176843 w 195849"/>
                    <a:gd name="connsiteY40" fmla="*/ 45299 h 57226"/>
                    <a:gd name="connsiteX41" fmla="*/ 171081 w 195849"/>
                    <a:gd name="connsiteY41" fmla="*/ 40124 h 57226"/>
                    <a:gd name="connsiteX42" fmla="*/ 163227 w 195849"/>
                    <a:gd name="connsiteY42" fmla="*/ 39793 h 57226"/>
                    <a:gd name="connsiteX43" fmla="*/ 162529 w 195849"/>
                    <a:gd name="connsiteY43" fmla="*/ 39536 h 57226"/>
                    <a:gd name="connsiteX44" fmla="*/ 156290 w 195849"/>
                    <a:gd name="connsiteY44" fmla="*/ 34692 h 57226"/>
                    <a:gd name="connsiteX45" fmla="*/ 148362 w 195849"/>
                    <a:gd name="connsiteY45" fmla="*/ 34875 h 57226"/>
                    <a:gd name="connsiteX46" fmla="*/ 147628 w 195849"/>
                    <a:gd name="connsiteY46" fmla="*/ 34655 h 57226"/>
                    <a:gd name="connsiteX47" fmla="*/ 141095 w 195849"/>
                    <a:gd name="connsiteY47" fmla="*/ 30214 h 57226"/>
                    <a:gd name="connsiteX48" fmla="*/ 133241 w 195849"/>
                    <a:gd name="connsiteY48" fmla="*/ 30875 h 57226"/>
                    <a:gd name="connsiteX49" fmla="*/ 132507 w 195849"/>
                    <a:gd name="connsiteY49" fmla="*/ 30691 h 57226"/>
                    <a:gd name="connsiteX50" fmla="*/ 125717 w 195849"/>
                    <a:gd name="connsiteY50" fmla="*/ 26727 h 57226"/>
                    <a:gd name="connsiteX51" fmla="*/ 117973 w 195849"/>
                    <a:gd name="connsiteY51" fmla="*/ 27938 h 57226"/>
                    <a:gd name="connsiteX52" fmla="*/ 117239 w 195849"/>
                    <a:gd name="connsiteY52" fmla="*/ 27828 h 57226"/>
                    <a:gd name="connsiteX53" fmla="*/ 110265 w 195849"/>
                    <a:gd name="connsiteY53" fmla="*/ 24378 h 57226"/>
                    <a:gd name="connsiteX54" fmla="*/ 102704 w 195849"/>
                    <a:gd name="connsiteY54" fmla="*/ 26177 h 57226"/>
                    <a:gd name="connsiteX55" fmla="*/ 101970 w 195849"/>
                    <a:gd name="connsiteY55" fmla="*/ 26140 h 57226"/>
                    <a:gd name="connsiteX56" fmla="*/ 94813 w 195849"/>
                    <a:gd name="connsiteY56" fmla="*/ 23351 h 57226"/>
                    <a:gd name="connsiteX57" fmla="*/ 87583 w 195849"/>
                    <a:gd name="connsiteY57" fmla="*/ 25846 h 57226"/>
                    <a:gd name="connsiteX58" fmla="*/ 86849 w 195849"/>
                    <a:gd name="connsiteY58" fmla="*/ 25883 h 57226"/>
                    <a:gd name="connsiteX59" fmla="*/ 79545 w 195849"/>
                    <a:gd name="connsiteY59" fmla="*/ 23901 h 57226"/>
                    <a:gd name="connsiteX60" fmla="*/ 72755 w 195849"/>
                    <a:gd name="connsiteY60" fmla="*/ 27131 h 57226"/>
                    <a:gd name="connsiteX61" fmla="*/ 72058 w 195849"/>
                    <a:gd name="connsiteY61" fmla="*/ 27241 h 57226"/>
                    <a:gd name="connsiteX62" fmla="*/ 64717 w 195849"/>
                    <a:gd name="connsiteY62" fmla="*/ 26250 h 57226"/>
                    <a:gd name="connsiteX63" fmla="*/ 58551 w 195849"/>
                    <a:gd name="connsiteY63" fmla="*/ 30324 h 57226"/>
                    <a:gd name="connsiteX64" fmla="*/ 57891 w 195849"/>
                    <a:gd name="connsiteY64" fmla="*/ 30508 h 57226"/>
                    <a:gd name="connsiteX65" fmla="*/ 50624 w 195849"/>
                    <a:gd name="connsiteY65" fmla="*/ 30618 h 57226"/>
                    <a:gd name="connsiteX66" fmla="*/ 45302 w 195849"/>
                    <a:gd name="connsiteY66" fmla="*/ 35536 h 57226"/>
                    <a:gd name="connsiteX67" fmla="*/ 44678 w 195849"/>
                    <a:gd name="connsiteY67" fmla="*/ 35866 h 57226"/>
                    <a:gd name="connsiteX68" fmla="*/ 37631 w 195849"/>
                    <a:gd name="connsiteY68" fmla="*/ 37224 h 57226"/>
                    <a:gd name="connsiteX69" fmla="*/ 33337 w 195849"/>
                    <a:gd name="connsiteY69" fmla="*/ 42950 h 57226"/>
                    <a:gd name="connsiteX70" fmla="*/ 32823 w 195849"/>
                    <a:gd name="connsiteY70" fmla="*/ 43353 h 57226"/>
                    <a:gd name="connsiteX71" fmla="*/ 26143 w 195849"/>
                    <a:gd name="connsiteY71" fmla="*/ 45996 h 57226"/>
                    <a:gd name="connsiteX72" fmla="*/ 22987 w 195849"/>
                    <a:gd name="connsiteY72" fmla="*/ 52419 h 57226"/>
                    <a:gd name="connsiteX73" fmla="*/ 22546 w 195849"/>
                    <a:gd name="connsiteY73" fmla="*/ 52933 h 57226"/>
                    <a:gd name="connsiteX74" fmla="*/ 12930 w 195849"/>
                    <a:gd name="connsiteY74" fmla="*/ 57227 h 5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95849" h="57226">
                      <a:moveTo>
                        <a:pt x="12930" y="57227"/>
                      </a:moveTo>
                      <a:cubicBezTo>
                        <a:pt x="9847" y="57227"/>
                        <a:pt x="6801" y="56126"/>
                        <a:pt x="4305" y="53924"/>
                      </a:cubicBezTo>
                      <a:cubicBezTo>
                        <a:pt x="-1017" y="49152"/>
                        <a:pt x="-1457" y="41004"/>
                        <a:pt x="3277" y="35683"/>
                      </a:cubicBezTo>
                      <a:lnTo>
                        <a:pt x="3865" y="35022"/>
                      </a:lnTo>
                      <a:cubicBezTo>
                        <a:pt x="6104" y="32526"/>
                        <a:pt x="9113" y="31131"/>
                        <a:pt x="12196" y="30838"/>
                      </a:cubicBezTo>
                      <a:cubicBezTo>
                        <a:pt x="12747" y="27792"/>
                        <a:pt x="14362" y="24892"/>
                        <a:pt x="17041" y="22873"/>
                      </a:cubicBezTo>
                      <a:cubicBezTo>
                        <a:pt x="17298" y="22690"/>
                        <a:pt x="17518" y="22506"/>
                        <a:pt x="17775" y="22323"/>
                      </a:cubicBezTo>
                      <a:cubicBezTo>
                        <a:pt x="20454" y="20304"/>
                        <a:pt x="23647" y="19460"/>
                        <a:pt x="26730" y="19754"/>
                      </a:cubicBezTo>
                      <a:cubicBezTo>
                        <a:pt x="27831" y="16854"/>
                        <a:pt x="29960" y="14322"/>
                        <a:pt x="32970" y="12817"/>
                      </a:cubicBezTo>
                      <a:lnTo>
                        <a:pt x="33741" y="12413"/>
                      </a:lnTo>
                      <a:cubicBezTo>
                        <a:pt x="36713" y="10945"/>
                        <a:pt x="39980" y="10688"/>
                        <a:pt x="42953" y="11532"/>
                      </a:cubicBezTo>
                      <a:cubicBezTo>
                        <a:pt x="44531" y="8890"/>
                        <a:pt x="47027" y="6834"/>
                        <a:pt x="50220" y="5843"/>
                      </a:cubicBezTo>
                      <a:lnTo>
                        <a:pt x="51064" y="5587"/>
                      </a:lnTo>
                      <a:cubicBezTo>
                        <a:pt x="54184" y="4632"/>
                        <a:pt x="57414" y="4926"/>
                        <a:pt x="60166" y="6211"/>
                      </a:cubicBezTo>
                      <a:cubicBezTo>
                        <a:pt x="62111" y="3898"/>
                        <a:pt x="64864" y="2247"/>
                        <a:pt x="68094" y="1733"/>
                      </a:cubicBezTo>
                      <a:lnTo>
                        <a:pt x="68938" y="1586"/>
                      </a:lnTo>
                      <a:cubicBezTo>
                        <a:pt x="72131" y="1109"/>
                        <a:pt x="75214" y="1843"/>
                        <a:pt x="77747" y="3421"/>
                      </a:cubicBezTo>
                      <a:cubicBezTo>
                        <a:pt x="79949" y="1402"/>
                        <a:pt x="82812" y="155"/>
                        <a:pt x="86042" y="44"/>
                      </a:cubicBezTo>
                      <a:lnTo>
                        <a:pt x="86849" y="8"/>
                      </a:lnTo>
                      <a:cubicBezTo>
                        <a:pt x="90005" y="-102"/>
                        <a:pt x="92978" y="962"/>
                        <a:pt x="95254" y="2797"/>
                      </a:cubicBezTo>
                      <a:cubicBezTo>
                        <a:pt x="97639" y="1072"/>
                        <a:pt x="100576" y="118"/>
                        <a:pt x="103732" y="338"/>
                      </a:cubicBezTo>
                      <a:lnTo>
                        <a:pt x="104540" y="412"/>
                      </a:lnTo>
                      <a:cubicBezTo>
                        <a:pt x="107659" y="632"/>
                        <a:pt x="110449" y="1953"/>
                        <a:pt x="112577" y="3972"/>
                      </a:cubicBezTo>
                      <a:cubicBezTo>
                        <a:pt x="115073" y="2467"/>
                        <a:pt x="118083" y="1806"/>
                        <a:pt x="121166" y="2283"/>
                      </a:cubicBezTo>
                      <a:lnTo>
                        <a:pt x="121973" y="2393"/>
                      </a:lnTo>
                      <a:cubicBezTo>
                        <a:pt x="125056" y="2871"/>
                        <a:pt x="127699" y="4375"/>
                        <a:pt x="129607" y="6541"/>
                      </a:cubicBezTo>
                      <a:cubicBezTo>
                        <a:pt x="132177" y="5256"/>
                        <a:pt x="135186" y="4816"/>
                        <a:pt x="138232" y="5513"/>
                      </a:cubicBezTo>
                      <a:lnTo>
                        <a:pt x="139040" y="5697"/>
                      </a:lnTo>
                      <a:cubicBezTo>
                        <a:pt x="142049" y="6394"/>
                        <a:pt x="144582" y="8082"/>
                        <a:pt x="146344" y="10358"/>
                      </a:cubicBezTo>
                      <a:cubicBezTo>
                        <a:pt x="148986" y="9257"/>
                        <a:pt x="151996" y="9000"/>
                        <a:pt x="154969" y="9881"/>
                      </a:cubicBezTo>
                      <a:lnTo>
                        <a:pt x="155739" y="10101"/>
                      </a:lnTo>
                      <a:cubicBezTo>
                        <a:pt x="158676" y="10982"/>
                        <a:pt x="161098" y="12817"/>
                        <a:pt x="162713" y="15166"/>
                      </a:cubicBezTo>
                      <a:cubicBezTo>
                        <a:pt x="165429" y="14212"/>
                        <a:pt x="168439" y="14175"/>
                        <a:pt x="171338" y="15239"/>
                      </a:cubicBezTo>
                      <a:lnTo>
                        <a:pt x="172109" y="15533"/>
                      </a:lnTo>
                      <a:cubicBezTo>
                        <a:pt x="175045" y="16597"/>
                        <a:pt x="177321" y="18616"/>
                        <a:pt x="178789" y="21075"/>
                      </a:cubicBezTo>
                      <a:cubicBezTo>
                        <a:pt x="181615" y="20304"/>
                        <a:pt x="184698" y="20451"/>
                        <a:pt x="187561" y="21772"/>
                      </a:cubicBezTo>
                      <a:cubicBezTo>
                        <a:pt x="188148" y="22029"/>
                        <a:pt x="188478" y="22213"/>
                        <a:pt x="188478" y="22213"/>
                      </a:cubicBezTo>
                      <a:cubicBezTo>
                        <a:pt x="194901" y="25296"/>
                        <a:pt x="197654" y="33003"/>
                        <a:pt x="194607" y="39426"/>
                      </a:cubicBezTo>
                      <a:cubicBezTo>
                        <a:pt x="191561" y="45849"/>
                        <a:pt x="183854" y="48602"/>
                        <a:pt x="177394" y="45556"/>
                      </a:cubicBezTo>
                      <a:lnTo>
                        <a:pt x="177394" y="45556"/>
                      </a:lnTo>
                      <a:cubicBezTo>
                        <a:pt x="177357" y="45519"/>
                        <a:pt x="177174" y="45445"/>
                        <a:pt x="176843" y="45299"/>
                      </a:cubicBezTo>
                      <a:cubicBezTo>
                        <a:pt x="174348" y="44161"/>
                        <a:pt x="172366" y="42326"/>
                        <a:pt x="171081" y="40124"/>
                      </a:cubicBezTo>
                      <a:cubicBezTo>
                        <a:pt x="168585" y="40821"/>
                        <a:pt x="165833" y="40748"/>
                        <a:pt x="163227" y="39793"/>
                      </a:cubicBezTo>
                      <a:lnTo>
                        <a:pt x="162529" y="39536"/>
                      </a:lnTo>
                      <a:cubicBezTo>
                        <a:pt x="159887" y="38582"/>
                        <a:pt x="157758" y="36857"/>
                        <a:pt x="156290" y="34692"/>
                      </a:cubicBezTo>
                      <a:cubicBezTo>
                        <a:pt x="153831" y="35536"/>
                        <a:pt x="151078" y="35683"/>
                        <a:pt x="148362" y="34875"/>
                      </a:cubicBezTo>
                      <a:lnTo>
                        <a:pt x="147628" y="34655"/>
                      </a:lnTo>
                      <a:cubicBezTo>
                        <a:pt x="144949" y="33847"/>
                        <a:pt x="142710" y="32269"/>
                        <a:pt x="141095" y="30214"/>
                      </a:cubicBezTo>
                      <a:cubicBezTo>
                        <a:pt x="138710" y="31205"/>
                        <a:pt x="135957" y="31499"/>
                        <a:pt x="133241" y="30875"/>
                      </a:cubicBezTo>
                      <a:lnTo>
                        <a:pt x="132507" y="30691"/>
                      </a:lnTo>
                      <a:cubicBezTo>
                        <a:pt x="129791" y="30067"/>
                        <a:pt x="127442" y="28636"/>
                        <a:pt x="125717" y="26727"/>
                      </a:cubicBezTo>
                      <a:cubicBezTo>
                        <a:pt x="123405" y="27902"/>
                        <a:pt x="120725" y="28379"/>
                        <a:pt x="117973" y="27938"/>
                      </a:cubicBezTo>
                      <a:lnTo>
                        <a:pt x="117239" y="27828"/>
                      </a:lnTo>
                      <a:cubicBezTo>
                        <a:pt x="114523" y="27425"/>
                        <a:pt x="112100" y="26177"/>
                        <a:pt x="110265" y="24378"/>
                      </a:cubicBezTo>
                      <a:cubicBezTo>
                        <a:pt x="108063" y="25700"/>
                        <a:pt x="105457" y="26360"/>
                        <a:pt x="102704" y="26177"/>
                      </a:cubicBezTo>
                      <a:lnTo>
                        <a:pt x="101970" y="26140"/>
                      </a:lnTo>
                      <a:cubicBezTo>
                        <a:pt x="99254" y="25956"/>
                        <a:pt x="96795" y="24929"/>
                        <a:pt x="94813" y="23351"/>
                      </a:cubicBezTo>
                      <a:cubicBezTo>
                        <a:pt x="92758" y="24855"/>
                        <a:pt x="90299" y="25736"/>
                        <a:pt x="87583" y="25846"/>
                      </a:cubicBezTo>
                      <a:lnTo>
                        <a:pt x="86849" y="25883"/>
                      </a:lnTo>
                      <a:cubicBezTo>
                        <a:pt x="84170" y="25993"/>
                        <a:pt x="81637" y="25222"/>
                        <a:pt x="79545" y="23901"/>
                      </a:cubicBezTo>
                      <a:cubicBezTo>
                        <a:pt x="77710" y="25589"/>
                        <a:pt x="75398" y="26764"/>
                        <a:pt x="72755" y="27131"/>
                      </a:cubicBezTo>
                      <a:lnTo>
                        <a:pt x="72058" y="27241"/>
                      </a:lnTo>
                      <a:cubicBezTo>
                        <a:pt x="69452" y="27645"/>
                        <a:pt x="66920" y="27241"/>
                        <a:pt x="64717" y="26250"/>
                      </a:cubicBezTo>
                      <a:cubicBezTo>
                        <a:pt x="63139" y="28122"/>
                        <a:pt x="61047" y="29553"/>
                        <a:pt x="58551" y="30324"/>
                      </a:cubicBezTo>
                      <a:lnTo>
                        <a:pt x="57891" y="30508"/>
                      </a:lnTo>
                      <a:cubicBezTo>
                        <a:pt x="55432" y="31278"/>
                        <a:pt x="52936" y="31278"/>
                        <a:pt x="50624" y="30618"/>
                      </a:cubicBezTo>
                      <a:cubicBezTo>
                        <a:pt x="49412" y="32673"/>
                        <a:pt x="47614" y="34398"/>
                        <a:pt x="45302" y="35536"/>
                      </a:cubicBezTo>
                      <a:lnTo>
                        <a:pt x="44678" y="35866"/>
                      </a:lnTo>
                      <a:cubicBezTo>
                        <a:pt x="42439" y="37004"/>
                        <a:pt x="39980" y="37444"/>
                        <a:pt x="37631" y="37224"/>
                      </a:cubicBezTo>
                      <a:cubicBezTo>
                        <a:pt x="36787" y="39426"/>
                        <a:pt x="35355" y="41445"/>
                        <a:pt x="33337" y="42950"/>
                      </a:cubicBezTo>
                      <a:lnTo>
                        <a:pt x="32823" y="43353"/>
                      </a:lnTo>
                      <a:cubicBezTo>
                        <a:pt x="30804" y="44895"/>
                        <a:pt x="28492" y="45776"/>
                        <a:pt x="26143" y="45996"/>
                      </a:cubicBezTo>
                      <a:cubicBezTo>
                        <a:pt x="25739" y="48308"/>
                        <a:pt x="24675" y="50547"/>
                        <a:pt x="22987" y="52419"/>
                      </a:cubicBezTo>
                      <a:lnTo>
                        <a:pt x="22546" y="52933"/>
                      </a:lnTo>
                      <a:cubicBezTo>
                        <a:pt x="20014" y="55759"/>
                        <a:pt x="16490" y="57227"/>
                        <a:pt x="12930" y="57227"/>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42" name="Graphic 174">
                  <a:extLst>
                    <a:ext uri="{FF2B5EF4-FFF2-40B4-BE49-F238E27FC236}">
                      <a16:creationId xmlns:a16="http://schemas.microsoft.com/office/drawing/2014/main" id="{F0F01008-3BC4-06FC-99CA-7457E9D490CE}"/>
                    </a:ext>
                  </a:extLst>
                </p:cNvPr>
                <p:cNvSpPr/>
                <p:nvPr/>
              </p:nvSpPr>
              <p:spPr>
                <a:xfrm>
                  <a:off x="2313067" y="3071593"/>
                  <a:ext cx="130334" cy="146029"/>
                </a:xfrm>
                <a:custGeom>
                  <a:avLst/>
                  <a:gdLst>
                    <a:gd name="connsiteX0" fmla="*/ 117401 w 130334"/>
                    <a:gd name="connsiteY0" fmla="*/ 146029 h 146029"/>
                    <a:gd name="connsiteX1" fmla="*/ 104812 w 130334"/>
                    <a:gd name="connsiteY1" fmla="*/ 135973 h 146029"/>
                    <a:gd name="connsiteX2" fmla="*/ 104702 w 130334"/>
                    <a:gd name="connsiteY2" fmla="*/ 135459 h 146029"/>
                    <a:gd name="connsiteX3" fmla="*/ 105106 w 130334"/>
                    <a:gd name="connsiteY3" fmla="*/ 127935 h 146029"/>
                    <a:gd name="connsiteX4" fmla="*/ 100408 w 130334"/>
                    <a:gd name="connsiteY4" fmla="*/ 121842 h 146029"/>
                    <a:gd name="connsiteX5" fmla="*/ 100151 w 130334"/>
                    <a:gd name="connsiteY5" fmla="*/ 121182 h 146029"/>
                    <a:gd name="connsiteX6" fmla="*/ 99748 w 130334"/>
                    <a:gd name="connsiteY6" fmla="*/ 113401 h 146029"/>
                    <a:gd name="connsiteX7" fmla="*/ 94462 w 130334"/>
                    <a:gd name="connsiteY7" fmla="*/ 107675 h 146029"/>
                    <a:gd name="connsiteX8" fmla="*/ 94169 w 130334"/>
                    <a:gd name="connsiteY8" fmla="*/ 107015 h 146029"/>
                    <a:gd name="connsiteX9" fmla="*/ 93104 w 130334"/>
                    <a:gd name="connsiteY9" fmla="*/ 99270 h 146029"/>
                    <a:gd name="connsiteX10" fmla="*/ 87379 w 130334"/>
                    <a:gd name="connsiteY10" fmla="*/ 93985 h 146029"/>
                    <a:gd name="connsiteX11" fmla="*/ 87012 w 130334"/>
                    <a:gd name="connsiteY11" fmla="*/ 93361 h 146029"/>
                    <a:gd name="connsiteX12" fmla="*/ 85323 w 130334"/>
                    <a:gd name="connsiteY12" fmla="*/ 85764 h 146029"/>
                    <a:gd name="connsiteX13" fmla="*/ 79194 w 130334"/>
                    <a:gd name="connsiteY13" fmla="*/ 80993 h 146029"/>
                    <a:gd name="connsiteX14" fmla="*/ 78790 w 130334"/>
                    <a:gd name="connsiteY14" fmla="*/ 80405 h 146029"/>
                    <a:gd name="connsiteX15" fmla="*/ 76441 w 130334"/>
                    <a:gd name="connsiteY15" fmla="*/ 73028 h 146029"/>
                    <a:gd name="connsiteX16" fmla="*/ 69945 w 130334"/>
                    <a:gd name="connsiteY16" fmla="*/ 68844 h 146029"/>
                    <a:gd name="connsiteX17" fmla="*/ 69468 w 130334"/>
                    <a:gd name="connsiteY17" fmla="*/ 68294 h 146029"/>
                    <a:gd name="connsiteX18" fmla="*/ 66458 w 130334"/>
                    <a:gd name="connsiteY18" fmla="*/ 61173 h 146029"/>
                    <a:gd name="connsiteX19" fmla="*/ 59632 w 130334"/>
                    <a:gd name="connsiteY19" fmla="*/ 57650 h 146029"/>
                    <a:gd name="connsiteX20" fmla="*/ 59118 w 130334"/>
                    <a:gd name="connsiteY20" fmla="*/ 57136 h 146029"/>
                    <a:gd name="connsiteX21" fmla="*/ 55448 w 130334"/>
                    <a:gd name="connsiteY21" fmla="*/ 50383 h 146029"/>
                    <a:gd name="connsiteX22" fmla="*/ 48327 w 130334"/>
                    <a:gd name="connsiteY22" fmla="*/ 47557 h 146029"/>
                    <a:gd name="connsiteX23" fmla="*/ 47777 w 130334"/>
                    <a:gd name="connsiteY23" fmla="*/ 47116 h 146029"/>
                    <a:gd name="connsiteX24" fmla="*/ 43446 w 130334"/>
                    <a:gd name="connsiteY24" fmla="*/ 40803 h 146029"/>
                    <a:gd name="connsiteX25" fmla="*/ 36069 w 130334"/>
                    <a:gd name="connsiteY25" fmla="*/ 38748 h 146029"/>
                    <a:gd name="connsiteX26" fmla="*/ 35445 w 130334"/>
                    <a:gd name="connsiteY26" fmla="*/ 38344 h 146029"/>
                    <a:gd name="connsiteX27" fmla="*/ 30490 w 130334"/>
                    <a:gd name="connsiteY27" fmla="*/ 32545 h 146029"/>
                    <a:gd name="connsiteX28" fmla="*/ 22966 w 130334"/>
                    <a:gd name="connsiteY28" fmla="*/ 31297 h 146029"/>
                    <a:gd name="connsiteX29" fmla="*/ 22342 w 130334"/>
                    <a:gd name="connsiteY29" fmla="*/ 31004 h 146029"/>
                    <a:gd name="connsiteX30" fmla="*/ 16763 w 130334"/>
                    <a:gd name="connsiteY30" fmla="*/ 25755 h 146029"/>
                    <a:gd name="connsiteX31" fmla="*/ 9129 w 130334"/>
                    <a:gd name="connsiteY31" fmla="*/ 25315 h 146029"/>
                    <a:gd name="connsiteX32" fmla="*/ 8468 w 130334"/>
                    <a:gd name="connsiteY32" fmla="*/ 25058 h 146029"/>
                    <a:gd name="connsiteX33" fmla="*/ 798 w 130334"/>
                    <a:gd name="connsiteY33" fmla="*/ 8468 h 146029"/>
                    <a:gd name="connsiteX34" fmla="*/ 17387 w 130334"/>
                    <a:gd name="connsiteY34" fmla="*/ 798 h 146029"/>
                    <a:gd name="connsiteX35" fmla="*/ 18195 w 130334"/>
                    <a:gd name="connsiteY35" fmla="*/ 1091 h 146029"/>
                    <a:gd name="connsiteX36" fmla="*/ 24911 w 130334"/>
                    <a:gd name="connsiteY36" fmla="*/ 6854 h 146029"/>
                    <a:gd name="connsiteX37" fmla="*/ 33720 w 130334"/>
                    <a:gd name="connsiteY37" fmla="*/ 7808 h 146029"/>
                    <a:gd name="connsiteX38" fmla="*/ 34491 w 130334"/>
                    <a:gd name="connsiteY38" fmla="*/ 8212 h 146029"/>
                    <a:gd name="connsiteX39" fmla="*/ 40583 w 130334"/>
                    <a:gd name="connsiteY39" fmla="*/ 14671 h 146029"/>
                    <a:gd name="connsiteX40" fmla="*/ 49282 w 130334"/>
                    <a:gd name="connsiteY40" fmla="*/ 16580 h 146029"/>
                    <a:gd name="connsiteX41" fmla="*/ 49979 w 130334"/>
                    <a:gd name="connsiteY41" fmla="*/ 17020 h 146029"/>
                    <a:gd name="connsiteX42" fmla="*/ 55338 w 130334"/>
                    <a:gd name="connsiteY42" fmla="*/ 24104 h 146029"/>
                    <a:gd name="connsiteX43" fmla="*/ 63742 w 130334"/>
                    <a:gd name="connsiteY43" fmla="*/ 26893 h 146029"/>
                    <a:gd name="connsiteX44" fmla="*/ 64403 w 130334"/>
                    <a:gd name="connsiteY44" fmla="*/ 27407 h 146029"/>
                    <a:gd name="connsiteX45" fmla="*/ 68991 w 130334"/>
                    <a:gd name="connsiteY45" fmla="*/ 34968 h 146029"/>
                    <a:gd name="connsiteX46" fmla="*/ 77065 w 130334"/>
                    <a:gd name="connsiteY46" fmla="*/ 38601 h 146029"/>
                    <a:gd name="connsiteX47" fmla="*/ 77689 w 130334"/>
                    <a:gd name="connsiteY47" fmla="*/ 39188 h 146029"/>
                    <a:gd name="connsiteX48" fmla="*/ 81506 w 130334"/>
                    <a:gd name="connsiteY48" fmla="*/ 47190 h 146029"/>
                    <a:gd name="connsiteX49" fmla="*/ 89141 w 130334"/>
                    <a:gd name="connsiteY49" fmla="*/ 51557 h 146029"/>
                    <a:gd name="connsiteX50" fmla="*/ 89691 w 130334"/>
                    <a:gd name="connsiteY50" fmla="*/ 52218 h 146029"/>
                    <a:gd name="connsiteX51" fmla="*/ 92701 w 130334"/>
                    <a:gd name="connsiteY51" fmla="*/ 60513 h 146029"/>
                    <a:gd name="connsiteX52" fmla="*/ 99894 w 130334"/>
                    <a:gd name="connsiteY52" fmla="*/ 65578 h 146029"/>
                    <a:gd name="connsiteX53" fmla="*/ 100371 w 130334"/>
                    <a:gd name="connsiteY53" fmla="*/ 66275 h 146029"/>
                    <a:gd name="connsiteX54" fmla="*/ 102610 w 130334"/>
                    <a:gd name="connsiteY54" fmla="*/ 74753 h 146029"/>
                    <a:gd name="connsiteX55" fmla="*/ 109327 w 130334"/>
                    <a:gd name="connsiteY55" fmla="*/ 80405 h 146029"/>
                    <a:gd name="connsiteX56" fmla="*/ 109731 w 130334"/>
                    <a:gd name="connsiteY56" fmla="*/ 81139 h 146029"/>
                    <a:gd name="connsiteX57" fmla="*/ 111235 w 130334"/>
                    <a:gd name="connsiteY57" fmla="*/ 89764 h 146029"/>
                    <a:gd name="connsiteX58" fmla="*/ 117438 w 130334"/>
                    <a:gd name="connsiteY58" fmla="*/ 95930 h 146029"/>
                    <a:gd name="connsiteX59" fmla="*/ 117805 w 130334"/>
                    <a:gd name="connsiteY59" fmla="*/ 96701 h 146029"/>
                    <a:gd name="connsiteX60" fmla="*/ 118613 w 130334"/>
                    <a:gd name="connsiteY60" fmla="*/ 105436 h 146029"/>
                    <a:gd name="connsiteX61" fmla="*/ 124302 w 130334"/>
                    <a:gd name="connsiteY61" fmla="*/ 112116 h 146029"/>
                    <a:gd name="connsiteX62" fmla="*/ 124595 w 130334"/>
                    <a:gd name="connsiteY62" fmla="*/ 112924 h 146029"/>
                    <a:gd name="connsiteX63" fmla="*/ 124632 w 130334"/>
                    <a:gd name="connsiteY63" fmla="*/ 121806 h 146029"/>
                    <a:gd name="connsiteX64" fmla="*/ 129770 w 130334"/>
                    <a:gd name="connsiteY64" fmla="*/ 129256 h 146029"/>
                    <a:gd name="connsiteX65" fmla="*/ 130027 w 130334"/>
                    <a:gd name="connsiteY65" fmla="*/ 130321 h 146029"/>
                    <a:gd name="connsiteX66" fmla="*/ 120191 w 130334"/>
                    <a:gd name="connsiteY66" fmla="*/ 145736 h 146029"/>
                    <a:gd name="connsiteX67" fmla="*/ 117401 w 130334"/>
                    <a:gd name="connsiteY67" fmla="*/ 146029 h 14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30334" h="146029">
                      <a:moveTo>
                        <a:pt x="117401" y="146029"/>
                      </a:moveTo>
                      <a:cubicBezTo>
                        <a:pt x="111492" y="146029"/>
                        <a:pt x="106170" y="141955"/>
                        <a:pt x="104812" y="135973"/>
                      </a:cubicBezTo>
                      <a:cubicBezTo>
                        <a:pt x="104812" y="135899"/>
                        <a:pt x="104776" y="135753"/>
                        <a:pt x="104702" y="135459"/>
                      </a:cubicBezTo>
                      <a:cubicBezTo>
                        <a:pt x="104042" y="132890"/>
                        <a:pt x="104262" y="130284"/>
                        <a:pt x="105106" y="127935"/>
                      </a:cubicBezTo>
                      <a:cubicBezTo>
                        <a:pt x="103014" y="126467"/>
                        <a:pt x="101362" y="124375"/>
                        <a:pt x="100408" y="121842"/>
                      </a:cubicBezTo>
                      <a:lnTo>
                        <a:pt x="100151" y="121182"/>
                      </a:lnTo>
                      <a:cubicBezTo>
                        <a:pt x="99197" y="118576"/>
                        <a:pt x="99087" y="115897"/>
                        <a:pt x="99748" y="113401"/>
                      </a:cubicBezTo>
                      <a:cubicBezTo>
                        <a:pt x="97509" y="112116"/>
                        <a:pt x="95637" y="110171"/>
                        <a:pt x="94462" y="107675"/>
                      </a:cubicBezTo>
                      <a:lnTo>
                        <a:pt x="94169" y="107015"/>
                      </a:lnTo>
                      <a:cubicBezTo>
                        <a:pt x="92994" y="104519"/>
                        <a:pt x="92664" y="101803"/>
                        <a:pt x="93104" y="99270"/>
                      </a:cubicBezTo>
                      <a:cubicBezTo>
                        <a:pt x="90792" y="98169"/>
                        <a:pt x="88737" y="96371"/>
                        <a:pt x="87379" y="93985"/>
                      </a:cubicBezTo>
                      <a:lnTo>
                        <a:pt x="87012" y="93361"/>
                      </a:lnTo>
                      <a:cubicBezTo>
                        <a:pt x="85617" y="90976"/>
                        <a:pt x="85103" y="88333"/>
                        <a:pt x="85323" y="85764"/>
                      </a:cubicBezTo>
                      <a:cubicBezTo>
                        <a:pt x="82938" y="84883"/>
                        <a:pt x="80772" y="83268"/>
                        <a:pt x="79194" y="80993"/>
                      </a:cubicBezTo>
                      <a:lnTo>
                        <a:pt x="78790" y="80405"/>
                      </a:lnTo>
                      <a:cubicBezTo>
                        <a:pt x="77212" y="78166"/>
                        <a:pt x="76478" y="75561"/>
                        <a:pt x="76441" y="73028"/>
                      </a:cubicBezTo>
                      <a:cubicBezTo>
                        <a:pt x="73982" y="72367"/>
                        <a:pt x="71707" y="70973"/>
                        <a:pt x="69945" y="68844"/>
                      </a:cubicBezTo>
                      <a:lnTo>
                        <a:pt x="69468" y="68294"/>
                      </a:lnTo>
                      <a:cubicBezTo>
                        <a:pt x="67706" y="66201"/>
                        <a:pt x="66715" y="63706"/>
                        <a:pt x="66458" y="61173"/>
                      </a:cubicBezTo>
                      <a:cubicBezTo>
                        <a:pt x="63963" y="60733"/>
                        <a:pt x="61577" y="59558"/>
                        <a:pt x="59632" y="57650"/>
                      </a:cubicBezTo>
                      <a:lnTo>
                        <a:pt x="59118" y="57136"/>
                      </a:lnTo>
                      <a:cubicBezTo>
                        <a:pt x="57173" y="55227"/>
                        <a:pt x="55925" y="52878"/>
                        <a:pt x="55448" y="50383"/>
                      </a:cubicBezTo>
                      <a:cubicBezTo>
                        <a:pt x="52915" y="50199"/>
                        <a:pt x="50419" y="49282"/>
                        <a:pt x="48327" y="47557"/>
                      </a:cubicBezTo>
                      <a:lnTo>
                        <a:pt x="47777" y="47116"/>
                      </a:lnTo>
                      <a:cubicBezTo>
                        <a:pt x="45648" y="45428"/>
                        <a:pt x="44217" y="43226"/>
                        <a:pt x="43446" y="40803"/>
                      </a:cubicBezTo>
                      <a:cubicBezTo>
                        <a:pt x="40950" y="40877"/>
                        <a:pt x="38381" y="40216"/>
                        <a:pt x="36069" y="38748"/>
                      </a:cubicBezTo>
                      <a:lnTo>
                        <a:pt x="35445" y="38344"/>
                      </a:lnTo>
                      <a:cubicBezTo>
                        <a:pt x="33169" y="36913"/>
                        <a:pt x="31481" y="34858"/>
                        <a:pt x="30490" y="32545"/>
                      </a:cubicBezTo>
                      <a:cubicBezTo>
                        <a:pt x="27994" y="32876"/>
                        <a:pt x="25388" y="32509"/>
                        <a:pt x="22966" y="31297"/>
                      </a:cubicBezTo>
                      <a:lnTo>
                        <a:pt x="22342" y="31004"/>
                      </a:lnTo>
                      <a:cubicBezTo>
                        <a:pt x="19920" y="29793"/>
                        <a:pt x="18011" y="27957"/>
                        <a:pt x="16763" y="25755"/>
                      </a:cubicBezTo>
                      <a:cubicBezTo>
                        <a:pt x="14304" y="26379"/>
                        <a:pt x="11662" y="26269"/>
                        <a:pt x="9129" y="25315"/>
                      </a:cubicBezTo>
                      <a:lnTo>
                        <a:pt x="8468" y="25058"/>
                      </a:lnTo>
                      <a:cubicBezTo>
                        <a:pt x="1752" y="22599"/>
                        <a:pt x="-1661" y="15148"/>
                        <a:pt x="798" y="8468"/>
                      </a:cubicBezTo>
                      <a:cubicBezTo>
                        <a:pt x="3257" y="1752"/>
                        <a:pt x="10671" y="-1661"/>
                        <a:pt x="17387" y="798"/>
                      </a:cubicBezTo>
                      <a:lnTo>
                        <a:pt x="18195" y="1091"/>
                      </a:lnTo>
                      <a:cubicBezTo>
                        <a:pt x="21168" y="2192"/>
                        <a:pt x="23480" y="4284"/>
                        <a:pt x="24911" y="6854"/>
                      </a:cubicBezTo>
                      <a:cubicBezTo>
                        <a:pt x="27774" y="6156"/>
                        <a:pt x="30857" y="6413"/>
                        <a:pt x="33720" y="7808"/>
                      </a:cubicBezTo>
                      <a:lnTo>
                        <a:pt x="34491" y="8212"/>
                      </a:lnTo>
                      <a:cubicBezTo>
                        <a:pt x="37317" y="9643"/>
                        <a:pt x="39409" y="11955"/>
                        <a:pt x="40583" y="14671"/>
                      </a:cubicBezTo>
                      <a:cubicBezTo>
                        <a:pt x="43519" y="14267"/>
                        <a:pt x="46566" y="14855"/>
                        <a:pt x="49282" y="16580"/>
                      </a:cubicBezTo>
                      <a:lnTo>
                        <a:pt x="49979" y="17020"/>
                      </a:lnTo>
                      <a:cubicBezTo>
                        <a:pt x="52658" y="18745"/>
                        <a:pt x="54493" y="21278"/>
                        <a:pt x="55338" y="24104"/>
                      </a:cubicBezTo>
                      <a:cubicBezTo>
                        <a:pt x="58274" y="24030"/>
                        <a:pt x="61283" y="24911"/>
                        <a:pt x="63742" y="26893"/>
                      </a:cubicBezTo>
                      <a:lnTo>
                        <a:pt x="64403" y="27407"/>
                      </a:lnTo>
                      <a:cubicBezTo>
                        <a:pt x="66862" y="29389"/>
                        <a:pt x="68440" y="32105"/>
                        <a:pt x="68991" y="34968"/>
                      </a:cubicBezTo>
                      <a:cubicBezTo>
                        <a:pt x="71927" y="35188"/>
                        <a:pt x="74790" y="36399"/>
                        <a:pt x="77065" y="38601"/>
                      </a:cubicBezTo>
                      <a:lnTo>
                        <a:pt x="77689" y="39188"/>
                      </a:lnTo>
                      <a:cubicBezTo>
                        <a:pt x="79928" y="41391"/>
                        <a:pt x="81213" y="44253"/>
                        <a:pt x="81506" y="47190"/>
                      </a:cubicBezTo>
                      <a:cubicBezTo>
                        <a:pt x="84369" y="47703"/>
                        <a:pt x="87122" y="49172"/>
                        <a:pt x="89141" y="51557"/>
                      </a:cubicBezTo>
                      <a:lnTo>
                        <a:pt x="89691" y="52218"/>
                      </a:lnTo>
                      <a:cubicBezTo>
                        <a:pt x="91710" y="54640"/>
                        <a:pt x="92701" y="57576"/>
                        <a:pt x="92701" y="60513"/>
                      </a:cubicBezTo>
                      <a:cubicBezTo>
                        <a:pt x="95527" y="61283"/>
                        <a:pt x="98096" y="63008"/>
                        <a:pt x="99894" y="65578"/>
                      </a:cubicBezTo>
                      <a:lnTo>
                        <a:pt x="100371" y="66275"/>
                      </a:lnTo>
                      <a:cubicBezTo>
                        <a:pt x="102170" y="68844"/>
                        <a:pt x="102867" y="71854"/>
                        <a:pt x="102610" y="74753"/>
                      </a:cubicBezTo>
                      <a:cubicBezTo>
                        <a:pt x="105326" y="75781"/>
                        <a:pt x="107749" y="77689"/>
                        <a:pt x="109327" y="80405"/>
                      </a:cubicBezTo>
                      <a:lnTo>
                        <a:pt x="109731" y="81139"/>
                      </a:lnTo>
                      <a:cubicBezTo>
                        <a:pt x="111272" y="83855"/>
                        <a:pt x="111749" y="86902"/>
                        <a:pt x="111235" y="89764"/>
                      </a:cubicBezTo>
                      <a:cubicBezTo>
                        <a:pt x="113841" y="90976"/>
                        <a:pt x="116080" y="93104"/>
                        <a:pt x="117438" y="95930"/>
                      </a:cubicBezTo>
                      <a:lnTo>
                        <a:pt x="117805" y="96701"/>
                      </a:lnTo>
                      <a:cubicBezTo>
                        <a:pt x="119126" y="99527"/>
                        <a:pt x="119347" y="102610"/>
                        <a:pt x="118613" y="105436"/>
                      </a:cubicBezTo>
                      <a:cubicBezTo>
                        <a:pt x="121145" y="106868"/>
                        <a:pt x="123200" y="109180"/>
                        <a:pt x="124302" y="112116"/>
                      </a:cubicBezTo>
                      <a:lnTo>
                        <a:pt x="124595" y="112924"/>
                      </a:lnTo>
                      <a:cubicBezTo>
                        <a:pt x="125696" y="115897"/>
                        <a:pt x="125623" y="119016"/>
                        <a:pt x="124632" y="121806"/>
                      </a:cubicBezTo>
                      <a:cubicBezTo>
                        <a:pt x="127091" y="123531"/>
                        <a:pt x="128963" y="126137"/>
                        <a:pt x="129770" y="129256"/>
                      </a:cubicBezTo>
                      <a:cubicBezTo>
                        <a:pt x="129954" y="129954"/>
                        <a:pt x="130027" y="130321"/>
                        <a:pt x="130027" y="130321"/>
                      </a:cubicBezTo>
                      <a:cubicBezTo>
                        <a:pt x="131569" y="137294"/>
                        <a:pt x="127164" y="144194"/>
                        <a:pt x="120191" y="145736"/>
                      </a:cubicBezTo>
                      <a:cubicBezTo>
                        <a:pt x="119273" y="145919"/>
                        <a:pt x="118319" y="146029"/>
                        <a:pt x="117401" y="146029"/>
                      </a:cubicBezTo>
                      <a:close/>
                    </a:path>
                  </a:pathLst>
                </a:custGeom>
                <a:solidFill>
                  <a:srgbClr val="10161E"/>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29" name="Graphic 174">
                <a:extLst>
                  <a:ext uri="{FF2B5EF4-FFF2-40B4-BE49-F238E27FC236}">
                    <a16:creationId xmlns:a16="http://schemas.microsoft.com/office/drawing/2014/main" id="{B5DA6024-D272-CA62-383A-14428F49CF99}"/>
                  </a:ext>
                </a:extLst>
              </p:cNvPr>
              <p:cNvGrpSpPr/>
              <p:nvPr/>
            </p:nvGrpSpPr>
            <p:grpSpPr>
              <a:xfrm>
                <a:off x="11895913" y="4233099"/>
                <a:ext cx="1097457" cy="1536387"/>
                <a:chOff x="1778567" y="3526657"/>
                <a:chExt cx="1097457" cy="1536387"/>
              </a:xfrm>
              <a:solidFill>
                <a:srgbClr val="CC9562"/>
              </a:solidFill>
            </p:grpSpPr>
            <p:sp>
              <p:nvSpPr>
                <p:cNvPr id="1530" name="Graphic 174">
                  <a:extLst>
                    <a:ext uri="{FF2B5EF4-FFF2-40B4-BE49-F238E27FC236}">
                      <a16:creationId xmlns:a16="http://schemas.microsoft.com/office/drawing/2014/main" id="{A40A16DF-3110-1D08-38F5-632705308B0D}"/>
                    </a:ext>
                  </a:extLst>
                </p:cNvPr>
                <p:cNvSpPr/>
                <p:nvPr/>
              </p:nvSpPr>
              <p:spPr>
                <a:xfrm>
                  <a:off x="1902757" y="3526657"/>
                  <a:ext cx="857074" cy="1536387"/>
                </a:xfrm>
                <a:custGeom>
                  <a:avLst/>
                  <a:gdLst>
                    <a:gd name="connsiteX0" fmla="*/ 815495 w 857074"/>
                    <a:gd name="connsiteY0" fmla="*/ 1411210 h 1536387"/>
                    <a:gd name="connsiteX1" fmla="*/ 760221 w 857074"/>
                    <a:gd name="connsiteY1" fmla="*/ 148535 h 1536387"/>
                    <a:gd name="connsiteX2" fmla="*/ 760221 w 857074"/>
                    <a:gd name="connsiteY2" fmla="*/ 148461 h 1536387"/>
                    <a:gd name="connsiteX3" fmla="*/ 760221 w 857074"/>
                    <a:gd name="connsiteY3" fmla="*/ 148461 h 1536387"/>
                    <a:gd name="connsiteX4" fmla="*/ 752257 w 857074"/>
                    <a:gd name="connsiteY4" fmla="*/ 135285 h 1536387"/>
                    <a:gd name="connsiteX5" fmla="*/ 505506 w 857074"/>
                    <a:gd name="connsiteY5" fmla="*/ 0 h 1536387"/>
                    <a:gd name="connsiteX6" fmla="*/ 348199 w 857074"/>
                    <a:gd name="connsiteY6" fmla="*/ 0 h 1536387"/>
                    <a:gd name="connsiteX7" fmla="*/ 98806 w 857074"/>
                    <a:gd name="connsiteY7" fmla="*/ 132166 h 1536387"/>
                    <a:gd name="connsiteX8" fmla="*/ 90842 w 857074"/>
                    <a:gd name="connsiteY8" fmla="*/ 145342 h 1536387"/>
                    <a:gd name="connsiteX9" fmla="*/ 90842 w 857074"/>
                    <a:gd name="connsiteY9" fmla="*/ 145342 h 1536387"/>
                    <a:gd name="connsiteX10" fmla="*/ 90842 w 857074"/>
                    <a:gd name="connsiteY10" fmla="*/ 145415 h 1536387"/>
                    <a:gd name="connsiteX11" fmla="*/ 38687 w 857074"/>
                    <a:gd name="connsiteY11" fmla="*/ 1411210 h 1536387"/>
                    <a:gd name="connsiteX12" fmla="*/ 815495 w 857074"/>
                    <a:gd name="connsiteY12" fmla="*/ 1411210 h 1536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074" h="1536387">
                      <a:moveTo>
                        <a:pt x="815495" y="1411210"/>
                      </a:moveTo>
                      <a:cubicBezTo>
                        <a:pt x="933897" y="1123206"/>
                        <a:pt x="761983" y="155215"/>
                        <a:pt x="760221" y="148535"/>
                      </a:cubicBezTo>
                      <a:cubicBezTo>
                        <a:pt x="760221" y="148498"/>
                        <a:pt x="760221" y="148461"/>
                        <a:pt x="760221" y="148461"/>
                      </a:cubicBezTo>
                      <a:cubicBezTo>
                        <a:pt x="760221" y="148461"/>
                        <a:pt x="760221" y="148461"/>
                        <a:pt x="760221" y="148461"/>
                      </a:cubicBezTo>
                      <a:cubicBezTo>
                        <a:pt x="758680" y="142663"/>
                        <a:pt x="756074" y="138148"/>
                        <a:pt x="752257" y="135285"/>
                      </a:cubicBezTo>
                      <a:cubicBezTo>
                        <a:pt x="707553" y="101703"/>
                        <a:pt x="577186" y="24003"/>
                        <a:pt x="505506" y="0"/>
                      </a:cubicBezTo>
                      <a:cubicBezTo>
                        <a:pt x="482971" y="7964"/>
                        <a:pt x="416356" y="15855"/>
                        <a:pt x="348199" y="0"/>
                      </a:cubicBezTo>
                      <a:cubicBezTo>
                        <a:pt x="276556" y="24003"/>
                        <a:pt x="143510" y="98546"/>
                        <a:pt x="98806" y="132166"/>
                      </a:cubicBezTo>
                      <a:cubicBezTo>
                        <a:pt x="94989" y="135028"/>
                        <a:pt x="92383" y="139543"/>
                        <a:pt x="90842" y="145342"/>
                      </a:cubicBezTo>
                      <a:cubicBezTo>
                        <a:pt x="90842" y="145342"/>
                        <a:pt x="90842" y="145342"/>
                        <a:pt x="90842" y="145342"/>
                      </a:cubicBezTo>
                      <a:cubicBezTo>
                        <a:pt x="90842" y="145378"/>
                        <a:pt x="90842" y="145378"/>
                        <a:pt x="90842" y="145415"/>
                      </a:cubicBezTo>
                      <a:cubicBezTo>
                        <a:pt x="89080" y="152058"/>
                        <a:pt x="-71714" y="1152568"/>
                        <a:pt x="38687" y="1411210"/>
                      </a:cubicBezTo>
                      <a:cubicBezTo>
                        <a:pt x="115762" y="1591823"/>
                        <a:pt x="752771" y="1563819"/>
                        <a:pt x="815495" y="1411210"/>
                      </a:cubicBezTo>
                      <a:close/>
                    </a:path>
                  </a:pathLst>
                </a:custGeom>
                <a:solidFill>
                  <a:schemeClr val="bg2">
                    <a:lumMod val="90000"/>
                  </a:schemeClr>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31" name="Graphic 174">
                  <a:extLst>
                    <a:ext uri="{FF2B5EF4-FFF2-40B4-BE49-F238E27FC236}">
                      <a16:creationId xmlns:a16="http://schemas.microsoft.com/office/drawing/2014/main" id="{24263E00-C8AB-7364-A2B1-12C53D31A8D9}"/>
                    </a:ext>
                  </a:extLst>
                </p:cNvPr>
                <p:cNvSpPr/>
                <p:nvPr/>
              </p:nvSpPr>
              <p:spPr>
                <a:xfrm>
                  <a:off x="1778567" y="3656490"/>
                  <a:ext cx="291960" cy="1251354"/>
                </a:xfrm>
                <a:custGeom>
                  <a:avLst/>
                  <a:gdLst>
                    <a:gd name="connsiteX0" fmla="*/ 222960 w 291960"/>
                    <a:gd name="connsiteY0" fmla="*/ 2296 h 1251354"/>
                    <a:gd name="connsiteX1" fmla="*/ 15701 w 291960"/>
                    <a:gd name="connsiteY1" fmla="*/ 483172 h 1251354"/>
                    <a:gd name="connsiteX2" fmla="*/ 140489 w 291960"/>
                    <a:gd name="connsiteY2" fmla="*/ 1096103 h 1251354"/>
                    <a:gd name="connsiteX3" fmla="*/ 172641 w 291960"/>
                    <a:gd name="connsiteY3" fmla="*/ 1251354 h 1251354"/>
                    <a:gd name="connsiteX4" fmla="*/ 239769 w 291960"/>
                    <a:gd name="connsiteY4" fmla="*/ 775800 h 1251354"/>
                    <a:gd name="connsiteX5" fmla="*/ 291960 w 291960"/>
                    <a:gd name="connsiteY5" fmla="*/ 314634 h 1251354"/>
                    <a:gd name="connsiteX6" fmla="*/ 222960 w 291960"/>
                    <a:gd name="connsiteY6" fmla="*/ 2296 h 1251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1960" h="1251354">
                      <a:moveTo>
                        <a:pt x="222960" y="2296"/>
                      </a:moveTo>
                      <a:cubicBezTo>
                        <a:pt x="150472" y="56762"/>
                        <a:pt x="46531" y="314597"/>
                        <a:pt x="15701" y="483172"/>
                      </a:cubicBezTo>
                      <a:cubicBezTo>
                        <a:pt x="-41482" y="795877"/>
                        <a:pt x="70754" y="1048390"/>
                        <a:pt x="140489" y="1096103"/>
                      </a:cubicBezTo>
                      <a:cubicBezTo>
                        <a:pt x="165777" y="1105902"/>
                        <a:pt x="172641" y="1251354"/>
                        <a:pt x="172641" y="1251354"/>
                      </a:cubicBezTo>
                      <a:lnTo>
                        <a:pt x="239769" y="775800"/>
                      </a:lnTo>
                      <a:lnTo>
                        <a:pt x="291960" y="314634"/>
                      </a:lnTo>
                      <a:cubicBezTo>
                        <a:pt x="292034" y="314671"/>
                        <a:pt x="267700" y="-31287"/>
                        <a:pt x="222960" y="2296"/>
                      </a:cubicBezTo>
                      <a:close/>
                    </a:path>
                  </a:pathLst>
                </a:custGeom>
                <a:solidFill>
                  <a:schemeClr val="bg2">
                    <a:lumMod val="90000"/>
                  </a:schemeClr>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32" name="Graphic 174">
                  <a:extLst>
                    <a:ext uri="{FF2B5EF4-FFF2-40B4-BE49-F238E27FC236}">
                      <a16:creationId xmlns:a16="http://schemas.microsoft.com/office/drawing/2014/main" id="{FA4217EF-0E50-7C67-890D-0A4BB4535A55}"/>
                    </a:ext>
                  </a:extLst>
                </p:cNvPr>
                <p:cNvSpPr/>
                <p:nvPr/>
              </p:nvSpPr>
              <p:spPr>
                <a:xfrm>
                  <a:off x="2589647" y="3659622"/>
                  <a:ext cx="286377" cy="1250720"/>
                </a:xfrm>
                <a:custGeom>
                  <a:avLst/>
                  <a:gdLst>
                    <a:gd name="connsiteX0" fmla="*/ 65881 w 286377"/>
                    <a:gd name="connsiteY0" fmla="*/ 2320 h 1250720"/>
                    <a:gd name="connsiteX1" fmla="*/ 265359 w 286377"/>
                    <a:gd name="connsiteY1" fmla="*/ 439704 h 1250720"/>
                    <a:gd name="connsiteX2" fmla="*/ 235997 w 286377"/>
                    <a:gd name="connsiteY2" fmla="*/ 1048965 h 1250720"/>
                    <a:gd name="connsiteX3" fmla="*/ 188944 w 286377"/>
                    <a:gd name="connsiteY3" fmla="*/ 1250498 h 1250720"/>
                    <a:gd name="connsiteX4" fmla="*/ 119320 w 286377"/>
                    <a:gd name="connsiteY4" fmla="*/ 1248259 h 1250720"/>
                    <a:gd name="connsiteX5" fmla="*/ 52191 w 286377"/>
                    <a:gd name="connsiteY5" fmla="*/ 772705 h 1250720"/>
                    <a:gd name="connsiteX6" fmla="*/ 0 w 286377"/>
                    <a:gd name="connsiteY6" fmla="*/ 311539 h 1250720"/>
                    <a:gd name="connsiteX7" fmla="*/ 65881 w 286377"/>
                    <a:gd name="connsiteY7" fmla="*/ 2320 h 125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377" h="1250720">
                      <a:moveTo>
                        <a:pt x="65881" y="2320"/>
                      </a:moveTo>
                      <a:cubicBezTo>
                        <a:pt x="138148" y="56603"/>
                        <a:pt x="234052" y="275937"/>
                        <a:pt x="265359" y="439704"/>
                      </a:cubicBezTo>
                      <a:cubicBezTo>
                        <a:pt x="324633" y="749656"/>
                        <a:pt x="240144" y="986093"/>
                        <a:pt x="235997" y="1048965"/>
                      </a:cubicBezTo>
                      <a:cubicBezTo>
                        <a:pt x="210452" y="1059131"/>
                        <a:pt x="233318" y="1249250"/>
                        <a:pt x="188944" y="1250498"/>
                      </a:cubicBezTo>
                      <a:cubicBezTo>
                        <a:pt x="151104" y="1251599"/>
                        <a:pt x="119320" y="1248259"/>
                        <a:pt x="119320" y="1248259"/>
                      </a:cubicBezTo>
                      <a:lnTo>
                        <a:pt x="52191" y="772705"/>
                      </a:lnTo>
                      <a:lnTo>
                        <a:pt x="0" y="311539"/>
                      </a:lnTo>
                      <a:cubicBezTo>
                        <a:pt x="-37" y="311539"/>
                        <a:pt x="21177" y="-31299"/>
                        <a:pt x="65881" y="2320"/>
                      </a:cubicBezTo>
                      <a:close/>
                    </a:path>
                  </a:pathLst>
                </a:custGeom>
                <a:solidFill>
                  <a:schemeClr val="bg2">
                    <a:lumMod val="90000"/>
                  </a:schemeClr>
                </a:solidFill>
                <a:ln w="36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nvGrpSpPr>
            <p:cNvPr id="272" name="Graphic 31">
              <a:extLst>
                <a:ext uri="{FF2B5EF4-FFF2-40B4-BE49-F238E27FC236}">
                  <a16:creationId xmlns:a16="http://schemas.microsoft.com/office/drawing/2014/main" id="{E18177E7-F959-D04A-8217-600A63F89254}"/>
                </a:ext>
              </a:extLst>
            </p:cNvPr>
            <p:cNvGrpSpPr/>
            <p:nvPr/>
          </p:nvGrpSpPr>
          <p:grpSpPr>
            <a:xfrm>
              <a:off x="9454338" y="8691013"/>
              <a:ext cx="646133" cy="765820"/>
              <a:chOff x="12394016" y="4156700"/>
              <a:chExt cx="141757" cy="168016"/>
            </a:xfrm>
          </p:grpSpPr>
          <p:sp>
            <p:nvSpPr>
              <p:cNvPr id="1525" name="Freeform: Shape 1524">
                <a:extLst>
                  <a:ext uri="{FF2B5EF4-FFF2-40B4-BE49-F238E27FC236}">
                    <a16:creationId xmlns:a16="http://schemas.microsoft.com/office/drawing/2014/main" id="{97575555-51C0-888D-649B-C4F8FA60A234}"/>
                  </a:ext>
                </a:extLst>
              </p:cNvPr>
              <p:cNvSpPr/>
              <p:nvPr/>
            </p:nvSpPr>
            <p:spPr>
              <a:xfrm>
                <a:off x="12394016" y="4156700"/>
                <a:ext cx="141757" cy="59271"/>
              </a:xfrm>
              <a:custGeom>
                <a:avLst/>
                <a:gdLst>
                  <a:gd name="connsiteX0" fmla="*/ 93846 w 141757"/>
                  <a:gd name="connsiteY0" fmla="*/ 0 h 59271"/>
                  <a:gd name="connsiteX1" fmla="*/ 47911 w 141757"/>
                  <a:gd name="connsiteY1" fmla="*/ 0 h 59271"/>
                  <a:gd name="connsiteX2" fmla="*/ 0 w 141757"/>
                  <a:gd name="connsiteY2" fmla="*/ 47911 h 59271"/>
                  <a:gd name="connsiteX3" fmla="*/ 0 w 141757"/>
                  <a:gd name="connsiteY3" fmla="*/ 59271 h 59271"/>
                  <a:gd name="connsiteX4" fmla="*/ 47911 w 141757"/>
                  <a:gd name="connsiteY4" fmla="*/ 11360 h 59271"/>
                  <a:gd name="connsiteX5" fmla="*/ 93846 w 141757"/>
                  <a:gd name="connsiteY5" fmla="*/ 11360 h 59271"/>
                  <a:gd name="connsiteX6" fmla="*/ 141757 w 141757"/>
                  <a:gd name="connsiteY6" fmla="*/ 59271 h 59271"/>
                  <a:gd name="connsiteX7" fmla="*/ 141757 w 141757"/>
                  <a:gd name="connsiteY7" fmla="*/ 47911 h 59271"/>
                  <a:gd name="connsiteX8" fmla="*/ 93846 w 141757"/>
                  <a:gd name="connsiteY8" fmla="*/ 0 h 5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57" h="59271">
                    <a:moveTo>
                      <a:pt x="93846" y="0"/>
                    </a:moveTo>
                    <a:lnTo>
                      <a:pt x="47911" y="0"/>
                    </a:lnTo>
                    <a:cubicBezTo>
                      <a:pt x="21239" y="0"/>
                      <a:pt x="0" y="21239"/>
                      <a:pt x="0" y="47911"/>
                    </a:cubicBezTo>
                    <a:lnTo>
                      <a:pt x="0" y="59271"/>
                    </a:lnTo>
                    <a:cubicBezTo>
                      <a:pt x="0" y="32599"/>
                      <a:pt x="21239" y="11360"/>
                      <a:pt x="47911" y="11360"/>
                    </a:cubicBezTo>
                    <a:lnTo>
                      <a:pt x="93846" y="11360"/>
                    </a:lnTo>
                    <a:cubicBezTo>
                      <a:pt x="120518" y="11360"/>
                      <a:pt x="141757" y="32599"/>
                      <a:pt x="141757" y="59271"/>
                    </a:cubicBezTo>
                    <a:lnTo>
                      <a:pt x="141757" y="47911"/>
                    </a:lnTo>
                    <a:cubicBezTo>
                      <a:pt x="141757" y="21733"/>
                      <a:pt x="120518" y="0"/>
                      <a:pt x="93846" y="0"/>
                    </a:cubicBezTo>
                    <a:close/>
                  </a:path>
                </a:pathLst>
              </a:custGeom>
              <a:solidFill>
                <a:srgbClr val="D9D9D9"/>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26" name="Freeform: Shape 1525">
                <a:extLst>
                  <a:ext uri="{FF2B5EF4-FFF2-40B4-BE49-F238E27FC236}">
                    <a16:creationId xmlns:a16="http://schemas.microsoft.com/office/drawing/2014/main" id="{735863AD-EE40-0E62-7DAE-3462D8E71D35}"/>
                  </a:ext>
                </a:extLst>
              </p:cNvPr>
              <p:cNvSpPr/>
              <p:nvPr/>
            </p:nvSpPr>
            <p:spPr>
              <a:xfrm>
                <a:off x="12394016" y="4166660"/>
                <a:ext cx="141757" cy="158056"/>
              </a:xfrm>
              <a:custGeom>
                <a:avLst/>
                <a:gdLst>
                  <a:gd name="connsiteX0" fmla="*/ 141757 w 141757"/>
                  <a:gd name="connsiteY0" fmla="*/ 47911 h 158056"/>
                  <a:gd name="connsiteX1" fmla="*/ 93846 w 141757"/>
                  <a:gd name="connsiteY1" fmla="*/ 0 h 158056"/>
                  <a:gd name="connsiteX2" fmla="*/ 47911 w 141757"/>
                  <a:gd name="connsiteY2" fmla="*/ 0 h 158056"/>
                  <a:gd name="connsiteX3" fmla="*/ 0 w 141757"/>
                  <a:gd name="connsiteY3" fmla="*/ 47911 h 158056"/>
                  <a:gd name="connsiteX4" fmla="*/ 0 w 141757"/>
                  <a:gd name="connsiteY4" fmla="*/ 158056 h 158056"/>
                  <a:gd name="connsiteX5" fmla="*/ 141757 w 141757"/>
                  <a:gd name="connsiteY5" fmla="*/ 158056 h 158056"/>
                  <a:gd name="connsiteX6" fmla="*/ 141757 w 141757"/>
                  <a:gd name="connsiteY6" fmla="*/ 47911 h 1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757" h="158056">
                    <a:moveTo>
                      <a:pt x="141757" y="47911"/>
                    </a:moveTo>
                    <a:cubicBezTo>
                      <a:pt x="141757" y="21239"/>
                      <a:pt x="120518" y="0"/>
                      <a:pt x="93846" y="0"/>
                    </a:cubicBezTo>
                    <a:lnTo>
                      <a:pt x="47911" y="0"/>
                    </a:lnTo>
                    <a:cubicBezTo>
                      <a:pt x="21239" y="0"/>
                      <a:pt x="0" y="21239"/>
                      <a:pt x="0" y="47911"/>
                    </a:cubicBezTo>
                    <a:lnTo>
                      <a:pt x="0" y="158056"/>
                    </a:lnTo>
                    <a:lnTo>
                      <a:pt x="141757" y="158056"/>
                    </a:lnTo>
                    <a:lnTo>
                      <a:pt x="141757" y="47911"/>
                    </a:lnTo>
                    <a:close/>
                  </a:path>
                </a:pathLst>
              </a:custGeom>
              <a:solidFill>
                <a:srgbClr val="BFBFB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273" name="Graphic 31">
              <a:extLst>
                <a:ext uri="{FF2B5EF4-FFF2-40B4-BE49-F238E27FC236}">
                  <a16:creationId xmlns:a16="http://schemas.microsoft.com/office/drawing/2014/main" id="{29B91707-ABB6-709A-F7A2-C677CF7432C0}"/>
                </a:ext>
              </a:extLst>
            </p:cNvPr>
            <p:cNvGrpSpPr/>
            <p:nvPr/>
          </p:nvGrpSpPr>
          <p:grpSpPr>
            <a:xfrm>
              <a:off x="10100471" y="8690976"/>
              <a:ext cx="646133" cy="765857"/>
              <a:chOff x="12535773" y="4156692"/>
              <a:chExt cx="141757" cy="168024"/>
            </a:xfrm>
          </p:grpSpPr>
          <p:sp>
            <p:nvSpPr>
              <p:cNvPr id="1523" name="Freeform: Shape 1522">
                <a:extLst>
                  <a:ext uri="{FF2B5EF4-FFF2-40B4-BE49-F238E27FC236}">
                    <a16:creationId xmlns:a16="http://schemas.microsoft.com/office/drawing/2014/main" id="{C0AB9006-AEB4-9429-ADDF-8D97A36C7AAB}"/>
                  </a:ext>
                </a:extLst>
              </p:cNvPr>
              <p:cNvSpPr/>
              <p:nvPr/>
            </p:nvSpPr>
            <p:spPr>
              <a:xfrm>
                <a:off x="12535773" y="4156692"/>
                <a:ext cx="141757" cy="59271"/>
              </a:xfrm>
              <a:custGeom>
                <a:avLst/>
                <a:gdLst>
                  <a:gd name="connsiteX0" fmla="*/ 93846 w 141757"/>
                  <a:gd name="connsiteY0" fmla="*/ 0 h 59271"/>
                  <a:gd name="connsiteX1" fmla="*/ 47911 w 141757"/>
                  <a:gd name="connsiteY1" fmla="*/ 0 h 59271"/>
                  <a:gd name="connsiteX2" fmla="*/ 0 w 141757"/>
                  <a:gd name="connsiteY2" fmla="*/ 47911 h 59271"/>
                  <a:gd name="connsiteX3" fmla="*/ 0 w 141757"/>
                  <a:gd name="connsiteY3" fmla="*/ 59271 h 59271"/>
                  <a:gd name="connsiteX4" fmla="*/ 47911 w 141757"/>
                  <a:gd name="connsiteY4" fmla="*/ 11360 h 59271"/>
                  <a:gd name="connsiteX5" fmla="*/ 93846 w 141757"/>
                  <a:gd name="connsiteY5" fmla="*/ 11360 h 59271"/>
                  <a:gd name="connsiteX6" fmla="*/ 141757 w 141757"/>
                  <a:gd name="connsiteY6" fmla="*/ 59271 h 59271"/>
                  <a:gd name="connsiteX7" fmla="*/ 141757 w 141757"/>
                  <a:gd name="connsiteY7" fmla="*/ 47911 h 59271"/>
                  <a:gd name="connsiteX8" fmla="*/ 93846 w 141757"/>
                  <a:gd name="connsiteY8" fmla="*/ 0 h 5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57" h="59271">
                    <a:moveTo>
                      <a:pt x="93846" y="0"/>
                    </a:moveTo>
                    <a:lnTo>
                      <a:pt x="47911" y="0"/>
                    </a:lnTo>
                    <a:cubicBezTo>
                      <a:pt x="21239" y="0"/>
                      <a:pt x="0" y="21239"/>
                      <a:pt x="0" y="47911"/>
                    </a:cubicBezTo>
                    <a:lnTo>
                      <a:pt x="0" y="59271"/>
                    </a:lnTo>
                    <a:cubicBezTo>
                      <a:pt x="0" y="32599"/>
                      <a:pt x="21239" y="11360"/>
                      <a:pt x="47911" y="11360"/>
                    </a:cubicBezTo>
                    <a:lnTo>
                      <a:pt x="93846" y="11360"/>
                    </a:lnTo>
                    <a:cubicBezTo>
                      <a:pt x="120518" y="11360"/>
                      <a:pt x="141757" y="32599"/>
                      <a:pt x="141757" y="59271"/>
                    </a:cubicBezTo>
                    <a:lnTo>
                      <a:pt x="141757" y="47911"/>
                    </a:lnTo>
                    <a:cubicBezTo>
                      <a:pt x="141757" y="21733"/>
                      <a:pt x="120024" y="0"/>
                      <a:pt x="93846" y="0"/>
                    </a:cubicBezTo>
                    <a:close/>
                  </a:path>
                </a:pathLst>
              </a:custGeom>
              <a:solidFill>
                <a:srgbClr val="D9D9D9"/>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24" name="Freeform: Shape 1523">
                <a:extLst>
                  <a:ext uri="{FF2B5EF4-FFF2-40B4-BE49-F238E27FC236}">
                    <a16:creationId xmlns:a16="http://schemas.microsoft.com/office/drawing/2014/main" id="{9D1FD5CE-18B7-5428-AECD-0BCB53E3E677}"/>
                  </a:ext>
                </a:extLst>
              </p:cNvPr>
              <p:cNvSpPr/>
              <p:nvPr/>
            </p:nvSpPr>
            <p:spPr>
              <a:xfrm>
                <a:off x="12535773" y="4166660"/>
                <a:ext cx="141757" cy="158056"/>
              </a:xfrm>
              <a:custGeom>
                <a:avLst/>
                <a:gdLst>
                  <a:gd name="connsiteX0" fmla="*/ 141757 w 141757"/>
                  <a:gd name="connsiteY0" fmla="*/ 47911 h 158056"/>
                  <a:gd name="connsiteX1" fmla="*/ 93846 w 141757"/>
                  <a:gd name="connsiteY1" fmla="*/ 0 h 158056"/>
                  <a:gd name="connsiteX2" fmla="*/ 47911 w 141757"/>
                  <a:gd name="connsiteY2" fmla="*/ 0 h 158056"/>
                  <a:gd name="connsiteX3" fmla="*/ 0 w 141757"/>
                  <a:gd name="connsiteY3" fmla="*/ 47911 h 158056"/>
                  <a:gd name="connsiteX4" fmla="*/ 0 w 141757"/>
                  <a:gd name="connsiteY4" fmla="*/ 158056 h 158056"/>
                  <a:gd name="connsiteX5" fmla="*/ 141757 w 141757"/>
                  <a:gd name="connsiteY5" fmla="*/ 158056 h 158056"/>
                  <a:gd name="connsiteX6" fmla="*/ 141757 w 141757"/>
                  <a:gd name="connsiteY6" fmla="*/ 47911 h 1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757" h="158056">
                    <a:moveTo>
                      <a:pt x="141757" y="47911"/>
                    </a:moveTo>
                    <a:cubicBezTo>
                      <a:pt x="141757" y="21239"/>
                      <a:pt x="120518" y="0"/>
                      <a:pt x="93846" y="0"/>
                    </a:cubicBezTo>
                    <a:lnTo>
                      <a:pt x="47911" y="0"/>
                    </a:lnTo>
                    <a:cubicBezTo>
                      <a:pt x="21239" y="0"/>
                      <a:pt x="0" y="21239"/>
                      <a:pt x="0" y="47911"/>
                    </a:cubicBezTo>
                    <a:lnTo>
                      <a:pt x="0" y="158056"/>
                    </a:lnTo>
                    <a:lnTo>
                      <a:pt x="141757" y="158056"/>
                    </a:lnTo>
                    <a:lnTo>
                      <a:pt x="141757" y="47911"/>
                    </a:lnTo>
                    <a:close/>
                  </a:path>
                </a:pathLst>
              </a:custGeom>
              <a:solidFill>
                <a:srgbClr val="BFBFB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14" name="Graphic 31">
              <a:extLst>
                <a:ext uri="{FF2B5EF4-FFF2-40B4-BE49-F238E27FC236}">
                  <a16:creationId xmlns:a16="http://schemas.microsoft.com/office/drawing/2014/main" id="{099B5068-CB92-5234-0BA6-F78D12218D45}"/>
                </a:ext>
              </a:extLst>
            </p:cNvPr>
            <p:cNvGrpSpPr/>
            <p:nvPr/>
          </p:nvGrpSpPr>
          <p:grpSpPr>
            <a:xfrm>
              <a:off x="10746603" y="8691013"/>
              <a:ext cx="646133" cy="765820"/>
              <a:chOff x="12677530" y="4156700"/>
              <a:chExt cx="141757" cy="168016"/>
            </a:xfrm>
          </p:grpSpPr>
          <p:sp>
            <p:nvSpPr>
              <p:cNvPr id="1521" name="Freeform: Shape 1520">
                <a:extLst>
                  <a:ext uri="{FF2B5EF4-FFF2-40B4-BE49-F238E27FC236}">
                    <a16:creationId xmlns:a16="http://schemas.microsoft.com/office/drawing/2014/main" id="{E30DEE43-33C2-0DCD-8CBA-04E9BF7196E2}"/>
                  </a:ext>
                </a:extLst>
              </p:cNvPr>
              <p:cNvSpPr/>
              <p:nvPr/>
            </p:nvSpPr>
            <p:spPr>
              <a:xfrm>
                <a:off x="12677530" y="4156700"/>
                <a:ext cx="141757" cy="59271"/>
              </a:xfrm>
              <a:custGeom>
                <a:avLst/>
                <a:gdLst>
                  <a:gd name="connsiteX0" fmla="*/ 93352 w 141757"/>
                  <a:gd name="connsiteY0" fmla="*/ 0 h 59271"/>
                  <a:gd name="connsiteX1" fmla="*/ 47911 w 141757"/>
                  <a:gd name="connsiteY1" fmla="*/ 0 h 59271"/>
                  <a:gd name="connsiteX2" fmla="*/ 0 w 141757"/>
                  <a:gd name="connsiteY2" fmla="*/ 47911 h 59271"/>
                  <a:gd name="connsiteX3" fmla="*/ 0 w 141757"/>
                  <a:gd name="connsiteY3" fmla="*/ 59271 h 59271"/>
                  <a:gd name="connsiteX4" fmla="*/ 47911 w 141757"/>
                  <a:gd name="connsiteY4" fmla="*/ 11360 h 59271"/>
                  <a:gd name="connsiteX5" fmla="*/ 93846 w 141757"/>
                  <a:gd name="connsiteY5" fmla="*/ 11360 h 59271"/>
                  <a:gd name="connsiteX6" fmla="*/ 141757 w 141757"/>
                  <a:gd name="connsiteY6" fmla="*/ 59271 h 59271"/>
                  <a:gd name="connsiteX7" fmla="*/ 141757 w 141757"/>
                  <a:gd name="connsiteY7" fmla="*/ 47911 h 59271"/>
                  <a:gd name="connsiteX8" fmla="*/ 93352 w 141757"/>
                  <a:gd name="connsiteY8" fmla="*/ 0 h 5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57" h="59271">
                    <a:moveTo>
                      <a:pt x="93352" y="0"/>
                    </a:moveTo>
                    <a:lnTo>
                      <a:pt x="47911" y="0"/>
                    </a:lnTo>
                    <a:cubicBezTo>
                      <a:pt x="21239" y="0"/>
                      <a:pt x="0" y="21239"/>
                      <a:pt x="0" y="47911"/>
                    </a:cubicBezTo>
                    <a:lnTo>
                      <a:pt x="0" y="59271"/>
                    </a:lnTo>
                    <a:cubicBezTo>
                      <a:pt x="0" y="32599"/>
                      <a:pt x="21239" y="11360"/>
                      <a:pt x="47911" y="11360"/>
                    </a:cubicBezTo>
                    <a:lnTo>
                      <a:pt x="93846" y="11360"/>
                    </a:lnTo>
                    <a:cubicBezTo>
                      <a:pt x="120518" y="11360"/>
                      <a:pt x="141757" y="32599"/>
                      <a:pt x="141757" y="59271"/>
                    </a:cubicBezTo>
                    <a:lnTo>
                      <a:pt x="141757" y="47911"/>
                    </a:lnTo>
                    <a:cubicBezTo>
                      <a:pt x="141263" y="21733"/>
                      <a:pt x="120024" y="0"/>
                      <a:pt x="93352" y="0"/>
                    </a:cubicBezTo>
                    <a:close/>
                  </a:path>
                </a:pathLst>
              </a:custGeom>
              <a:solidFill>
                <a:srgbClr val="D9D9D9"/>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22" name="Freeform: Shape 1521">
                <a:extLst>
                  <a:ext uri="{FF2B5EF4-FFF2-40B4-BE49-F238E27FC236}">
                    <a16:creationId xmlns:a16="http://schemas.microsoft.com/office/drawing/2014/main" id="{07977E2C-32B9-2452-854A-9C23B658CBDB}"/>
                  </a:ext>
                </a:extLst>
              </p:cNvPr>
              <p:cNvSpPr/>
              <p:nvPr/>
            </p:nvSpPr>
            <p:spPr>
              <a:xfrm>
                <a:off x="12677530" y="4166660"/>
                <a:ext cx="141757" cy="158056"/>
              </a:xfrm>
              <a:custGeom>
                <a:avLst/>
                <a:gdLst>
                  <a:gd name="connsiteX0" fmla="*/ 141263 w 141757"/>
                  <a:gd name="connsiteY0" fmla="*/ 47911 h 158056"/>
                  <a:gd name="connsiteX1" fmla="*/ 93352 w 141757"/>
                  <a:gd name="connsiteY1" fmla="*/ 0 h 158056"/>
                  <a:gd name="connsiteX2" fmla="*/ 47911 w 141757"/>
                  <a:gd name="connsiteY2" fmla="*/ 0 h 158056"/>
                  <a:gd name="connsiteX3" fmla="*/ 0 w 141757"/>
                  <a:gd name="connsiteY3" fmla="*/ 47911 h 158056"/>
                  <a:gd name="connsiteX4" fmla="*/ 0 w 141757"/>
                  <a:gd name="connsiteY4" fmla="*/ 158056 h 158056"/>
                  <a:gd name="connsiteX5" fmla="*/ 141757 w 141757"/>
                  <a:gd name="connsiteY5" fmla="*/ 158056 h 158056"/>
                  <a:gd name="connsiteX6" fmla="*/ 141757 w 141757"/>
                  <a:gd name="connsiteY6" fmla="*/ 47911 h 1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757" h="158056">
                    <a:moveTo>
                      <a:pt x="141263" y="47911"/>
                    </a:moveTo>
                    <a:cubicBezTo>
                      <a:pt x="141263" y="21239"/>
                      <a:pt x="120024" y="0"/>
                      <a:pt x="93352" y="0"/>
                    </a:cubicBezTo>
                    <a:lnTo>
                      <a:pt x="47911" y="0"/>
                    </a:lnTo>
                    <a:cubicBezTo>
                      <a:pt x="21239" y="0"/>
                      <a:pt x="0" y="21239"/>
                      <a:pt x="0" y="47911"/>
                    </a:cubicBezTo>
                    <a:lnTo>
                      <a:pt x="0" y="158056"/>
                    </a:lnTo>
                    <a:lnTo>
                      <a:pt x="141757" y="158056"/>
                    </a:lnTo>
                    <a:lnTo>
                      <a:pt x="141757" y="47911"/>
                    </a:lnTo>
                    <a:close/>
                  </a:path>
                </a:pathLst>
              </a:custGeom>
              <a:solidFill>
                <a:srgbClr val="BFBFB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15" name="Graphic 31">
              <a:extLst>
                <a:ext uri="{FF2B5EF4-FFF2-40B4-BE49-F238E27FC236}">
                  <a16:creationId xmlns:a16="http://schemas.microsoft.com/office/drawing/2014/main" id="{8FFBE6FD-3268-0F4C-EDAF-787467BF62AF}"/>
                </a:ext>
              </a:extLst>
            </p:cNvPr>
            <p:cNvGrpSpPr/>
            <p:nvPr/>
          </p:nvGrpSpPr>
          <p:grpSpPr>
            <a:xfrm>
              <a:off x="11390485" y="8684627"/>
              <a:ext cx="646133" cy="772201"/>
              <a:chOff x="12818793" y="4155299"/>
              <a:chExt cx="141757" cy="169416"/>
            </a:xfrm>
          </p:grpSpPr>
          <p:sp>
            <p:nvSpPr>
              <p:cNvPr id="1519" name="Freeform: Shape 1518">
                <a:extLst>
                  <a:ext uri="{FF2B5EF4-FFF2-40B4-BE49-F238E27FC236}">
                    <a16:creationId xmlns:a16="http://schemas.microsoft.com/office/drawing/2014/main" id="{8DB2D87D-709C-544F-7699-EE39291B0FCB}"/>
                  </a:ext>
                </a:extLst>
              </p:cNvPr>
              <p:cNvSpPr/>
              <p:nvPr/>
            </p:nvSpPr>
            <p:spPr>
              <a:xfrm>
                <a:off x="12818793" y="4155299"/>
                <a:ext cx="141757" cy="59271"/>
              </a:xfrm>
              <a:custGeom>
                <a:avLst/>
                <a:gdLst>
                  <a:gd name="connsiteX0" fmla="*/ 93846 w 141757"/>
                  <a:gd name="connsiteY0" fmla="*/ 0 h 59271"/>
                  <a:gd name="connsiteX1" fmla="*/ 47911 w 141757"/>
                  <a:gd name="connsiteY1" fmla="*/ 0 h 59271"/>
                  <a:gd name="connsiteX2" fmla="*/ 0 w 141757"/>
                  <a:gd name="connsiteY2" fmla="*/ 47911 h 59271"/>
                  <a:gd name="connsiteX3" fmla="*/ 0 w 141757"/>
                  <a:gd name="connsiteY3" fmla="*/ 59271 h 59271"/>
                  <a:gd name="connsiteX4" fmla="*/ 47911 w 141757"/>
                  <a:gd name="connsiteY4" fmla="*/ 11360 h 59271"/>
                  <a:gd name="connsiteX5" fmla="*/ 93846 w 141757"/>
                  <a:gd name="connsiteY5" fmla="*/ 11360 h 59271"/>
                  <a:gd name="connsiteX6" fmla="*/ 141757 w 141757"/>
                  <a:gd name="connsiteY6" fmla="*/ 59271 h 59271"/>
                  <a:gd name="connsiteX7" fmla="*/ 141757 w 141757"/>
                  <a:gd name="connsiteY7" fmla="*/ 47911 h 59271"/>
                  <a:gd name="connsiteX8" fmla="*/ 93846 w 141757"/>
                  <a:gd name="connsiteY8" fmla="*/ 0 h 5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57" h="59271">
                    <a:moveTo>
                      <a:pt x="93846" y="0"/>
                    </a:moveTo>
                    <a:lnTo>
                      <a:pt x="47911" y="0"/>
                    </a:lnTo>
                    <a:cubicBezTo>
                      <a:pt x="21239" y="0"/>
                      <a:pt x="0" y="21239"/>
                      <a:pt x="0" y="47911"/>
                    </a:cubicBezTo>
                    <a:lnTo>
                      <a:pt x="0" y="59271"/>
                    </a:lnTo>
                    <a:cubicBezTo>
                      <a:pt x="0" y="32599"/>
                      <a:pt x="21239" y="11360"/>
                      <a:pt x="47911" y="11360"/>
                    </a:cubicBezTo>
                    <a:lnTo>
                      <a:pt x="93846" y="11360"/>
                    </a:lnTo>
                    <a:cubicBezTo>
                      <a:pt x="120518" y="11360"/>
                      <a:pt x="141757" y="32599"/>
                      <a:pt x="141757" y="59271"/>
                    </a:cubicBezTo>
                    <a:lnTo>
                      <a:pt x="141757" y="47911"/>
                    </a:lnTo>
                    <a:cubicBezTo>
                      <a:pt x="141757" y="21733"/>
                      <a:pt x="120518" y="0"/>
                      <a:pt x="93846" y="0"/>
                    </a:cubicBezTo>
                    <a:close/>
                  </a:path>
                </a:pathLst>
              </a:custGeom>
              <a:solidFill>
                <a:srgbClr val="D9D9D9"/>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20" name="Freeform: Shape 1519">
                <a:extLst>
                  <a:ext uri="{FF2B5EF4-FFF2-40B4-BE49-F238E27FC236}">
                    <a16:creationId xmlns:a16="http://schemas.microsoft.com/office/drawing/2014/main" id="{E3619A17-9428-49E3-0B6A-888F0F4EB3F8}"/>
                  </a:ext>
                </a:extLst>
              </p:cNvPr>
              <p:cNvSpPr/>
              <p:nvPr/>
            </p:nvSpPr>
            <p:spPr>
              <a:xfrm>
                <a:off x="12818793" y="4166660"/>
                <a:ext cx="141757" cy="158056"/>
              </a:xfrm>
              <a:custGeom>
                <a:avLst/>
                <a:gdLst>
                  <a:gd name="connsiteX0" fmla="*/ 141757 w 141757"/>
                  <a:gd name="connsiteY0" fmla="*/ 47911 h 158056"/>
                  <a:gd name="connsiteX1" fmla="*/ 93846 w 141757"/>
                  <a:gd name="connsiteY1" fmla="*/ 0 h 158056"/>
                  <a:gd name="connsiteX2" fmla="*/ 47911 w 141757"/>
                  <a:gd name="connsiteY2" fmla="*/ 0 h 158056"/>
                  <a:gd name="connsiteX3" fmla="*/ 0 w 141757"/>
                  <a:gd name="connsiteY3" fmla="*/ 47911 h 158056"/>
                  <a:gd name="connsiteX4" fmla="*/ 0 w 141757"/>
                  <a:gd name="connsiteY4" fmla="*/ 158056 h 158056"/>
                  <a:gd name="connsiteX5" fmla="*/ 141757 w 141757"/>
                  <a:gd name="connsiteY5" fmla="*/ 158056 h 158056"/>
                  <a:gd name="connsiteX6" fmla="*/ 141757 w 141757"/>
                  <a:gd name="connsiteY6" fmla="*/ 47911 h 1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757" h="158056">
                    <a:moveTo>
                      <a:pt x="141757" y="47911"/>
                    </a:moveTo>
                    <a:cubicBezTo>
                      <a:pt x="141757" y="21239"/>
                      <a:pt x="120518" y="0"/>
                      <a:pt x="93846" y="0"/>
                    </a:cubicBezTo>
                    <a:lnTo>
                      <a:pt x="47911" y="0"/>
                    </a:lnTo>
                    <a:cubicBezTo>
                      <a:pt x="21239" y="0"/>
                      <a:pt x="0" y="21239"/>
                      <a:pt x="0" y="47911"/>
                    </a:cubicBezTo>
                    <a:lnTo>
                      <a:pt x="0" y="158056"/>
                    </a:lnTo>
                    <a:lnTo>
                      <a:pt x="141757" y="158056"/>
                    </a:lnTo>
                    <a:lnTo>
                      <a:pt x="141757" y="47911"/>
                    </a:lnTo>
                    <a:close/>
                  </a:path>
                </a:pathLst>
              </a:custGeom>
              <a:solidFill>
                <a:srgbClr val="BFBFB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516" name="Graphic 31">
              <a:extLst>
                <a:ext uri="{FF2B5EF4-FFF2-40B4-BE49-F238E27FC236}">
                  <a16:creationId xmlns:a16="http://schemas.microsoft.com/office/drawing/2014/main" id="{AC33FFCE-B514-1DB3-0AFF-0CD3D3240C8F}"/>
                </a:ext>
              </a:extLst>
            </p:cNvPr>
            <p:cNvGrpSpPr/>
            <p:nvPr/>
          </p:nvGrpSpPr>
          <p:grpSpPr>
            <a:xfrm>
              <a:off x="12036617" y="8692248"/>
              <a:ext cx="646133" cy="764585"/>
              <a:chOff x="12960550" y="4156971"/>
              <a:chExt cx="141757" cy="167745"/>
            </a:xfrm>
          </p:grpSpPr>
          <p:sp>
            <p:nvSpPr>
              <p:cNvPr id="1517" name="Freeform: Shape 1516">
                <a:extLst>
                  <a:ext uri="{FF2B5EF4-FFF2-40B4-BE49-F238E27FC236}">
                    <a16:creationId xmlns:a16="http://schemas.microsoft.com/office/drawing/2014/main" id="{BE37323F-A55B-7B85-9169-B438E838870D}"/>
                  </a:ext>
                </a:extLst>
              </p:cNvPr>
              <p:cNvSpPr/>
              <p:nvPr/>
            </p:nvSpPr>
            <p:spPr>
              <a:xfrm>
                <a:off x="12960550" y="4156971"/>
                <a:ext cx="141757" cy="59271"/>
              </a:xfrm>
              <a:custGeom>
                <a:avLst/>
                <a:gdLst>
                  <a:gd name="connsiteX0" fmla="*/ 93846 w 141757"/>
                  <a:gd name="connsiteY0" fmla="*/ 0 h 59271"/>
                  <a:gd name="connsiteX1" fmla="*/ 47911 w 141757"/>
                  <a:gd name="connsiteY1" fmla="*/ 0 h 59271"/>
                  <a:gd name="connsiteX2" fmla="*/ 0 w 141757"/>
                  <a:gd name="connsiteY2" fmla="*/ 47911 h 59271"/>
                  <a:gd name="connsiteX3" fmla="*/ 0 w 141757"/>
                  <a:gd name="connsiteY3" fmla="*/ 59271 h 59271"/>
                  <a:gd name="connsiteX4" fmla="*/ 47911 w 141757"/>
                  <a:gd name="connsiteY4" fmla="*/ 11360 h 59271"/>
                  <a:gd name="connsiteX5" fmla="*/ 93846 w 141757"/>
                  <a:gd name="connsiteY5" fmla="*/ 11360 h 59271"/>
                  <a:gd name="connsiteX6" fmla="*/ 141757 w 141757"/>
                  <a:gd name="connsiteY6" fmla="*/ 59271 h 59271"/>
                  <a:gd name="connsiteX7" fmla="*/ 141757 w 141757"/>
                  <a:gd name="connsiteY7" fmla="*/ 47911 h 59271"/>
                  <a:gd name="connsiteX8" fmla="*/ 93846 w 141757"/>
                  <a:gd name="connsiteY8" fmla="*/ 0 h 5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57" h="59271">
                    <a:moveTo>
                      <a:pt x="93846" y="0"/>
                    </a:moveTo>
                    <a:lnTo>
                      <a:pt x="47911" y="0"/>
                    </a:lnTo>
                    <a:cubicBezTo>
                      <a:pt x="21239" y="0"/>
                      <a:pt x="0" y="21239"/>
                      <a:pt x="0" y="47911"/>
                    </a:cubicBezTo>
                    <a:lnTo>
                      <a:pt x="0" y="59271"/>
                    </a:lnTo>
                    <a:cubicBezTo>
                      <a:pt x="0" y="32599"/>
                      <a:pt x="21239" y="11360"/>
                      <a:pt x="47911" y="11360"/>
                    </a:cubicBezTo>
                    <a:lnTo>
                      <a:pt x="93846" y="11360"/>
                    </a:lnTo>
                    <a:cubicBezTo>
                      <a:pt x="120518" y="11360"/>
                      <a:pt x="141757" y="32599"/>
                      <a:pt x="141757" y="59271"/>
                    </a:cubicBezTo>
                    <a:lnTo>
                      <a:pt x="141757" y="47911"/>
                    </a:lnTo>
                    <a:cubicBezTo>
                      <a:pt x="141757" y="21733"/>
                      <a:pt x="120518" y="0"/>
                      <a:pt x="93846" y="0"/>
                    </a:cubicBezTo>
                    <a:close/>
                  </a:path>
                </a:pathLst>
              </a:custGeom>
              <a:solidFill>
                <a:srgbClr val="D9D9D9"/>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518" name="Freeform: Shape 1517">
                <a:extLst>
                  <a:ext uri="{FF2B5EF4-FFF2-40B4-BE49-F238E27FC236}">
                    <a16:creationId xmlns:a16="http://schemas.microsoft.com/office/drawing/2014/main" id="{8D465237-F125-AC65-B887-62F97FE34A2A}"/>
                  </a:ext>
                </a:extLst>
              </p:cNvPr>
              <p:cNvSpPr/>
              <p:nvPr/>
            </p:nvSpPr>
            <p:spPr>
              <a:xfrm>
                <a:off x="12960550" y="4166660"/>
                <a:ext cx="141757" cy="158056"/>
              </a:xfrm>
              <a:custGeom>
                <a:avLst/>
                <a:gdLst>
                  <a:gd name="connsiteX0" fmla="*/ 141757 w 141757"/>
                  <a:gd name="connsiteY0" fmla="*/ 47911 h 158056"/>
                  <a:gd name="connsiteX1" fmla="*/ 93846 w 141757"/>
                  <a:gd name="connsiteY1" fmla="*/ 0 h 158056"/>
                  <a:gd name="connsiteX2" fmla="*/ 47911 w 141757"/>
                  <a:gd name="connsiteY2" fmla="*/ 0 h 158056"/>
                  <a:gd name="connsiteX3" fmla="*/ 0 w 141757"/>
                  <a:gd name="connsiteY3" fmla="*/ 47911 h 158056"/>
                  <a:gd name="connsiteX4" fmla="*/ 0 w 141757"/>
                  <a:gd name="connsiteY4" fmla="*/ 158056 h 158056"/>
                  <a:gd name="connsiteX5" fmla="*/ 141757 w 141757"/>
                  <a:gd name="connsiteY5" fmla="*/ 158056 h 158056"/>
                  <a:gd name="connsiteX6" fmla="*/ 141757 w 141757"/>
                  <a:gd name="connsiteY6" fmla="*/ 47911 h 15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757" h="158056">
                    <a:moveTo>
                      <a:pt x="141757" y="47911"/>
                    </a:moveTo>
                    <a:cubicBezTo>
                      <a:pt x="141757" y="21239"/>
                      <a:pt x="120518" y="0"/>
                      <a:pt x="93846" y="0"/>
                    </a:cubicBezTo>
                    <a:lnTo>
                      <a:pt x="47911" y="0"/>
                    </a:lnTo>
                    <a:cubicBezTo>
                      <a:pt x="21239" y="0"/>
                      <a:pt x="0" y="21239"/>
                      <a:pt x="0" y="47911"/>
                    </a:cubicBezTo>
                    <a:lnTo>
                      <a:pt x="0" y="158056"/>
                    </a:lnTo>
                    <a:lnTo>
                      <a:pt x="141757" y="158056"/>
                    </a:lnTo>
                    <a:lnTo>
                      <a:pt x="141757" y="47911"/>
                    </a:lnTo>
                    <a:close/>
                  </a:path>
                </a:pathLst>
              </a:custGeom>
              <a:solidFill>
                <a:srgbClr val="BFBFBF"/>
              </a:solidFill>
              <a:ln w="49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nvGrpSpPr>
          <p:cNvPr id="1608" name="Group 1607">
            <a:extLst>
              <a:ext uri="{FF2B5EF4-FFF2-40B4-BE49-F238E27FC236}">
                <a16:creationId xmlns:a16="http://schemas.microsoft.com/office/drawing/2014/main" id="{0CE5855C-4459-B13D-5511-4940D927A362}"/>
              </a:ext>
            </a:extLst>
          </p:cNvPr>
          <p:cNvGrpSpPr/>
          <p:nvPr/>
        </p:nvGrpSpPr>
        <p:grpSpPr>
          <a:xfrm>
            <a:off x="402888" y="4098287"/>
            <a:ext cx="1802613" cy="672906"/>
            <a:chOff x="1670011" y="1130068"/>
            <a:chExt cx="1802613" cy="672906"/>
          </a:xfrm>
        </p:grpSpPr>
        <p:grpSp>
          <p:nvGrpSpPr>
            <p:cNvPr id="1609" name="Group 1608">
              <a:extLst>
                <a:ext uri="{FF2B5EF4-FFF2-40B4-BE49-F238E27FC236}">
                  <a16:creationId xmlns:a16="http://schemas.microsoft.com/office/drawing/2014/main" id="{E90221D0-C011-49FE-3CA9-6FDEE8FB2192}"/>
                </a:ext>
              </a:extLst>
            </p:cNvPr>
            <p:cNvGrpSpPr/>
            <p:nvPr/>
          </p:nvGrpSpPr>
          <p:grpSpPr>
            <a:xfrm>
              <a:off x="1670011" y="1161441"/>
              <a:ext cx="1802613" cy="641533"/>
              <a:chOff x="1670011" y="1161441"/>
              <a:chExt cx="1802613" cy="641533"/>
            </a:xfrm>
          </p:grpSpPr>
          <p:pic>
            <p:nvPicPr>
              <p:cNvPr id="1611" name="Graphic 1610">
                <a:extLst>
                  <a:ext uri="{FF2B5EF4-FFF2-40B4-BE49-F238E27FC236}">
                    <a16:creationId xmlns:a16="http://schemas.microsoft.com/office/drawing/2014/main" id="{5B19CE42-A8A0-4F5C-13B1-D2839794B325}"/>
                  </a:ext>
                </a:extLst>
              </p:cNvPr>
              <p:cNvPicPr>
                <a:picLocks noChangeAspect="1"/>
              </p:cNvPicPr>
              <p:nvPr/>
            </p:nvPicPr>
            <p:blipFill>
              <a:blip r:embed="rId6">
                <a:extLst>
                  <a:ext uri="{96DAC541-7B7A-43D3-8B79-37D633B846F1}">
                    <asvg:svgBlip xmlns:asvg="http://schemas.microsoft.com/office/drawing/2016/SVG/main" r:embed="rId7"/>
                  </a:ext>
                </a:extLst>
              </a:blip>
              <a:srcRect b="16362"/>
              <a:stretch>
                <a:fillRect/>
              </a:stretch>
            </p:blipFill>
            <p:spPr>
              <a:xfrm>
                <a:off x="1670011" y="1203490"/>
                <a:ext cx="716757" cy="599484"/>
              </a:xfrm>
              <a:custGeom>
                <a:avLst/>
                <a:gdLst>
                  <a:gd name="connsiteX0" fmla="*/ 0 w 1000476"/>
                  <a:gd name="connsiteY0" fmla="*/ 0 h 836781"/>
                  <a:gd name="connsiteX1" fmla="*/ 1000476 w 1000476"/>
                  <a:gd name="connsiteY1" fmla="*/ 0 h 836781"/>
                  <a:gd name="connsiteX2" fmla="*/ 1000476 w 1000476"/>
                  <a:gd name="connsiteY2" fmla="*/ 836781 h 836781"/>
                  <a:gd name="connsiteX3" fmla="*/ 0 w 1000476"/>
                  <a:gd name="connsiteY3" fmla="*/ 836781 h 836781"/>
                </a:gdLst>
                <a:ahLst/>
                <a:cxnLst>
                  <a:cxn ang="0">
                    <a:pos x="connsiteX0" y="connsiteY0"/>
                  </a:cxn>
                  <a:cxn ang="0">
                    <a:pos x="connsiteX1" y="connsiteY1"/>
                  </a:cxn>
                  <a:cxn ang="0">
                    <a:pos x="connsiteX2" y="connsiteY2"/>
                  </a:cxn>
                  <a:cxn ang="0">
                    <a:pos x="connsiteX3" y="connsiteY3"/>
                  </a:cxn>
                </a:cxnLst>
                <a:rect l="l" t="t" r="r" b="b"/>
                <a:pathLst>
                  <a:path w="1000476" h="836781">
                    <a:moveTo>
                      <a:pt x="0" y="0"/>
                    </a:moveTo>
                    <a:lnTo>
                      <a:pt x="1000476" y="0"/>
                    </a:lnTo>
                    <a:lnTo>
                      <a:pt x="1000476" y="836781"/>
                    </a:lnTo>
                    <a:lnTo>
                      <a:pt x="0" y="836781"/>
                    </a:lnTo>
                    <a:close/>
                  </a:path>
                </a:pathLst>
              </a:custGeom>
            </p:spPr>
          </p:pic>
          <p:pic>
            <p:nvPicPr>
              <p:cNvPr id="1612" name="Graphic 1611">
                <a:extLst>
                  <a:ext uri="{FF2B5EF4-FFF2-40B4-BE49-F238E27FC236}">
                    <a16:creationId xmlns:a16="http://schemas.microsoft.com/office/drawing/2014/main" id="{4FE5597B-82DB-5F83-5E95-02C7CDD180DA}"/>
                  </a:ext>
                </a:extLst>
              </p:cNvPr>
              <p:cNvPicPr>
                <a:picLocks noChangeAspect="1"/>
              </p:cNvPicPr>
              <p:nvPr/>
            </p:nvPicPr>
            <p:blipFill>
              <a:blip r:embed="rId8">
                <a:extLst>
                  <a:ext uri="{96DAC541-7B7A-43D3-8B79-37D633B846F1}">
                    <asvg:svgBlip xmlns:asvg="http://schemas.microsoft.com/office/drawing/2016/SVG/main" r:embed="rId9"/>
                  </a:ext>
                </a:extLst>
              </a:blip>
              <a:srcRect b="10493"/>
              <a:stretch>
                <a:fillRect/>
              </a:stretch>
            </p:blipFill>
            <p:spPr>
              <a:xfrm>
                <a:off x="2755837" y="1161441"/>
                <a:ext cx="716787" cy="641532"/>
              </a:xfrm>
              <a:custGeom>
                <a:avLst/>
                <a:gdLst>
                  <a:gd name="connsiteX0" fmla="*/ 0 w 1000518"/>
                  <a:gd name="connsiteY0" fmla="*/ 0 h 895474"/>
                  <a:gd name="connsiteX1" fmla="*/ 1000518 w 1000518"/>
                  <a:gd name="connsiteY1" fmla="*/ 0 h 895474"/>
                  <a:gd name="connsiteX2" fmla="*/ 1000518 w 1000518"/>
                  <a:gd name="connsiteY2" fmla="*/ 895474 h 895474"/>
                  <a:gd name="connsiteX3" fmla="*/ 0 w 1000518"/>
                  <a:gd name="connsiteY3" fmla="*/ 895474 h 895474"/>
                </a:gdLst>
                <a:ahLst/>
                <a:cxnLst>
                  <a:cxn ang="0">
                    <a:pos x="connsiteX0" y="connsiteY0"/>
                  </a:cxn>
                  <a:cxn ang="0">
                    <a:pos x="connsiteX1" y="connsiteY1"/>
                  </a:cxn>
                  <a:cxn ang="0">
                    <a:pos x="connsiteX2" y="connsiteY2"/>
                  </a:cxn>
                  <a:cxn ang="0">
                    <a:pos x="connsiteX3" y="connsiteY3"/>
                  </a:cxn>
                </a:cxnLst>
                <a:rect l="l" t="t" r="r" b="b"/>
                <a:pathLst>
                  <a:path w="1000518" h="895474">
                    <a:moveTo>
                      <a:pt x="0" y="0"/>
                    </a:moveTo>
                    <a:lnTo>
                      <a:pt x="1000518" y="0"/>
                    </a:lnTo>
                    <a:lnTo>
                      <a:pt x="1000518" y="895474"/>
                    </a:lnTo>
                    <a:lnTo>
                      <a:pt x="0" y="895474"/>
                    </a:lnTo>
                    <a:close/>
                  </a:path>
                </a:pathLst>
              </a:custGeom>
            </p:spPr>
          </p:pic>
          <p:pic>
            <p:nvPicPr>
              <p:cNvPr id="1613" name="Picture 1612">
                <a:extLst>
                  <a:ext uri="{FF2B5EF4-FFF2-40B4-BE49-F238E27FC236}">
                    <a16:creationId xmlns:a16="http://schemas.microsoft.com/office/drawing/2014/main" id="{9E4A4C26-2BE1-E6E3-4EBC-F304600D6A98}"/>
                  </a:ext>
                </a:extLst>
              </p:cNvPr>
              <p:cNvPicPr>
                <a:picLocks noChangeAspect="1"/>
              </p:cNvPicPr>
              <p:nvPr/>
            </p:nvPicPr>
            <p:blipFill>
              <a:blip r:embed="rId10"/>
              <a:srcRect b="13472"/>
              <a:stretch>
                <a:fillRect/>
              </a:stretch>
            </p:blipFill>
            <p:spPr>
              <a:xfrm>
                <a:off x="2352501" y="1179398"/>
                <a:ext cx="720662" cy="623575"/>
              </a:xfrm>
              <a:custGeom>
                <a:avLst/>
                <a:gdLst>
                  <a:gd name="connsiteX0" fmla="*/ 0 w 1005927"/>
                  <a:gd name="connsiteY0" fmla="*/ 0 h 870409"/>
                  <a:gd name="connsiteX1" fmla="*/ 1005927 w 1005927"/>
                  <a:gd name="connsiteY1" fmla="*/ 0 h 870409"/>
                  <a:gd name="connsiteX2" fmla="*/ 1005927 w 1005927"/>
                  <a:gd name="connsiteY2" fmla="*/ 870409 h 870409"/>
                  <a:gd name="connsiteX3" fmla="*/ 0 w 1005927"/>
                  <a:gd name="connsiteY3" fmla="*/ 870409 h 870409"/>
                </a:gdLst>
                <a:ahLst/>
                <a:cxnLst>
                  <a:cxn ang="0">
                    <a:pos x="connsiteX0" y="connsiteY0"/>
                  </a:cxn>
                  <a:cxn ang="0">
                    <a:pos x="connsiteX1" y="connsiteY1"/>
                  </a:cxn>
                  <a:cxn ang="0">
                    <a:pos x="connsiteX2" y="connsiteY2"/>
                  </a:cxn>
                  <a:cxn ang="0">
                    <a:pos x="connsiteX3" y="connsiteY3"/>
                  </a:cxn>
                </a:cxnLst>
                <a:rect l="l" t="t" r="r" b="b"/>
                <a:pathLst>
                  <a:path w="1005927" h="870409">
                    <a:moveTo>
                      <a:pt x="0" y="0"/>
                    </a:moveTo>
                    <a:lnTo>
                      <a:pt x="1005927" y="0"/>
                    </a:lnTo>
                    <a:lnTo>
                      <a:pt x="1005927" y="870409"/>
                    </a:lnTo>
                    <a:lnTo>
                      <a:pt x="0" y="870409"/>
                    </a:lnTo>
                    <a:close/>
                  </a:path>
                </a:pathLst>
              </a:custGeom>
            </p:spPr>
          </p:pic>
        </p:grpSp>
        <p:pic>
          <p:nvPicPr>
            <p:cNvPr id="1610" name="Picture 1609">
              <a:extLst>
                <a:ext uri="{FF2B5EF4-FFF2-40B4-BE49-F238E27FC236}">
                  <a16:creationId xmlns:a16="http://schemas.microsoft.com/office/drawing/2014/main" id="{95745043-1E4C-ED9F-7D0D-A330C84502CF}"/>
                </a:ext>
              </a:extLst>
            </p:cNvPr>
            <p:cNvPicPr>
              <a:picLocks noChangeAspect="1"/>
            </p:cNvPicPr>
            <p:nvPr/>
          </p:nvPicPr>
          <p:blipFill>
            <a:blip r:embed="rId11"/>
            <a:srcRect b="31221"/>
            <a:stretch>
              <a:fillRect/>
            </a:stretch>
          </p:blipFill>
          <p:spPr>
            <a:xfrm>
              <a:off x="1859292" y="1130068"/>
              <a:ext cx="973987" cy="672906"/>
            </a:xfrm>
            <a:custGeom>
              <a:avLst/>
              <a:gdLst>
                <a:gd name="connsiteX0" fmla="*/ 0 w 1359526"/>
                <a:gd name="connsiteY0" fmla="*/ 0 h 939267"/>
                <a:gd name="connsiteX1" fmla="*/ 1359526 w 1359526"/>
                <a:gd name="connsiteY1" fmla="*/ 0 h 939267"/>
                <a:gd name="connsiteX2" fmla="*/ 1359526 w 1359526"/>
                <a:gd name="connsiteY2" fmla="*/ 939267 h 939267"/>
                <a:gd name="connsiteX3" fmla="*/ 0 w 1359526"/>
                <a:gd name="connsiteY3" fmla="*/ 939267 h 939267"/>
              </a:gdLst>
              <a:ahLst/>
              <a:cxnLst>
                <a:cxn ang="0">
                  <a:pos x="connsiteX0" y="connsiteY0"/>
                </a:cxn>
                <a:cxn ang="0">
                  <a:pos x="connsiteX1" y="connsiteY1"/>
                </a:cxn>
                <a:cxn ang="0">
                  <a:pos x="connsiteX2" y="connsiteY2"/>
                </a:cxn>
                <a:cxn ang="0">
                  <a:pos x="connsiteX3" y="connsiteY3"/>
                </a:cxn>
              </a:cxnLst>
              <a:rect l="l" t="t" r="r" b="b"/>
              <a:pathLst>
                <a:path w="1359526" h="939267">
                  <a:moveTo>
                    <a:pt x="0" y="0"/>
                  </a:moveTo>
                  <a:lnTo>
                    <a:pt x="1359526" y="0"/>
                  </a:lnTo>
                  <a:lnTo>
                    <a:pt x="1359526" y="939267"/>
                  </a:lnTo>
                  <a:lnTo>
                    <a:pt x="0" y="939267"/>
                  </a:lnTo>
                  <a:close/>
                </a:path>
              </a:pathLst>
            </a:custGeom>
          </p:spPr>
        </p:pic>
      </p:grpSp>
      <p:sp>
        <p:nvSpPr>
          <p:cNvPr id="1614" name="Graphic 674">
            <a:extLst>
              <a:ext uri="{FF2B5EF4-FFF2-40B4-BE49-F238E27FC236}">
                <a16:creationId xmlns:a16="http://schemas.microsoft.com/office/drawing/2014/main" id="{45E0085D-61CF-912D-C6AC-C9B2FE2A69E3}"/>
              </a:ext>
            </a:extLst>
          </p:cNvPr>
          <p:cNvSpPr/>
          <p:nvPr/>
        </p:nvSpPr>
        <p:spPr>
          <a:xfrm>
            <a:off x="9023880" y="2745509"/>
            <a:ext cx="832618" cy="692227"/>
          </a:xfrm>
          <a:custGeom>
            <a:avLst/>
            <a:gdLst>
              <a:gd name="connsiteX0" fmla="*/ 5874339 w 8250867"/>
              <a:gd name="connsiteY0" fmla="*/ 1162833 h 6859656"/>
              <a:gd name="connsiteX1" fmla="*/ 6562720 w 8250867"/>
              <a:gd name="connsiteY1" fmla="*/ 1673599 h 6859656"/>
              <a:gd name="connsiteX2" fmla="*/ 5232537 w 8250867"/>
              <a:gd name="connsiteY2" fmla="*/ 3289737 h 6859656"/>
              <a:gd name="connsiteX3" fmla="*/ 4440285 w 8250867"/>
              <a:gd name="connsiteY3" fmla="*/ 2637649 h 6859656"/>
              <a:gd name="connsiteX4" fmla="*/ 2836437 w 8250867"/>
              <a:gd name="connsiteY4" fmla="*/ 4586323 h 6859656"/>
              <a:gd name="connsiteX5" fmla="*/ 2044184 w 8250867"/>
              <a:gd name="connsiteY5" fmla="*/ 3934235 h 6859656"/>
              <a:gd name="connsiteX6" fmla="*/ -386 w 8250867"/>
              <a:gd name="connsiteY6" fmla="*/ 6418333 h 6859656"/>
              <a:gd name="connsiteX7" fmla="*/ 535154 w 8250867"/>
              <a:gd name="connsiteY7" fmla="*/ 6859057 h 6859656"/>
              <a:gd name="connsiteX8" fmla="*/ 2138924 w 8250867"/>
              <a:gd name="connsiteY8" fmla="*/ 4910306 h 6859656"/>
              <a:gd name="connsiteX9" fmla="*/ 2395753 w 8250867"/>
              <a:gd name="connsiteY9" fmla="*/ 5121671 h 6859656"/>
              <a:gd name="connsiteX10" fmla="*/ 2931293 w 8250867"/>
              <a:gd name="connsiteY10" fmla="*/ 5562394 h 6859656"/>
              <a:gd name="connsiteX11" fmla="*/ 3371977 w 8250867"/>
              <a:gd name="connsiteY11" fmla="*/ 5026853 h 6859656"/>
              <a:gd name="connsiteX12" fmla="*/ 3371977 w 8250867"/>
              <a:gd name="connsiteY12" fmla="*/ 5026853 h 6859656"/>
              <a:gd name="connsiteX13" fmla="*/ 4535102 w 8250867"/>
              <a:gd name="connsiteY13" fmla="*/ 3613643 h 6859656"/>
              <a:gd name="connsiteX14" fmla="*/ 4791930 w 8250867"/>
              <a:gd name="connsiteY14" fmla="*/ 3825008 h 6859656"/>
              <a:gd name="connsiteX15" fmla="*/ 5327471 w 8250867"/>
              <a:gd name="connsiteY15" fmla="*/ 4265731 h 6859656"/>
              <a:gd name="connsiteX16" fmla="*/ 5768155 w 8250867"/>
              <a:gd name="connsiteY16" fmla="*/ 3730190 h 6859656"/>
              <a:gd name="connsiteX17" fmla="*/ 5768155 w 8250867"/>
              <a:gd name="connsiteY17" fmla="*/ 3730190 h 6859656"/>
              <a:gd name="connsiteX18" fmla="*/ 7120491 w 8250867"/>
              <a:gd name="connsiteY18" fmla="*/ 2087083 h 6859656"/>
              <a:gd name="connsiteX19" fmla="*/ 7825979 w 8250867"/>
              <a:gd name="connsiteY19" fmla="*/ 2610525 h 6859656"/>
              <a:gd name="connsiteX20" fmla="*/ 8250481 w 8250867"/>
              <a:gd name="connsiteY20" fmla="*/ -600 h 6859656"/>
              <a:gd name="connsiteX21" fmla="*/ 535115 w 8250867"/>
              <a:gd name="connsiteY21" fmla="*/ 6859057 h 6859656"/>
              <a:gd name="connsiteX22" fmla="*/ 535115 w 8250867"/>
              <a:gd name="connsiteY22" fmla="*/ 6859057 h 685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250867" h="6859656">
                <a:moveTo>
                  <a:pt x="5874339" y="1162833"/>
                </a:moveTo>
                <a:lnTo>
                  <a:pt x="6562720" y="1673599"/>
                </a:lnTo>
                <a:lnTo>
                  <a:pt x="5232537" y="3289737"/>
                </a:lnTo>
                <a:lnTo>
                  <a:pt x="4440285" y="2637649"/>
                </a:lnTo>
                <a:lnTo>
                  <a:pt x="2836437" y="4586323"/>
                </a:lnTo>
                <a:lnTo>
                  <a:pt x="2044184" y="3934235"/>
                </a:lnTo>
                <a:lnTo>
                  <a:pt x="-386" y="6418333"/>
                </a:lnTo>
                <a:lnTo>
                  <a:pt x="535154" y="6859057"/>
                </a:lnTo>
                <a:lnTo>
                  <a:pt x="2138924" y="4910306"/>
                </a:lnTo>
                <a:lnTo>
                  <a:pt x="2395753" y="5121671"/>
                </a:lnTo>
                <a:lnTo>
                  <a:pt x="2931293" y="5562394"/>
                </a:lnTo>
                <a:lnTo>
                  <a:pt x="3371977" y="5026853"/>
                </a:lnTo>
                <a:lnTo>
                  <a:pt x="3371977" y="5026853"/>
                </a:lnTo>
                <a:lnTo>
                  <a:pt x="4535102" y="3613643"/>
                </a:lnTo>
                <a:lnTo>
                  <a:pt x="4791930" y="3825008"/>
                </a:lnTo>
                <a:lnTo>
                  <a:pt x="5327471" y="4265731"/>
                </a:lnTo>
                <a:lnTo>
                  <a:pt x="5768155" y="3730190"/>
                </a:lnTo>
                <a:lnTo>
                  <a:pt x="5768155" y="3730190"/>
                </a:lnTo>
                <a:lnTo>
                  <a:pt x="7120491" y="2087083"/>
                </a:lnTo>
                <a:lnTo>
                  <a:pt x="7825979" y="2610525"/>
                </a:lnTo>
                <a:lnTo>
                  <a:pt x="8250481" y="-600"/>
                </a:lnTo>
                <a:close/>
                <a:moveTo>
                  <a:pt x="535115" y="6859057"/>
                </a:moveTo>
                <a:lnTo>
                  <a:pt x="535115" y="6859057"/>
                </a:lnTo>
                <a:close/>
              </a:path>
            </a:pathLst>
          </a:custGeom>
          <a:solidFill>
            <a:schemeClr val="bg1"/>
          </a:solidFill>
          <a:ln w="38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18" name="Oval 1617">
            <a:extLst>
              <a:ext uri="{FF2B5EF4-FFF2-40B4-BE49-F238E27FC236}">
                <a16:creationId xmlns:a16="http://schemas.microsoft.com/office/drawing/2014/main" id="{0E9FCAF2-DE71-5FCE-1CA1-993AF1816DA9}"/>
              </a:ext>
            </a:extLst>
          </p:cNvPr>
          <p:cNvSpPr/>
          <p:nvPr/>
        </p:nvSpPr>
        <p:spPr>
          <a:xfrm>
            <a:off x="5516755" y="3686969"/>
            <a:ext cx="620752" cy="620752"/>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Lora"/>
                <a:ea typeface="+mn-ea"/>
                <a:cs typeface="+mn-cs"/>
              </a:rPr>
              <a:t>D</a:t>
            </a:r>
            <a:r>
              <a:rPr kumimoji="0" lang="en-GB" sz="1800" b="1" i="0" u="none" strike="noStrike" kern="1200" cap="none" spc="0" normalizeH="0" baseline="30000" noProof="0" dirty="0">
                <a:ln>
                  <a:noFill/>
                </a:ln>
                <a:solidFill>
                  <a:srgbClr val="FFFFFF"/>
                </a:solidFill>
                <a:effectLst/>
                <a:uLnTx/>
                <a:uFillTx/>
                <a:latin typeface="Lora"/>
                <a:ea typeface="+mn-ea"/>
                <a:cs typeface="+mn-cs"/>
              </a:rPr>
              <a:t>3</a:t>
            </a:r>
            <a:endParaRPr kumimoji="0" lang="en-GB" sz="1800" b="1" i="0" u="none" strike="noStrike" kern="1200" cap="none" spc="0" normalizeH="0" baseline="0" noProof="0" dirty="0">
              <a:ln>
                <a:noFill/>
              </a:ln>
              <a:solidFill>
                <a:srgbClr val="FFFFFF"/>
              </a:solidFill>
              <a:effectLst/>
              <a:uLnTx/>
              <a:uFillTx/>
              <a:latin typeface="Lora"/>
              <a:ea typeface="+mn-ea"/>
              <a:cs typeface="+mn-cs"/>
            </a:endParaRPr>
          </a:p>
        </p:txBody>
      </p:sp>
      <p:sp>
        <p:nvSpPr>
          <p:cNvPr id="1619" name="Oval 1618">
            <a:extLst>
              <a:ext uri="{FF2B5EF4-FFF2-40B4-BE49-F238E27FC236}">
                <a16:creationId xmlns:a16="http://schemas.microsoft.com/office/drawing/2014/main" id="{1AB25FF5-6EFB-105D-A0D7-61A4AE3CF211}"/>
              </a:ext>
            </a:extLst>
          </p:cNvPr>
          <p:cNvSpPr>
            <a:spLocks/>
          </p:cNvSpPr>
          <p:nvPr/>
        </p:nvSpPr>
        <p:spPr>
          <a:xfrm>
            <a:off x="1233799" y="1711641"/>
            <a:ext cx="2084726" cy="2084726"/>
          </a:xfrm>
          <a:prstGeom prst="ellipse">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Lora"/>
              <a:ea typeface="+mn-ea"/>
              <a:cs typeface="+mn-cs"/>
            </a:endParaRPr>
          </a:p>
        </p:txBody>
      </p:sp>
      <p:sp>
        <p:nvSpPr>
          <p:cNvPr id="1620" name="Oval 1619">
            <a:extLst>
              <a:ext uri="{FF2B5EF4-FFF2-40B4-BE49-F238E27FC236}">
                <a16:creationId xmlns:a16="http://schemas.microsoft.com/office/drawing/2014/main" id="{CFDA997C-3901-FC18-4B0B-A38EDA9F5B87}"/>
              </a:ext>
            </a:extLst>
          </p:cNvPr>
          <p:cNvSpPr/>
          <p:nvPr/>
        </p:nvSpPr>
        <p:spPr>
          <a:xfrm>
            <a:off x="1435431" y="1913273"/>
            <a:ext cx="1681462" cy="16814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einvent</a:t>
            </a:r>
            <a:r>
              <a:rPr kumimoji="0" lang="en-GB" sz="1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how</a:t>
            </a:r>
            <a:b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b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companies will</a:t>
            </a:r>
            <a:b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br>
            <a:r>
              <a:rPr kumimoji="0" lang="en-GB" sz="1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compete </a:t>
            </a: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and</a:t>
            </a:r>
            <a:b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br>
            <a:r>
              <a:rPr kumimoji="0" lang="en-GB" sz="12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thrive </a:t>
            </a: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n the</a:t>
            </a:r>
            <a:b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b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21</a:t>
            </a:r>
            <a:r>
              <a:rPr kumimoji="0" lang="en-GB" sz="1200" b="0" i="0" u="none" strike="noStrike" kern="1200" cap="none" spc="0" normalizeH="0" baseline="3000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t</a:t>
            </a:r>
            <a:r>
              <a:rPr kumimoji="0" lang="en-GB" sz="1200" b="0"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century</a:t>
            </a:r>
          </a:p>
        </p:txBody>
      </p:sp>
      <p:grpSp>
        <p:nvGrpSpPr>
          <p:cNvPr id="1621" name="Group 1620">
            <a:extLst>
              <a:ext uri="{FF2B5EF4-FFF2-40B4-BE49-F238E27FC236}">
                <a16:creationId xmlns:a16="http://schemas.microsoft.com/office/drawing/2014/main" id="{5CCEBE73-C241-E21A-DFDF-E9BC161F8A0B}"/>
              </a:ext>
            </a:extLst>
          </p:cNvPr>
          <p:cNvGrpSpPr/>
          <p:nvPr/>
        </p:nvGrpSpPr>
        <p:grpSpPr>
          <a:xfrm>
            <a:off x="1077277" y="5409253"/>
            <a:ext cx="453834" cy="428390"/>
            <a:chOff x="5571934" y="2933418"/>
            <a:chExt cx="1049940" cy="991072"/>
          </a:xfrm>
          <a:solidFill>
            <a:schemeClr val="bg1"/>
          </a:solidFill>
        </p:grpSpPr>
        <p:sp>
          <p:nvSpPr>
            <p:cNvPr id="1622" name="Freeform: Shape 1621">
              <a:extLst>
                <a:ext uri="{FF2B5EF4-FFF2-40B4-BE49-F238E27FC236}">
                  <a16:creationId xmlns:a16="http://schemas.microsoft.com/office/drawing/2014/main" id="{BC7CCAC3-77EB-7C34-8C4F-7441CCFFEC60}"/>
                </a:ext>
              </a:extLst>
            </p:cNvPr>
            <p:cNvSpPr/>
            <p:nvPr/>
          </p:nvSpPr>
          <p:spPr>
            <a:xfrm>
              <a:off x="6188773" y="3151441"/>
              <a:ext cx="433101" cy="773049"/>
            </a:xfrm>
            <a:custGeom>
              <a:avLst/>
              <a:gdLst>
                <a:gd name="connsiteX0" fmla="*/ 432873 w 433101"/>
                <a:gd name="connsiteY0" fmla="*/ 254832 h 773049"/>
                <a:gd name="connsiteX1" fmla="*/ 357911 w 433101"/>
                <a:gd name="connsiteY1" fmla="*/ -247 h 773049"/>
                <a:gd name="connsiteX2" fmla="*/ 355815 w 433101"/>
                <a:gd name="connsiteY2" fmla="*/ 9849 h 773049"/>
                <a:gd name="connsiteX3" fmla="*/ 335337 w 433101"/>
                <a:gd name="connsiteY3" fmla="*/ 107956 h 773049"/>
                <a:gd name="connsiteX4" fmla="*/ 255707 w 433101"/>
                <a:gd name="connsiteY4" fmla="*/ 91288 h 773049"/>
                <a:gd name="connsiteX5" fmla="*/ 139407 w 433101"/>
                <a:gd name="connsiteY5" fmla="*/ 540868 h 773049"/>
                <a:gd name="connsiteX6" fmla="*/ 119500 w 433101"/>
                <a:gd name="connsiteY6" fmla="*/ 457143 h 773049"/>
                <a:gd name="connsiteX7" fmla="*/ 51873 w 433101"/>
                <a:gd name="connsiteY7" fmla="*/ 566966 h 773049"/>
                <a:gd name="connsiteX8" fmla="*/ 45300 w 433101"/>
                <a:gd name="connsiteY8" fmla="*/ 577634 h 773049"/>
                <a:gd name="connsiteX9" fmla="*/ -229 w 433101"/>
                <a:gd name="connsiteY9" fmla="*/ 652405 h 773049"/>
                <a:gd name="connsiteX10" fmla="*/ 76828 w 433101"/>
                <a:gd name="connsiteY10" fmla="*/ 700030 h 773049"/>
                <a:gd name="connsiteX11" fmla="*/ 90068 w 433101"/>
                <a:gd name="connsiteY11" fmla="*/ 708127 h 773049"/>
                <a:gd name="connsiteX12" fmla="*/ 194843 w 433101"/>
                <a:gd name="connsiteY12" fmla="*/ 772802 h 773049"/>
                <a:gd name="connsiteX13" fmla="*/ 174269 w 433101"/>
                <a:gd name="connsiteY13" fmla="*/ 686410 h 773049"/>
                <a:gd name="connsiteX14" fmla="*/ 172078 w 433101"/>
                <a:gd name="connsiteY14" fmla="*/ 677361 h 773049"/>
                <a:gd name="connsiteX15" fmla="*/ 172078 w 433101"/>
                <a:gd name="connsiteY15" fmla="*/ 677361 h 773049"/>
                <a:gd name="connsiteX16" fmla="*/ 432873 w 433101"/>
                <a:gd name="connsiteY16" fmla="*/ 254832 h 77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3101" h="773049">
                  <a:moveTo>
                    <a:pt x="432873" y="254832"/>
                  </a:moveTo>
                  <a:cubicBezTo>
                    <a:pt x="432920" y="164363"/>
                    <a:pt x="406898" y="75810"/>
                    <a:pt x="357911" y="-247"/>
                  </a:cubicBezTo>
                  <a:lnTo>
                    <a:pt x="355815" y="9849"/>
                  </a:lnTo>
                  <a:lnTo>
                    <a:pt x="335337" y="107956"/>
                  </a:lnTo>
                  <a:lnTo>
                    <a:pt x="255707" y="91288"/>
                  </a:lnTo>
                  <a:cubicBezTo>
                    <a:pt x="342547" y="248241"/>
                    <a:pt x="291464" y="445713"/>
                    <a:pt x="139407" y="540868"/>
                  </a:cubicBezTo>
                  <a:lnTo>
                    <a:pt x="119500" y="457143"/>
                  </a:lnTo>
                  <a:lnTo>
                    <a:pt x="51873" y="566966"/>
                  </a:lnTo>
                  <a:lnTo>
                    <a:pt x="45300" y="577634"/>
                  </a:lnTo>
                  <a:lnTo>
                    <a:pt x="-229" y="652405"/>
                  </a:lnTo>
                  <a:lnTo>
                    <a:pt x="76828" y="700030"/>
                  </a:lnTo>
                  <a:lnTo>
                    <a:pt x="90068" y="708127"/>
                  </a:lnTo>
                  <a:lnTo>
                    <a:pt x="194843" y="772802"/>
                  </a:lnTo>
                  <a:lnTo>
                    <a:pt x="174269" y="686410"/>
                  </a:lnTo>
                  <a:lnTo>
                    <a:pt x="172078" y="677361"/>
                  </a:lnTo>
                  <a:lnTo>
                    <a:pt x="172078" y="677361"/>
                  </a:lnTo>
                  <a:cubicBezTo>
                    <a:pt x="331889" y="597132"/>
                    <a:pt x="432796" y="433645"/>
                    <a:pt x="432873" y="2548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23" name="Freeform: Shape 1622">
              <a:extLst>
                <a:ext uri="{FF2B5EF4-FFF2-40B4-BE49-F238E27FC236}">
                  <a16:creationId xmlns:a16="http://schemas.microsoft.com/office/drawing/2014/main" id="{5DE85F6F-8755-BC78-AB59-409CD35DA379}"/>
                </a:ext>
              </a:extLst>
            </p:cNvPr>
            <p:cNvSpPr/>
            <p:nvPr/>
          </p:nvSpPr>
          <p:spPr>
            <a:xfrm>
              <a:off x="5683948" y="2933418"/>
              <a:ext cx="854011" cy="404998"/>
            </a:xfrm>
            <a:custGeom>
              <a:avLst/>
              <a:gdLst>
                <a:gd name="connsiteX0" fmla="*/ 777297 w 854011"/>
                <a:gd name="connsiteY0" fmla="*/ 104047 h 404998"/>
                <a:gd name="connsiteX1" fmla="*/ 777297 w 854011"/>
                <a:gd name="connsiteY1" fmla="*/ 104047 h 404998"/>
                <a:gd name="connsiteX2" fmla="*/ 767772 w 854011"/>
                <a:gd name="connsiteY2" fmla="*/ 110143 h 404998"/>
                <a:gd name="connsiteX3" fmla="*/ 102736 w 854011"/>
                <a:gd name="connsiteY3" fmla="*/ 168465 h 404998"/>
                <a:gd name="connsiteX4" fmla="*/ -229 w 854011"/>
                <a:gd name="connsiteY4" fmla="*/ 388463 h 404998"/>
                <a:gd name="connsiteX5" fmla="*/ 73399 w 854011"/>
                <a:gd name="connsiteY5" fmla="*/ 329409 h 404998"/>
                <a:gd name="connsiteX6" fmla="*/ 129311 w 854011"/>
                <a:gd name="connsiteY6" fmla="*/ 399036 h 404998"/>
                <a:gd name="connsiteX7" fmla="*/ 133978 w 854011"/>
                <a:gd name="connsiteY7" fmla="*/ 404751 h 404998"/>
                <a:gd name="connsiteX8" fmla="*/ 532771 w 854011"/>
                <a:gd name="connsiteY8" fmla="*/ 141604 h 404998"/>
                <a:gd name="connsiteX9" fmla="*/ 648328 w 854011"/>
                <a:gd name="connsiteY9" fmla="*/ 188819 h 404998"/>
                <a:gd name="connsiteX10" fmla="*/ 582510 w 854011"/>
                <a:gd name="connsiteY10" fmla="*/ 231872 h 404998"/>
                <a:gd name="connsiteX11" fmla="*/ 718241 w 854011"/>
                <a:gd name="connsiteY11" fmla="*/ 260447 h 404998"/>
                <a:gd name="connsiteX12" fmla="*/ 727290 w 854011"/>
                <a:gd name="connsiteY12" fmla="*/ 262257 h 404998"/>
                <a:gd name="connsiteX13" fmla="*/ 806919 w 854011"/>
                <a:gd name="connsiteY13" fmla="*/ 278926 h 404998"/>
                <a:gd name="connsiteX14" fmla="*/ 827398 w 854011"/>
                <a:gd name="connsiteY14" fmla="*/ 180819 h 404998"/>
                <a:gd name="connsiteX15" fmla="*/ 829493 w 854011"/>
                <a:gd name="connsiteY15" fmla="*/ 170817 h 404998"/>
                <a:gd name="connsiteX16" fmla="*/ 853782 w 854011"/>
                <a:gd name="connsiteY16" fmla="*/ 54517 h 40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4011" h="404998">
                  <a:moveTo>
                    <a:pt x="777297" y="104047"/>
                  </a:moveTo>
                  <a:lnTo>
                    <a:pt x="777297" y="104047"/>
                  </a:lnTo>
                  <a:lnTo>
                    <a:pt x="767772" y="110143"/>
                  </a:lnTo>
                  <a:cubicBezTo>
                    <a:pt x="568023" y="-57402"/>
                    <a:pt x="270271" y="-31284"/>
                    <a:pt x="102736" y="168465"/>
                  </a:cubicBezTo>
                  <a:cubicBezTo>
                    <a:pt x="49806" y="231558"/>
                    <a:pt x="14315" y="307406"/>
                    <a:pt x="-229" y="388463"/>
                  </a:cubicBezTo>
                  <a:lnTo>
                    <a:pt x="73399" y="329409"/>
                  </a:lnTo>
                  <a:lnTo>
                    <a:pt x="129311" y="399036"/>
                  </a:lnTo>
                  <a:lnTo>
                    <a:pt x="133978" y="404751"/>
                  </a:lnTo>
                  <a:cubicBezTo>
                    <a:pt x="171440" y="221957"/>
                    <a:pt x="349986" y="104142"/>
                    <a:pt x="532771" y="141604"/>
                  </a:cubicBezTo>
                  <a:cubicBezTo>
                    <a:pt x="573890" y="150024"/>
                    <a:pt x="613076" y="166036"/>
                    <a:pt x="648328" y="188819"/>
                  </a:cubicBezTo>
                  <a:lnTo>
                    <a:pt x="582510" y="231872"/>
                  </a:lnTo>
                  <a:lnTo>
                    <a:pt x="718241" y="260447"/>
                  </a:lnTo>
                  <a:lnTo>
                    <a:pt x="727290" y="262257"/>
                  </a:lnTo>
                  <a:lnTo>
                    <a:pt x="806919" y="278926"/>
                  </a:lnTo>
                  <a:lnTo>
                    <a:pt x="827398" y="180819"/>
                  </a:lnTo>
                  <a:lnTo>
                    <a:pt x="829493" y="170817"/>
                  </a:lnTo>
                  <a:lnTo>
                    <a:pt x="853782" y="5451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24" name="Freeform: Shape 1623">
              <a:extLst>
                <a:ext uri="{FF2B5EF4-FFF2-40B4-BE49-F238E27FC236}">
                  <a16:creationId xmlns:a16="http://schemas.microsoft.com/office/drawing/2014/main" id="{909EE015-BFC3-9DCD-A9A5-A6C9ED5CC643}"/>
                </a:ext>
              </a:extLst>
            </p:cNvPr>
            <p:cNvSpPr/>
            <p:nvPr/>
          </p:nvSpPr>
          <p:spPr>
            <a:xfrm>
              <a:off x="5571934" y="3323748"/>
              <a:ext cx="652462" cy="555093"/>
            </a:xfrm>
            <a:custGeom>
              <a:avLst/>
              <a:gdLst>
                <a:gd name="connsiteX0" fmla="*/ 639279 w 652462"/>
                <a:gd name="connsiteY0" fmla="*/ 541058 h 555093"/>
                <a:gd name="connsiteX1" fmla="*/ 562222 w 652462"/>
                <a:gd name="connsiteY1" fmla="*/ 493433 h 555093"/>
                <a:gd name="connsiteX2" fmla="*/ 608132 w 652462"/>
                <a:gd name="connsiteY2" fmla="*/ 418662 h 555093"/>
                <a:gd name="connsiteX3" fmla="*/ 576890 w 652462"/>
                <a:gd name="connsiteY3" fmla="*/ 420186 h 555093"/>
                <a:gd name="connsiteX4" fmla="*/ 250850 w 652462"/>
                <a:gd name="connsiteY4" fmla="*/ 170536 h 555093"/>
                <a:gd name="connsiteX5" fmla="*/ 322192 w 652462"/>
                <a:gd name="connsiteY5" fmla="*/ 178251 h 555093"/>
                <a:gd name="connsiteX6" fmla="*/ 239229 w 652462"/>
                <a:gd name="connsiteY6" fmla="*/ 74905 h 555093"/>
                <a:gd name="connsiteX7" fmla="*/ 234562 w 652462"/>
                <a:gd name="connsiteY7" fmla="*/ 69190 h 555093"/>
                <a:gd name="connsiteX8" fmla="*/ 178460 w 652462"/>
                <a:gd name="connsiteY8" fmla="*/ -247 h 555093"/>
                <a:gd name="connsiteX9" fmla="*/ 104927 w 652462"/>
                <a:gd name="connsiteY9" fmla="*/ 58807 h 555093"/>
                <a:gd name="connsiteX10" fmla="*/ 99498 w 652462"/>
                <a:gd name="connsiteY10" fmla="*/ 63189 h 555093"/>
                <a:gd name="connsiteX11" fmla="*/ -229 w 652462"/>
                <a:gd name="connsiteY11" fmla="*/ 143294 h 555093"/>
                <a:gd name="connsiteX12" fmla="*/ 91211 w 652462"/>
                <a:gd name="connsiteY12" fmla="*/ 152819 h 555093"/>
                <a:gd name="connsiteX13" fmla="*/ 97497 w 652462"/>
                <a:gd name="connsiteY13" fmla="*/ 153486 h 555093"/>
                <a:gd name="connsiteX14" fmla="*/ 109880 w 652462"/>
                <a:gd name="connsiteY14" fmla="*/ 154820 h 555093"/>
                <a:gd name="connsiteX15" fmla="*/ 648852 w 652462"/>
                <a:gd name="connsiteY15" fmla="*/ 549212 h 555093"/>
                <a:gd name="connsiteX16" fmla="*/ 652233 w 652462"/>
                <a:gd name="connsiteY16" fmla="*/ 548678 h 55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2462" h="555093">
                  <a:moveTo>
                    <a:pt x="639279" y="541058"/>
                  </a:moveTo>
                  <a:lnTo>
                    <a:pt x="562222" y="493433"/>
                  </a:lnTo>
                  <a:lnTo>
                    <a:pt x="608132" y="418662"/>
                  </a:lnTo>
                  <a:cubicBezTo>
                    <a:pt x="597941" y="419614"/>
                    <a:pt x="587463" y="420186"/>
                    <a:pt x="576890" y="420186"/>
                  </a:cubicBezTo>
                  <a:cubicBezTo>
                    <a:pt x="424319" y="420110"/>
                    <a:pt x="290712" y="317811"/>
                    <a:pt x="250850" y="170536"/>
                  </a:cubicBezTo>
                  <a:lnTo>
                    <a:pt x="322192" y="178251"/>
                  </a:lnTo>
                  <a:lnTo>
                    <a:pt x="239229" y="74905"/>
                  </a:lnTo>
                  <a:lnTo>
                    <a:pt x="234562" y="69190"/>
                  </a:lnTo>
                  <a:lnTo>
                    <a:pt x="178460" y="-247"/>
                  </a:lnTo>
                  <a:lnTo>
                    <a:pt x="104927" y="58807"/>
                  </a:lnTo>
                  <a:lnTo>
                    <a:pt x="99498" y="63189"/>
                  </a:lnTo>
                  <a:lnTo>
                    <a:pt x="-229" y="143294"/>
                  </a:lnTo>
                  <a:lnTo>
                    <a:pt x="91211" y="152819"/>
                  </a:lnTo>
                  <a:lnTo>
                    <a:pt x="97497" y="153486"/>
                  </a:lnTo>
                  <a:lnTo>
                    <a:pt x="109880" y="154820"/>
                  </a:lnTo>
                  <a:cubicBezTo>
                    <a:pt x="149809" y="412566"/>
                    <a:pt x="391115" y="589140"/>
                    <a:pt x="648852" y="549212"/>
                  </a:cubicBezTo>
                  <a:cubicBezTo>
                    <a:pt x="649976" y="549040"/>
                    <a:pt x="651109" y="548859"/>
                    <a:pt x="652233" y="5486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1625" name="TextBox 1624">
            <a:extLst>
              <a:ext uri="{FF2B5EF4-FFF2-40B4-BE49-F238E27FC236}">
                <a16:creationId xmlns:a16="http://schemas.microsoft.com/office/drawing/2014/main" id="{8B815F55-4100-4382-3707-207ABA05E163}"/>
              </a:ext>
            </a:extLst>
          </p:cNvPr>
          <p:cNvSpPr txBox="1"/>
          <p:nvPr/>
        </p:nvSpPr>
        <p:spPr>
          <a:xfrm>
            <a:off x="5413828" y="5214257"/>
            <a:ext cx="914400" cy="9144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626" name="Group 1625">
            <a:extLst>
              <a:ext uri="{FF2B5EF4-FFF2-40B4-BE49-F238E27FC236}">
                <a16:creationId xmlns:a16="http://schemas.microsoft.com/office/drawing/2014/main" id="{DE9A67C6-B45C-829D-AA71-FA2EB016BF85}"/>
              </a:ext>
            </a:extLst>
          </p:cNvPr>
          <p:cNvGrpSpPr/>
          <p:nvPr/>
        </p:nvGrpSpPr>
        <p:grpSpPr>
          <a:xfrm>
            <a:off x="1673970" y="1323316"/>
            <a:ext cx="1553395" cy="1645311"/>
            <a:chOff x="-3332646" y="915745"/>
            <a:chExt cx="2498197" cy="2646018"/>
          </a:xfrm>
        </p:grpSpPr>
        <p:grpSp>
          <p:nvGrpSpPr>
            <p:cNvPr id="1627" name="Graphic 392">
              <a:extLst>
                <a:ext uri="{FF2B5EF4-FFF2-40B4-BE49-F238E27FC236}">
                  <a16:creationId xmlns:a16="http://schemas.microsoft.com/office/drawing/2014/main" id="{FC3AC3BF-E2C2-B74E-95EF-8D26CE300096}"/>
                </a:ext>
              </a:extLst>
            </p:cNvPr>
            <p:cNvGrpSpPr/>
            <p:nvPr/>
          </p:nvGrpSpPr>
          <p:grpSpPr>
            <a:xfrm>
              <a:off x="-3332646" y="915745"/>
              <a:ext cx="2156484" cy="1474933"/>
              <a:chOff x="-3332646" y="915745"/>
              <a:chExt cx="2156484" cy="1474933"/>
            </a:xfrm>
          </p:grpSpPr>
          <p:grpSp>
            <p:nvGrpSpPr>
              <p:cNvPr id="1691" name="Graphic 392">
                <a:extLst>
                  <a:ext uri="{FF2B5EF4-FFF2-40B4-BE49-F238E27FC236}">
                    <a16:creationId xmlns:a16="http://schemas.microsoft.com/office/drawing/2014/main" id="{D046A9DB-D62F-AA45-7CEE-E0600F94DB9F}"/>
                  </a:ext>
                </a:extLst>
              </p:cNvPr>
              <p:cNvGrpSpPr/>
              <p:nvPr/>
            </p:nvGrpSpPr>
            <p:grpSpPr>
              <a:xfrm>
                <a:off x="-3332646" y="915745"/>
                <a:ext cx="2156484" cy="1474933"/>
                <a:chOff x="-3332646" y="915745"/>
                <a:chExt cx="2156484" cy="1474933"/>
              </a:xfrm>
            </p:grpSpPr>
            <p:sp>
              <p:nvSpPr>
                <p:cNvPr id="1693" name="Freeform: Shape 1692">
                  <a:extLst>
                    <a:ext uri="{FF2B5EF4-FFF2-40B4-BE49-F238E27FC236}">
                      <a16:creationId xmlns:a16="http://schemas.microsoft.com/office/drawing/2014/main" id="{7CC0BCAF-8732-B9C2-C5DC-89ED57B487FD}"/>
                    </a:ext>
                  </a:extLst>
                </p:cNvPr>
                <p:cNvSpPr/>
                <p:nvPr/>
              </p:nvSpPr>
              <p:spPr>
                <a:xfrm>
                  <a:off x="-3332646" y="915745"/>
                  <a:ext cx="2156484" cy="1474933"/>
                </a:xfrm>
                <a:custGeom>
                  <a:avLst/>
                  <a:gdLst>
                    <a:gd name="connsiteX0" fmla="*/ 2046761 w 2156484"/>
                    <a:gd name="connsiteY0" fmla="*/ 1474934 h 1474933"/>
                    <a:gd name="connsiteX1" fmla="*/ 109723 w 2156484"/>
                    <a:gd name="connsiteY1" fmla="*/ 1474934 h 1474933"/>
                    <a:gd name="connsiteX2" fmla="*/ 0 w 2156484"/>
                    <a:gd name="connsiteY2" fmla="*/ 1346220 h 1474933"/>
                    <a:gd name="connsiteX3" fmla="*/ 0 w 2156484"/>
                    <a:gd name="connsiteY3" fmla="*/ 128714 h 1474933"/>
                    <a:gd name="connsiteX4" fmla="*/ 109723 w 2156484"/>
                    <a:gd name="connsiteY4" fmla="*/ 0 h 1474933"/>
                    <a:gd name="connsiteX5" fmla="*/ 2046761 w 2156484"/>
                    <a:gd name="connsiteY5" fmla="*/ 0 h 1474933"/>
                    <a:gd name="connsiteX6" fmla="*/ 2156484 w 2156484"/>
                    <a:gd name="connsiteY6" fmla="*/ 128714 h 1474933"/>
                    <a:gd name="connsiteX7" fmla="*/ 2156484 w 2156484"/>
                    <a:gd name="connsiteY7" fmla="*/ 1346220 h 1474933"/>
                    <a:gd name="connsiteX8" fmla="*/ 2046761 w 2156484"/>
                    <a:gd name="connsiteY8" fmla="*/ 1474934 h 1474933"/>
                    <a:gd name="connsiteX9" fmla="*/ 109723 w 2156484"/>
                    <a:gd name="connsiteY9" fmla="*/ 50641 h 1474933"/>
                    <a:gd name="connsiteX10" fmla="*/ 42201 w 2156484"/>
                    <a:gd name="connsiteY10" fmla="*/ 128714 h 1474933"/>
                    <a:gd name="connsiteX11" fmla="*/ 42201 w 2156484"/>
                    <a:gd name="connsiteY11" fmla="*/ 1346220 h 1474933"/>
                    <a:gd name="connsiteX12" fmla="*/ 109723 w 2156484"/>
                    <a:gd name="connsiteY12" fmla="*/ 1424292 h 1474933"/>
                    <a:gd name="connsiteX13" fmla="*/ 2046761 w 2156484"/>
                    <a:gd name="connsiteY13" fmla="*/ 1424292 h 1474933"/>
                    <a:gd name="connsiteX14" fmla="*/ 2114283 w 2156484"/>
                    <a:gd name="connsiteY14" fmla="*/ 1346220 h 1474933"/>
                    <a:gd name="connsiteX15" fmla="*/ 2114283 w 2156484"/>
                    <a:gd name="connsiteY15" fmla="*/ 128714 h 1474933"/>
                    <a:gd name="connsiteX16" fmla="*/ 2046761 w 2156484"/>
                    <a:gd name="connsiteY16" fmla="*/ 50641 h 1474933"/>
                    <a:gd name="connsiteX17" fmla="*/ 109723 w 2156484"/>
                    <a:gd name="connsiteY17" fmla="*/ 50641 h 1474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56484" h="1474933">
                      <a:moveTo>
                        <a:pt x="2046761" y="1474934"/>
                      </a:moveTo>
                      <a:lnTo>
                        <a:pt x="109723" y="1474934"/>
                      </a:lnTo>
                      <a:cubicBezTo>
                        <a:pt x="48531" y="1474934"/>
                        <a:pt x="0" y="1417962"/>
                        <a:pt x="0" y="1346220"/>
                      </a:cubicBezTo>
                      <a:lnTo>
                        <a:pt x="0" y="128714"/>
                      </a:lnTo>
                      <a:cubicBezTo>
                        <a:pt x="0" y="59082"/>
                        <a:pt x="48531" y="0"/>
                        <a:pt x="109723" y="0"/>
                      </a:cubicBezTo>
                      <a:lnTo>
                        <a:pt x="2046761" y="0"/>
                      </a:lnTo>
                      <a:cubicBezTo>
                        <a:pt x="2107953" y="0"/>
                        <a:pt x="2156484" y="56972"/>
                        <a:pt x="2156484" y="128714"/>
                      </a:cubicBezTo>
                      <a:lnTo>
                        <a:pt x="2156484" y="1346220"/>
                      </a:lnTo>
                      <a:cubicBezTo>
                        <a:pt x="2156484" y="1417962"/>
                        <a:pt x="2107953" y="1474934"/>
                        <a:pt x="2046761" y="1474934"/>
                      </a:cubicBezTo>
                      <a:close/>
                      <a:moveTo>
                        <a:pt x="109723" y="50641"/>
                      </a:moveTo>
                      <a:cubicBezTo>
                        <a:pt x="71742" y="50641"/>
                        <a:pt x="42201" y="86513"/>
                        <a:pt x="42201" y="128714"/>
                      </a:cubicBezTo>
                      <a:lnTo>
                        <a:pt x="42201" y="1346220"/>
                      </a:lnTo>
                      <a:cubicBezTo>
                        <a:pt x="42201" y="1388421"/>
                        <a:pt x="71742" y="1424292"/>
                        <a:pt x="109723" y="1424292"/>
                      </a:cubicBezTo>
                      <a:lnTo>
                        <a:pt x="2046761" y="1424292"/>
                      </a:lnTo>
                      <a:cubicBezTo>
                        <a:pt x="2084742" y="1424292"/>
                        <a:pt x="2114283" y="1388421"/>
                        <a:pt x="2114283" y="1346220"/>
                      </a:cubicBezTo>
                      <a:lnTo>
                        <a:pt x="2114283" y="128714"/>
                      </a:lnTo>
                      <a:cubicBezTo>
                        <a:pt x="2114283" y="86513"/>
                        <a:pt x="2084742" y="50641"/>
                        <a:pt x="2046761" y="50641"/>
                      </a:cubicBezTo>
                      <a:lnTo>
                        <a:pt x="109723" y="50641"/>
                      </a:lnTo>
                      <a:close/>
                    </a:path>
                  </a:pathLst>
                </a:custGeom>
                <a:solidFill>
                  <a:srgbClr val="183C54"/>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94" name="Freeform: Shape 1693">
                  <a:extLst>
                    <a:ext uri="{FF2B5EF4-FFF2-40B4-BE49-F238E27FC236}">
                      <a16:creationId xmlns:a16="http://schemas.microsoft.com/office/drawing/2014/main" id="{AB86D7B5-C84A-67A3-569B-31F7E765FD68}"/>
                    </a:ext>
                  </a:extLst>
                </p:cNvPr>
                <p:cNvSpPr/>
                <p:nvPr/>
              </p:nvSpPr>
              <p:spPr>
                <a:xfrm>
                  <a:off x="-3311546" y="941066"/>
                  <a:ext cx="2114283" cy="1424292"/>
                </a:xfrm>
                <a:custGeom>
                  <a:avLst/>
                  <a:gdLst>
                    <a:gd name="connsiteX0" fmla="*/ 2114283 w 2114283"/>
                    <a:gd name="connsiteY0" fmla="*/ 1320899 h 1424292"/>
                    <a:gd name="connsiteX1" fmla="*/ 2025661 w 2114283"/>
                    <a:gd name="connsiteY1" fmla="*/ 1424292 h 1424292"/>
                    <a:gd name="connsiteX2" fmla="*/ 88623 w 2114283"/>
                    <a:gd name="connsiteY2" fmla="*/ 1424292 h 1424292"/>
                    <a:gd name="connsiteX3" fmla="*/ 0 w 2114283"/>
                    <a:gd name="connsiteY3" fmla="*/ 1320899 h 1424292"/>
                    <a:gd name="connsiteX4" fmla="*/ 0 w 2114283"/>
                    <a:gd name="connsiteY4" fmla="*/ 103393 h 1424292"/>
                    <a:gd name="connsiteX5" fmla="*/ 88623 w 2114283"/>
                    <a:gd name="connsiteY5" fmla="*/ 0 h 1424292"/>
                    <a:gd name="connsiteX6" fmla="*/ 2025661 w 2114283"/>
                    <a:gd name="connsiteY6" fmla="*/ 0 h 1424292"/>
                    <a:gd name="connsiteX7" fmla="*/ 2114283 w 2114283"/>
                    <a:gd name="connsiteY7" fmla="*/ 103393 h 1424292"/>
                    <a:gd name="connsiteX8" fmla="*/ 2114283 w 2114283"/>
                    <a:gd name="connsiteY8" fmla="*/ 1320899 h 142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4283" h="1424292">
                      <a:moveTo>
                        <a:pt x="2114283" y="1320899"/>
                      </a:moveTo>
                      <a:cubicBezTo>
                        <a:pt x="2114283" y="1377871"/>
                        <a:pt x="2074192" y="1424292"/>
                        <a:pt x="2025661" y="1424292"/>
                      </a:cubicBezTo>
                      <a:lnTo>
                        <a:pt x="88623" y="1424292"/>
                      </a:lnTo>
                      <a:cubicBezTo>
                        <a:pt x="40091" y="1424292"/>
                        <a:pt x="0" y="1377871"/>
                        <a:pt x="0" y="1320899"/>
                      </a:cubicBezTo>
                      <a:lnTo>
                        <a:pt x="0" y="103393"/>
                      </a:lnTo>
                      <a:cubicBezTo>
                        <a:pt x="0" y="46421"/>
                        <a:pt x="40091" y="0"/>
                        <a:pt x="88623" y="0"/>
                      </a:cubicBezTo>
                      <a:lnTo>
                        <a:pt x="2025661" y="0"/>
                      </a:lnTo>
                      <a:cubicBezTo>
                        <a:pt x="2074192" y="0"/>
                        <a:pt x="2114283" y="46421"/>
                        <a:pt x="2114283" y="103393"/>
                      </a:cubicBezTo>
                      <a:lnTo>
                        <a:pt x="2114283" y="1320899"/>
                      </a:lnTo>
                      <a:close/>
                    </a:path>
                  </a:pathLst>
                </a:custGeom>
                <a:solidFill>
                  <a:srgbClr val="28638B"/>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1692" name="Freeform: Shape 1691">
                <a:extLst>
                  <a:ext uri="{FF2B5EF4-FFF2-40B4-BE49-F238E27FC236}">
                    <a16:creationId xmlns:a16="http://schemas.microsoft.com/office/drawing/2014/main" id="{366DC62C-F470-3AEA-6C57-1A85601E95E6}"/>
                  </a:ext>
                </a:extLst>
              </p:cNvPr>
              <p:cNvSpPr/>
              <p:nvPr/>
            </p:nvSpPr>
            <p:spPr>
              <a:xfrm>
                <a:off x="-2786140" y="2302056"/>
                <a:ext cx="175135" cy="63301"/>
              </a:xfrm>
              <a:custGeom>
                <a:avLst/>
                <a:gdLst>
                  <a:gd name="connsiteX0" fmla="*/ 0 w 175135"/>
                  <a:gd name="connsiteY0" fmla="*/ 0 h 63301"/>
                  <a:gd name="connsiteX1" fmla="*/ 175135 w 175135"/>
                  <a:gd name="connsiteY1" fmla="*/ 0 h 63301"/>
                  <a:gd name="connsiteX2" fmla="*/ 175135 w 175135"/>
                  <a:gd name="connsiteY2" fmla="*/ 63302 h 63301"/>
                  <a:gd name="connsiteX3" fmla="*/ 0 w 175135"/>
                  <a:gd name="connsiteY3" fmla="*/ 63302 h 63301"/>
                </a:gdLst>
                <a:ahLst/>
                <a:cxnLst>
                  <a:cxn ang="0">
                    <a:pos x="connsiteX0" y="connsiteY0"/>
                  </a:cxn>
                  <a:cxn ang="0">
                    <a:pos x="connsiteX1" y="connsiteY1"/>
                  </a:cxn>
                  <a:cxn ang="0">
                    <a:pos x="connsiteX2" y="connsiteY2"/>
                  </a:cxn>
                  <a:cxn ang="0">
                    <a:pos x="connsiteX3" y="connsiteY3"/>
                  </a:cxn>
                </a:cxnLst>
                <a:rect l="l" t="t" r="r" b="b"/>
                <a:pathLst>
                  <a:path w="175135" h="63301">
                    <a:moveTo>
                      <a:pt x="0" y="0"/>
                    </a:moveTo>
                    <a:lnTo>
                      <a:pt x="175135" y="0"/>
                    </a:lnTo>
                    <a:lnTo>
                      <a:pt x="175135" y="63302"/>
                    </a:lnTo>
                    <a:lnTo>
                      <a:pt x="0" y="63302"/>
                    </a:lnTo>
                    <a:close/>
                  </a:path>
                </a:pathLst>
              </a:custGeom>
              <a:solidFill>
                <a:srgbClr val="B2B2B2"/>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628" name="Graphic 392">
              <a:extLst>
                <a:ext uri="{FF2B5EF4-FFF2-40B4-BE49-F238E27FC236}">
                  <a16:creationId xmlns:a16="http://schemas.microsoft.com/office/drawing/2014/main" id="{EAFCB6F1-0973-E10F-A984-9CB36D8CEA10}"/>
                </a:ext>
              </a:extLst>
            </p:cNvPr>
            <p:cNvGrpSpPr/>
            <p:nvPr/>
          </p:nvGrpSpPr>
          <p:grpSpPr>
            <a:xfrm>
              <a:off x="-2387338" y="1152072"/>
              <a:ext cx="1019160" cy="263757"/>
              <a:chOff x="-2387338" y="1152072"/>
              <a:chExt cx="1019160" cy="263757"/>
            </a:xfrm>
          </p:grpSpPr>
          <p:sp>
            <p:nvSpPr>
              <p:cNvPr id="1686" name="Freeform: Shape 1685">
                <a:extLst>
                  <a:ext uri="{FF2B5EF4-FFF2-40B4-BE49-F238E27FC236}">
                    <a16:creationId xmlns:a16="http://schemas.microsoft.com/office/drawing/2014/main" id="{3A07C99F-0EB2-17D5-97CA-A6DA5E3F8016}"/>
                  </a:ext>
                </a:extLst>
              </p:cNvPr>
              <p:cNvSpPr/>
              <p:nvPr/>
            </p:nvSpPr>
            <p:spPr>
              <a:xfrm>
                <a:off x="-2340917" y="1192163"/>
                <a:ext cx="924207" cy="183575"/>
              </a:xfrm>
              <a:custGeom>
                <a:avLst/>
                <a:gdLst>
                  <a:gd name="connsiteX0" fmla="*/ 616138 w 924207"/>
                  <a:gd name="connsiteY0" fmla="*/ 183575 h 183575"/>
                  <a:gd name="connsiteX1" fmla="*/ 310179 w 924207"/>
                  <a:gd name="connsiteY1" fmla="*/ 21101 h 183575"/>
                  <a:gd name="connsiteX2" fmla="*/ 4220 w 924207"/>
                  <a:gd name="connsiteY2" fmla="*/ 101283 h 183575"/>
                  <a:gd name="connsiteX3" fmla="*/ 0 w 924207"/>
                  <a:gd name="connsiteY3" fmla="*/ 82292 h 183575"/>
                  <a:gd name="connsiteX4" fmla="*/ 312289 w 924207"/>
                  <a:gd name="connsiteY4" fmla="*/ 0 h 183575"/>
                  <a:gd name="connsiteX5" fmla="*/ 618249 w 924207"/>
                  <a:gd name="connsiteY5" fmla="*/ 162475 h 183575"/>
                  <a:gd name="connsiteX6" fmla="*/ 919987 w 924207"/>
                  <a:gd name="connsiteY6" fmla="*/ 82292 h 183575"/>
                  <a:gd name="connsiteX7" fmla="*/ 924208 w 924207"/>
                  <a:gd name="connsiteY7" fmla="*/ 101283 h 18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4207" h="183575">
                    <a:moveTo>
                      <a:pt x="616138" y="183575"/>
                    </a:moveTo>
                    <a:lnTo>
                      <a:pt x="310179" y="21101"/>
                    </a:lnTo>
                    <a:lnTo>
                      <a:pt x="4220" y="101283"/>
                    </a:lnTo>
                    <a:lnTo>
                      <a:pt x="0" y="82292"/>
                    </a:lnTo>
                    <a:lnTo>
                      <a:pt x="312289" y="0"/>
                    </a:lnTo>
                    <a:lnTo>
                      <a:pt x="618249" y="162475"/>
                    </a:lnTo>
                    <a:lnTo>
                      <a:pt x="919987" y="82292"/>
                    </a:lnTo>
                    <a:lnTo>
                      <a:pt x="924208" y="101283"/>
                    </a:lnTo>
                    <a:close/>
                  </a:path>
                </a:pathLst>
              </a:custGeom>
              <a:solidFill>
                <a:srgbClr val="FFFFFF"/>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87" name="Freeform: Shape 1686">
                <a:extLst>
                  <a:ext uri="{FF2B5EF4-FFF2-40B4-BE49-F238E27FC236}">
                    <a16:creationId xmlns:a16="http://schemas.microsoft.com/office/drawing/2014/main" id="{4DB6B0C1-0677-733A-51DD-5BAF69170AAB}"/>
                  </a:ext>
                </a:extLst>
              </p:cNvPr>
              <p:cNvSpPr/>
              <p:nvPr/>
            </p:nvSpPr>
            <p:spPr>
              <a:xfrm>
                <a:off x="-2387338" y="1234365"/>
                <a:ext cx="101283" cy="101282"/>
              </a:xfrm>
              <a:custGeom>
                <a:avLst/>
                <a:gdLst>
                  <a:gd name="connsiteX0" fmla="*/ 101283 w 101283"/>
                  <a:gd name="connsiteY0" fmla="*/ 50642 h 101282"/>
                  <a:gd name="connsiteX1" fmla="*/ 50642 w 101283"/>
                  <a:gd name="connsiteY1" fmla="*/ 101283 h 101282"/>
                  <a:gd name="connsiteX2" fmla="*/ 0 w 101283"/>
                  <a:gd name="connsiteY2" fmla="*/ 50642 h 101282"/>
                  <a:gd name="connsiteX3" fmla="*/ 50642 w 101283"/>
                  <a:gd name="connsiteY3" fmla="*/ 0 h 101282"/>
                  <a:gd name="connsiteX4" fmla="*/ 101283 w 101283"/>
                  <a:gd name="connsiteY4" fmla="*/ 50642 h 101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83" h="101282">
                    <a:moveTo>
                      <a:pt x="101283" y="50642"/>
                    </a:moveTo>
                    <a:cubicBezTo>
                      <a:pt x="101283" y="78610"/>
                      <a:pt x="78610" y="101283"/>
                      <a:pt x="50642" y="101283"/>
                    </a:cubicBezTo>
                    <a:cubicBezTo>
                      <a:pt x="22673" y="101283"/>
                      <a:pt x="0" y="78610"/>
                      <a:pt x="0" y="50642"/>
                    </a:cubicBezTo>
                    <a:cubicBezTo>
                      <a:pt x="0" y="22673"/>
                      <a:pt x="22673" y="0"/>
                      <a:pt x="50642" y="0"/>
                    </a:cubicBezTo>
                    <a:cubicBezTo>
                      <a:pt x="78610" y="0"/>
                      <a:pt x="101283" y="22673"/>
                      <a:pt x="101283" y="50642"/>
                    </a:cubicBezTo>
                    <a:close/>
                  </a:path>
                </a:pathLst>
              </a:custGeom>
              <a:solidFill>
                <a:srgbClr val="81B6DA"/>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88" name="Freeform: Shape 1687">
                <a:extLst>
                  <a:ext uri="{FF2B5EF4-FFF2-40B4-BE49-F238E27FC236}">
                    <a16:creationId xmlns:a16="http://schemas.microsoft.com/office/drawing/2014/main" id="{403CDF7F-E3BC-48B1-7DE8-0678C88E0B01}"/>
                  </a:ext>
                </a:extLst>
              </p:cNvPr>
              <p:cNvSpPr/>
              <p:nvPr/>
            </p:nvSpPr>
            <p:spPr>
              <a:xfrm>
                <a:off x="-2081379" y="1152072"/>
                <a:ext cx="101283" cy="101282"/>
              </a:xfrm>
              <a:custGeom>
                <a:avLst/>
                <a:gdLst>
                  <a:gd name="connsiteX0" fmla="*/ 101283 w 101283"/>
                  <a:gd name="connsiteY0" fmla="*/ 50642 h 101282"/>
                  <a:gd name="connsiteX1" fmla="*/ 50642 w 101283"/>
                  <a:gd name="connsiteY1" fmla="*/ 101283 h 101282"/>
                  <a:gd name="connsiteX2" fmla="*/ 0 w 101283"/>
                  <a:gd name="connsiteY2" fmla="*/ 50642 h 101282"/>
                  <a:gd name="connsiteX3" fmla="*/ 50642 w 101283"/>
                  <a:gd name="connsiteY3" fmla="*/ 0 h 101282"/>
                  <a:gd name="connsiteX4" fmla="*/ 101283 w 101283"/>
                  <a:gd name="connsiteY4" fmla="*/ 50642 h 101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83" h="101282">
                    <a:moveTo>
                      <a:pt x="101283" y="50642"/>
                    </a:moveTo>
                    <a:cubicBezTo>
                      <a:pt x="101283" y="78610"/>
                      <a:pt x="78610" y="101283"/>
                      <a:pt x="50642" y="101283"/>
                    </a:cubicBezTo>
                    <a:cubicBezTo>
                      <a:pt x="22673" y="101283"/>
                      <a:pt x="0" y="78610"/>
                      <a:pt x="0" y="50642"/>
                    </a:cubicBezTo>
                    <a:cubicBezTo>
                      <a:pt x="0" y="22673"/>
                      <a:pt x="22673" y="0"/>
                      <a:pt x="50642" y="0"/>
                    </a:cubicBezTo>
                    <a:cubicBezTo>
                      <a:pt x="78610" y="0"/>
                      <a:pt x="101283" y="22673"/>
                      <a:pt x="101283" y="50642"/>
                    </a:cubicBezTo>
                    <a:close/>
                  </a:path>
                </a:pathLst>
              </a:custGeom>
              <a:solidFill>
                <a:srgbClr val="D5E7F3"/>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89" name="Freeform: Shape 1688">
                <a:extLst>
                  <a:ext uri="{FF2B5EF4-FFF2-40B4-BE49-F238E27FC236}">
                    <a16:creationId xmlns:a16="http://schemas.microsoft.com/office/drawing/2014/main" id="{971D7E7E-EDD8-820A-85CA-9F7DF8293EEF}"/>
                  </a:ext>
                </a:extLst>
              </p:cNvPr>
              <p:cNvSpPr/>
              <p:nvPr/>
            </p:nvSpPr>
            <p:spPr>
              <a:xfrm>
                <a:off x="-1775420" y="1314547"/>
                <a:ext cx="101283" cy="101282"/>
              </a:xfrm>
              <a:custGeom>
                <a:avLst/>
                <a:gdLst>
                  <a:gd name="connsiteX0" fmla="*/ 101283 w 101283"/>
                  <a:gd name="connsiteY0" fmla="*/ 50641 h 101282"/>
                  <a:gd name="connsiteX1" fmla="*/ 50642 w 101283"/>
                  <a:gd name="connsiteY1" fmla="*/ 101283 h 101282"/>
                  <a:gd name="connsiteX2" fmla="*/ 0 w 101283"/>
                  <a:gd name="connsiteY2" fmla="*/ 50641 h 101282"/>
                  <a:gd name="connsiteX3" fmla="*/ 50642 w 101283"/>
                  <a:gd name="connsiteY3" fmla="*/ 0 h 101282"/>
                  <a:gd name="connsiteX4" fmla="*/ 101283 w 101283"/>
                  <a:gd name="connsiteY4" fmla="*/ 50641 h 101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83" h="101282">
                    <a:moveTo>
                      <a:pt x="101283" y="50641"/>
                    </a:moveTo>
                    <a:cubicBezTo>
                      <a:pt x="101283" y="78610"/>
                      <a:pt x="78610" y="101283"/>
                      <a:pt x="50642" y="101283"/>
                    </a:cubicBezTo>
                    <a:cubicBezTo>
                      <a:pt x="22673" y="101283"/>
                      <a:pt x="0" y="78610"/>
                      <a:pt x="0" y="50641"/>
                    </a:cubicBezTo>
                    <a:cubicBezTo>
                      <a:pt x="0" y="22673"/>
                      <a:pt x="22673" y="0"/>
                      <a:pt x="50642" y="0"/>
                    </a:cubicBezTo>
                    <a:cubicBezTo>
                      <a:pt x="78610" y="0"/>
                      <a:pt x="101283" y="22673"/>
                      <a:pt x="101283" y="50641"/>
                    </a:cubicBezTo>
                    <a:close/>
                  </a:path>
                </a:pathLst>
              </a:custGeom>
              <a:solidFill>
                <a:srgbClr val="ABCEE7"/>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90" name="Freeform: Shape 1689">
                <a:extLst>
                  <a:ext uri="{FF2B5EF4-FFF2-40B4-BE49-F238E27FC236}">
                    <a16:creationId xmlns:a16="http://schemas.microsoft.com/office/drawing/2014/main" id="{DFC5EB88-1739-51EE-EF78-9024CF87D019}"/>
                  </a:ext>
                </a:extLst>
              </p:cNvPr>
              <p:cNvSpPr/>
              <p:nvPr/>
            </p:nvSpPr>
            <p:spPr>
              <a:xfrm>
                <a:off x="-1469461" y="1234365"/>
                <a:ext cx="101283" cy="101282"/>
              </a:xfrm>
              <a:custGeom>
                <a:avLst/>
                <a:gdLst>
                  <a:gd name="connsiteX0" fmla="*/ 101283 w 101283"/>
                  <a:gd name="connsiteY0" fmla="*/ 50642 h 101282"/>
                  <a:gd name="connsiteX1" fmla="*/ 50642 w 101283"/>
                  <a:gd name="connsiteY1" fmla="*/ 101283 h 101282"/>
                  <a:gd name="connsiteX2" fmla="*/ 0 w 101283"/>
                  <a:gd name="connsiteY2" fmla="*/ 50642 h 101282"/>
                  <a:gd name="connsiteX3" fmla="*/ 50642 w 101283"/>
                  <a:gd name="connsiteY3" fmla="*/ 0 h 101282"/>
                  <a:gd name="connsiteX4" fmla="*/ 101283 w 101283"/>
                  <a:gd name="connsiteY4" fmla="*/ 50642 h 101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83" h="101282">
                    <a:moveTo>
                      <a:pt x="101283" y="50642"/>
                    </a:moveTo>
                    <a:cubicBezTo>
                      <a:pt x="101283" y="78610"/>
                      <a:pt x="78610" y="101283"/>
                      <a:pt x="50642" y="101283"/>
                    </a:cubicBezTo>
                    <a:cubicBezTo>
                      <a:pt x="22673" y="101283"/>
                      <a:pt x="0" y="78610"/>
                      <a:pt x="0" y="50642"/>
                    </a:cubicBezTo>
                    <a:cubicBezTo>
                      <a:pt x="0" y="22673"/>
                      <a:pt x="22673" y="0"/>
                      <a:pt x="50642" y="0"/>
                    </a:cubicBezTo>
                    <a:cubicBezTo>
                      <a:pt x="78610" y="0"/>
                      <a:pt x="101283" y="22673"/>
                      <a:pt x="101283" y="50642"/>
                    </a:cubicBezTo>
                    <a:close/>
                  </a:path>
                </a:pathLst>
              </a:custGeom>
              <a:solidFill>
                <a:srgbClr val="81B6DA"/>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629" name="Graphic 392">
              <a:extLst>
                <a:ext uri="{FF2B5EF4-FFF2-40B4-BE49-F238E27FC236}">
                  <a16:creationId xmlns:a16="http://schemas.microsoft.com/office/drawing/2014/main" id="{D53C5E3D-DD40-6D72-A59D-F46F818FEF1C}"/>
                </a:ext>
              </a:extLst>
            </p:cNvPr>
            <p:cNvGrpSpPr/>
            <p:nvPr/>
          </p:nvGrpSpPr>
          <p:grpSpPr>
            <a:xfrm>
              <a:off x="-2456970" y="1574085"/>
              <a:ext cx="1156314" cy="468433"/>
              <a:chOff x="-2456970" y="1574085"/>
              <a:chExt cx="1156314" cy="468433"/>
            </a:xfrm>
          </p:grpSpPr>
          <p:grpSp>
            <p:nvGrpSpPr>
              <p:cNvPr id="1659" name="Graphic 392">
                <a:extLst>
                  <a:ext uri="{FF2B5EF4-FFF2-40B4-BE49-F238E27FC236}">
                    <a16:creationId xmlns:a16="http://schemas.microsoft.com/office/drawing/2014/main" id="{F4CB29E3-16EF-11E0-4B5D-CE2C4835012E}"/>
                  </a:ext>
                </a:extLst>
              </p:cNvPr>
              <p:cNvGrpSpPr/>
              <p:nvPr/>
            </p:nvGrpSpPr>
            <p:grpSpPr>
              <a:xfrm>
                <a:off x="-2456970" y="1574085"/>
                <a:ext cx="324949" cy="468433"/>
                <a:chOff x="-2456970" y="1574085"/>
                <a:chExt cx="324949" cy="468433"/>
              </a:xfrm>
            </p:grpSpPr>
            <p:sp>
              <p:nvSpPr>
                <p:cNvPr id="1678" name="Freeform: Shape 1677">
                  <a:extLst>
                    <a:ext uri="{FF2B5EF4-FFF2-40B4-BE49-F238E27FC236}">
                      <a16:creationId xmlns:a16="http://schemas.microsoft.com/office/drawing/2014/main" id="{15BB3AEB-68AF-91DC-A40C-0CEAD3C36880}"/>
                    </a:ext>
                  </a:extLst>
                </p:cNvPr>
                <p:cNvSpPr/>
                <p:nvPr/>
              </p:nvSpPr>
              <p:spPr>
                <a:xfrm>
                  <a:off x="-2456970" y="1574085"/>
                  <a:ext cx="324949" cy="92842"/>
                </a:xfrm>
                <a:custGeom>
                  <a:avLst/>
                  <a:gdLst>
                    <a:gd name="connsiteX0" fmla="*/ 257428 w 324949"/>
                    <a:gd name="connsiteY0" fmla="*/ 0 h 92842"/>
                    <a:gd name="connsiteX1" fmla="*/ 67522 w 324949"/>
                    <a:gd name="connsiteY1" fmla="*/ 0 h 92842"/>
                    <a:gd name="connsiteX2" fmla="*/ 0 w 324949"/>
                    <a:gd name="connsiteY2" fmla="*/ 67522 h 92842"/>
                    <a:gd name="connsiteX3" fmla="*/ 0 w 324949"/>
                    <a:gd name="connsiteY3" fmla="*/ 92843 h 92842"/>
                    <a:gd name="connsiteX4" fmla="*/ 324950 w 324949"/>
                    <a:gd name="connsiteY4" fmla="*/ 92843 h 92842"/>
                    <a:gd name="connsiteX5" fmla="*/ 324950 w 324949"/>
                    <a:gd name="connsiteY5" fmla="*/ 67522 h 92842"/>
                    <a:gd name="connsiteX6" fmla="*/ 257428 w 324949"/>
                    <a:gd name="connsiteY6" fmla="*/ 0 h 92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949" h="92842">
                      <a:moveTo>
                        <a:pt x="257428" y="0"/>
                      </a:moveTo>
                      <a:lnTo>
                        <a:pt x="67522" y="0"/>
                      </a:lnTo>
                      <a:cubicBezTo>
                        <a:pt x="29541" y="0"/>
                        <a:pt x="0" y="29541"/>
                        <a:pt x="0" y="67522"/>
                      </a:cubicBezTo>
                      <a:lnTo>
                        <a:pt x="0" y="92843"/>
                      </a:lnTo>
                      <a:lnTo>
                        <a:pt x="324950" y="92843"/>
                      </a:lnTo>
                      <a:lnTo>
                        <a:pt x="324950" y="67522"/>
                      </a:lnTo>
                      <a:cubicBezTo>
                        <a:pt x="322840" y="29541"/>
                        <a:pt x="293299" y="0"/>
                        <a:pt x="257428" y="0"/>
                      </a:cubicBezTo>
                      <a:close/>
                    </a:path>
                  </a:pathLst>
                </a:custGeom>
                <a:solidFill>
                  <a:srgbClr val="ABCEE7"/>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679" name="Graphic 392">
                  <a:extLst>
                    <a:ext uri="{FF2B5EF4-FFF2-40B4-BE49-F238E27FC236}">
                      <a16:creationId xmlns:a16="http://schemas.microsoft.com/office/drawing/2014/main" id="{16CB254E-4D04-785F-FFAE-799F738FBB8E}"/>
                    </a:ext>
                  </a:extLst>
                </p:cNvPr>
                <p:cNvGrpSpPr/>
                <p:nvPr/>
              </p:nvGrpSpPr>
              <p:grpSpPr>
                <a:xfrm>
                  <a:off x="-2404218" y="1728119"/>
                  <a:ext cx="217336" cy="314399"/>
                  <a:chOff x="-2404218" y="1728119"/>
                  <a:chExt cx="217336" cy="314399"/>
                </a:xfrm>
                <a:solidFill>
                  <a:srgbClr val="FFFFFF">
                    <a:alpha val="97000"/>
                  </a:srgbClr>
                </a:solidFill>
              </p:grpSpPr>
              <p:sp>
                <p:nvSpPr>
                  <p:cNvPr id="1680" name="Freeform: Shape 1679">
                    <a:extLst>
                      <a:ext uri="{FF2B5EF4-FFF2-40B4-BE49-F238E27FC236}">
                        <a16:creationId xmlns:a16="http://schemas.microsoft.com/office/drawing/2014/main" id="{4E746058-AE11-308D-C14A-A59A3B0A3185}"/>
                      </a:ext>
                    </a:extLst>
                  </p:cNvPr>
                  <p:cNvSpPr/>
                  <p:nvPr/>
                </p:nvSpPr>
                <p:spPr>
                  <a:xfrm>
                    <a:off x="-2404218" y="1728119"/>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7 w 217336"/>
                      <a:gd name="connsiteY6" fmla="*/ 12660 h 25320"/>
                      <a:gd name="connsiteX7" fmla="*/ 217337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7" y="6330"/>
                          <a:pt x="217337" y="12660"/>
                        </a:cubicBezTo>
                        <a:lnTo>
                          <a:pt x="217337" y="12660"/>
                        </a:lnTo>
                        <a:cubicBezTo>
                          <a:pt x="217337" y="1899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81" name="Freeform: Shape 1680">
                    <a:extLst>
                      <a:ext uri="{FF2B5EF4-FFF2-40B4-BE49-F238E27FC236}">
                        <a16:creationId xmlns:a16="http://schemas.microsoft.com/office/drawing/2014/main" id="{591E7E22-3AA3-BA09-3614-CC02559601F6}"/>
                      </a:ext>
                    </a:extLst>
                  </p:cNvPr>
                  <p:cNvSpPr/>
                  <p:nvPr/>
                </p:nvSpPr>
                <p:spPr>
                  <a:xfrm>
                    <a:off x="-2404218" y="1776651"/>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7 w 217336"/>
                      <a:gd name="connsiteY6" fmla="*/ 12660 h 25320"/>
                      <a:gd name="connsiteX7" fmla="*/ 217337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7" y="6330"/>
                          <a:pt x="217337" y="12660"/>
                        </a:cubicBezTo>
                        <a:lnTo>
                          <a:pt x="217337" y="12660"/>
                        </a:lnTo>
                        <a:cubicBezTo>
                          <a:pt x="217337" y="1899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82" name="Freeform: Shape 1681">
                    <a:extLst>
                      <a:ext uri="{FF2B5EF4-FFF2-40B4-BE49-F238E27FC236}">
                        <a16:creationId xmlns:a16="http://schemas.microsoft.com/office/drawing/2014/main" id="{B8D49D93-EF8E-E3F5-3897-DB090A9AC89A}"/>
                      </a:ext>
                    </a:extLst>
                  </p:cNvPr>
                  <p:cNvSpPr/>
                  <p:nvPr/>
                </p:nvSpPr>
                <p:spPr>
                  <a:xfrm>
                    <a:off x="-2404218" y="1823072"/>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7 w 217336"/>
                      <a:gd name="connsiteY6" fmla="*/ 12660 h 25320"/>
                      <a:gd name="connsiteX7" fmla="*/ 217337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7" y="6330"/>
                          <a:pt x="217337" y="12660"/>
                        </a:cubicBezTo>
                        <a:lnTo>
                          <a:pt x="217337" y="12660"/>
                        </a:lnTo>
                        <a:cubicBezTo>
                          <a:pt x="217337" y="2110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83" name="Freeform: Shape 1682">
                    <a:extLst>
                      <a:ext uri="{FF2B5EF4-FFF2-40B4-BE49-F238E27FC236}">
                        <a16:creationId xmlns:a16="http://schemas.microsoft.com/office/drawing/2014/main" id="{11752D92-3C1E-B34A-A7AE-29C982760743}"/>
                      </a:ext>
                    </a:extLst>
                  </p:cNvPr>
                  <p:cNvSpPr/>
                  <p:nvPr/>
                </p:nvSpPr>
                <p:spPr>
                  <a:xfrm>
                    <a:off x="-2404218" y="1871603"/>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7 w 217336"/>
                      <a:gd name="connsiteY6" fmla="*/ 12660 h 25320"/>
                      <a:gd name="connsiteX7" fmla="*/ 217337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7" y="6330"/>
                          <a:pt x="217337" y="12660"/>
                        </a:cubicBezTo>
                        <a:lnTo>
                          <a:pt x="217337" y="12660"/>
                        </a:lnTo>
                        <a:cubicBezTo>
                          <a:pt x="217337" y="2110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84" name="Freeform: Shape 1683">
                    <a:extLst>
                      <a:ext uri="{FF2B5EF4-FFF2-40B4-BE49-F238E27FC236}">
                        <a16:creationId xmlns:a16="http://schemas.microsoft.com/office/drawing/2014/main" id="{7C5CC6B3-BB0A-129D-B385-AE58550DB305}"/>
                      </a:ext>
                    </a:extLst>
                  </p:cNvPr>
                  <p:cNvSpPr/>
                  <p:nvPr/>
                </p:nvSpPr>
                <p:spPr>
                  <a:xfrm>
                    <a:off x="-2404218" y="1968666"/>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7 w 217336"/>
                      <a:gd name="connsiteY6" fmla="*/ 12660 h 25320"/>
                      <a:gd name="connsiteX7" fmla="*/ 217337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7" y="6330"/>
                          <a:pt x="217337" y="12660"/>
                        </a:cubicBezTo>
                        <a:lnTo>
                          <a:pt x="217337" y="12660"/>
                        </a:lnTo>
                        <a:cubicBezTo>
                          <a:pt x="217337" y="1899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85" name="Freeform: Shape 1684">
                    <a:extLst>
                      <a:ext uri="{FF2B5EF4-FFF2-40B4-BE49-F238E27FC236}">
                        <a16:creationId xmlns:a16="http://schemas.microsoft.com/office/drawing/2014/main" id="{71770083-960E-2447-DC5A-840FEA2E0B4C}"/>
                      </a:ext>
                    </a:extLst>
                  </p:cNvPr>
                  <p:cNvSpPr/>
                  <p:nvPr/>
                </p:nvSpPr>
                <p:spPr>
                  <a:xfrm>
                    <a:off x="-2404218" y="2017198"/>
                    <a:ext cx="147704" cy="25320"/>
                  </a:xfrm>
                  <a:custGeom>
                    <a:avLst/>
                    <a:gdLst>
                      <a:gd name="connsiteX0" fmla="*/ 135044 w 147704"/>
                      <a:gd name="connsiteY0" fmla="*/ 25321 h 25320"/>
                      <a:gd name="connsiteX1" fmla="*/ 12660 w 147704"/>
                      <a:gd name="connsiteY1" fmla="*/ 25321 h 25320"/>
                      <a:gd name="connsiteX2" fmla="*/ 0 w 147704"/>
                      <a:gd name="connsiteY2" fmla="*/ 12660 h 25320"/>
                      <a:gd name="connsiteX3" fmla="*/ 0 w 147704"/>
                      <a:gd name="connsiteY3" fmla="*/ 12660 h 25320"/>
                      <a:gd name="connsiteX4" fmla="*/ 12660 w 147704"/>
                      <a:gd name="connsiteY4" fmla="*/ 0 h 25320"/>
                      <a:gd name="connsiteX5" fmla="*/ 135044 w 147704"/>
                      <a:gd name="connsiteY5" fmla="*/ 0 h 25320"/>
                      <a:gd name="connsiteX6" fmla="*/ 147704 w 147704"/>
                      <a:gd name="connsiteY6" fmla="*/ 12660 h 25320"/>
                      <a:gd name="connsiteX7" fmla="*/ 147704 w 147704"/>
                      <a:gd name="connsiteY7" fmla="*/ 12660 h 25320"/>
                      <a:gd name="connsiteX8" fmla="*/ 135044 w 147704"/>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704" h="25320">
                        <a:moveTo>
                          <a:pt x="135044" y="25321"/>
                        </a:moveTo>
                        <a:lnTo>
                          <a:pt x="12660" y="25321"/>
                        </a:lnTo>
                        <a:cubicBezTo>
                          <a:pt x="6330" y="25321"/>
                          <a:pt x="0" y="18991"/>
                          <a:pt x="0" y="12660"/>
                        </a:cubicBezTo>
                        <a:lnTo>
                          <a:pt x="0" y="12660"/>
                        </a:lnTo>
                        <a:cubicBezTo>
                          <a:pt x="0" y="6330"/>
                          <a:pt x="6330" y="0"/>
                          <a:pt x="12660" y="0"/>
                        </a:cubicBezTo>
                        <a:lnTo>
                          <a:pt x="135044" y="0"/>
                        </a:lnTo>
                        <a:cubicBezTo>
                          <a:pt x="141374" y="0"/>
                          <a:pt x="147704" y="6330"/>
                          <a:pt x="147704" y="12660"/>
                        </a:cubicBezTo>
                        <a:lnTo>
                          <a:pt x="147704" y="12660"/>
                        </a:lnTo>
                        <a:cubicBezTo>
                          <a:pt x="147704" y="18991"/>
                          <a:pt x="141374" y="25321"/>
                          <a:pt x="135044"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nvGrpSpPr>
              <p:cNvPr id="1660" name="Graphic 392">
                <a:extLst>
                  <a:ext uri="{FF2B5EF4-FFF2-40B4-BE49-F238E27FC236}">
                    <a16:creationId xmlns:a16="http://schemas.microsoft.com/office/drawing/2014/main" id="{81C5F0E9-86F9-1820-8AA9-D46FBF7C31D7}"/>
                  </a:ext>
                </a:extLst>
              </p:cNvPr>
              <p:cNvGrpSpPr/>
              <p:nvPr/>
            </p:nvGrpSpPr>
            <p:grpSpPr>
              <a:xfrm>
                <a:off x="-2041288" y="1574085"/>
                <a:ext cx="324949" cy="468433"/>
                <a:chOff x="-2041288" y="1574085"/>
                <a:chExt cx="324949" cy="468433"/>
              </a:xfrm>
            </p:grpSpPr>
            <p:sp>
              <p:nvSpPr>
                <p:cNvPr id="1670" name="Freeform: Shape 1669">
                  <a:extLst>
                    <a:ext uri="{FF2B5EF4-FFF2-40B4-BE49-F238E27FC236}">
                      <a16:creationId xmlns:a16="http://schemas.microsoft.com/office/drawing/2014/main" id="{C610D68E-CA8F-B9F8-F667-90D8CB87CC97}"/>
                    </a:ext>
                  </a:extLst>
                </p:cNvPr>
                <p:cNvSpPr/>
                <p:nvPr/>
              </p:nvSpPr>
              <p:spPr>
                <a:xfrm>
                  <a:off x="-2041288" y="1574085"/>
                  <a:ext cx="324949" cy="92842"/>
                </a:xfrm>
                <a:custGeom>
                  <a:avLst/>
                  <a:gdLst>
                    <a:gd name="connsiteX0" fmla="*/ 257428 w 324949"/>
                    <a:gd name="connsiteY0" fmla="*/ 0 h 92842"/>
                    <a:gd name="connsiteX1" fmla="*/ 67522 w 324949"/>
                    <a:gd name="connsiteY1" fmla="*/ 0 h 92842"/>
                    <a:gd name="connsiteX2" fmla="*/ 0 w 324949"/>
                    <a:gd name="connsiteY2" fmla="*/ 67522 h 92842"/>
                    <a:gd name="connsiteX3" fmla="*/ 0 w 324949"/>
                    <a:gd name="connsiteY3" fmla="*/ 92843 h 92842"/>
                    <a:gd name="connsiteX4" fmla="*/ 324950 w 324949"/>
                    <a:gd name="connsiteY4" fmla="*/ 92843 h 92842"/>
                    <a:gd name="connsiteX5" fmla="*/ 324950 w 324949"/>
                    <a:gd name="connsiteY5" fmla="*/ 67522 h 92842"/>
                    <a:gd name="connsiteX6" fmla="*/ 257428 w 324949"/>
                    <a:gd name="connsiteY6" fmla="*/ 0 h 92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949" h="92842">
                      <a:moveTo>
                        <a:pt x="257428" y="0"/>
                      </a:moveTo>
                      <a:lnTo>
                        <a:pt x="67522" y="0"/>
                      </a:lnTo>
                      <a:cubicBezTo>
                        <a:pt x="29541" y="0"/>
                        <a:pt x="0" y="29541"/>
                        <a:pt x="0" y="67522"/>
                      </a:cubicBezTo>
                      <a:lnTo>
                        <a:pt x="0" y="92843"/>
                      </a:lnTo>
                      <a:lnTo>
                        <a:pt x="324950" y="92843"/>
                      </a:lnTo>
                      <a:lnTo>
                        <a:pt x="324950" y="67522"/>
                      </a:lnTo>
                      <a:cubicBezTo>
                        <a:pt x="324950" y="29541"/>
                        <a:pt x="295409" y="0"/>
                        <a:pt x="257428" y="0"/>
                      </a:cubicBezTo>
                      <a:close/>
                    </a:path>
                  </a:pathLst>
                </a:custGeom>
                <a:solidFill>
                  <a:srgbClr val="81B6DA"/>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671" name="Graphic 392">
                  <a:extLst>
                    <a:ext uri="{FF2B5EF4-FFF2-40B4-BE49-F238E27FC236}">
                      <a16:creationId xmlns:a16="http://schemas.microsoft.com/office/drawing/2014/main" id="{5E4B9C5D-21A6-794D-1E79-6286385922DF}"/>
                    </a:ext>
                  </a:extLst>
                </p:cNvPr>
                <p:cNvGrpSpPr/>
                <p:nvPr/>
              </p:nvGrpSpPr>
              <p:grpSpPr>
                <a:xfrm>
                  <a:off x="-1986426" y="1728119"/>
                  <a:ext cx="217336" cy="314399"/>
                  <a:chOff x="-1986426" y="1728119"/>
                  <a:chExt cx="217336" cy="314399"/>
                </a:xfrm>
                <a:solidFill>
                  <a:srgbClr val="FFFFFF">
                    <a:alpha val="97000"/>
                  </a:srgbClr>
                </a:solidFill>
              </p:grpSpPr>
              <p:sp>
                <p:nvSpPr>
                  <p:cNvPr id="1672" name="Freeform: Shape 1671">
                    <a:extLst>
                      <a:ext uri="{FF2B5EF4-FFF2-40B4-BE49-F238E27FC236}">
                        <a16:creationId xmlns:a16="http://schemas.microsoft.com/office/drawing/2014/main" id="{17B1E26E-E0AE-198A-487B-64DBEF3F6C1A}"/>
                      </a:ext>
                    </a:extLst>
                  </p:cNvPr>
                  <p:cNvSpPr/>
                  <p:nvPr/>
                </p:nvSpPr>
                <p:spPr>
                  <a:xfrm>
                    <a:off x="-1986426" y="1728119"/>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6 w 217336"/>
                      <a:gd name="connsiteY6" fmla="*/ 12660 h 25320"/>
                      <a:gd name="connsiteX7" fmla="*/ 217336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6" y="6330"/>
                          <a:pt x="217336" y="12660"/>
                        </a:cubicBezTo>
                        <a:lnTo>
                          <a:pt x="217336" y="12660"/>
                        </a:lnTo>
                        <a:cubicBezTo>
                          <a:pt x="217336" y="1899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73" name="Freeform: Shape 1672">
                    <a:extLst>
                      <a:ext uri="{FF2B5EF4-FFF2-40B4-BE49-F238E27FC236}">
                        <a16:creationId xmlns:a16="http://schemas.microsoft.com/office/drawing/2014/main" id="{805B5ED9-ED59-4B30-642B-FF04B3AE6C97}"/>
                      </a:ext>
                    </a:extLst>
                  </p:cNvPr>
                  <p:cNvSpPr/>
                  <p:nvPr/>
                </p:nvSpPr>
                <p:spPr>
                  <a:xfrm>
                    <a:off x="-1986426" y="1823072"/>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6 w 217336"/>
                      <a:gd name="connsiteY6" fmla="*/ 12660 h 25320"/>
                      <a:gd name="connsiteX7" fmla="*/ 217336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6" y="6330"/>
                          <a:pt x="217336" y="12660"/>
                        </a:cubicBezTo>
                        <a:lnTo>
                          <a:pt x="217336" y="12660"/>
                        </a:lnTo>
                        <a:cubicBezTo>
                          <a:pt x="217336" y="2110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74" name="Freeform: Shape 1673">
                    <a:extLst>
                      <a:ext uri="{FF2B5EF4-FFF2-40B4-BE49-F238E27FC236}">
                        <a16:creationId xmlns:a16="http://schemas.microsoft.com/office/drawing/2014/main" id="{781AEA65-D765-F8FF-0AF1-4E7B2F261105}"/>
                      </a:ext>
                    </a:extLst>
                  </p:cNvPr>
                  <p:cNvSpPr/>
                  <p:nvPr/>
                </p:nvSpPr>
                <p:spPr>
                  <a:xfrm>
                    <a:off x="-1986426" y="1871603"/>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6 w 217336"/>
                      <a:gd name="connsiteY6" fmla="*/ 12660 h 25320"/>
                      <a:gd name="connsiteX7" fmla="*/ 217336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6" y="6330"/>
                          <a:pt x="217336" y="12660"/>
                        </a:cubicBezTo>
                        <a:lnTo>
                          <a:pt x="217336" y="12660"/>
                        </a:lnTo>
                        <a:cubicBezTo>
                          <a:pt x="217336" y="2110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75" name="Freeform: Shape 1674">
                    <a:extLst>
                      <a:ext uri="{FF2B5EF4-FFF2-40B4-BE49-F238E27FC236}">
                        <a16:creationId xmlns:a16="http://schemas.microsoft.com/office/drawing/2014/main" id="{4ECFCE88-F215-72D1-C94E-C4318E75BC96}"/>
                      </a:ext>
                    </a:extLst>
                  </p:cNvPr>
                  <p:cNvSpPr/>
                  <p:nvPr/>
                </p:nvSpPr>
                <p:spPr>
                  <a:xfrm>
                    <a:off x="-1986426" y="1920135"/>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6 w 217336"/>
                      <a:gd name="connsiteY6" fmla="*/ 12660 h 25320"/>
                      <a:gd name="connsiteX7" fmla="*/ 217336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6" y="6330"/>
                          <a:pt x="217336" y="12660"/>
                        </a:cubicBezTo>
                        <a:lnTo>
                          <a:pt x="217336" y="12660"/>
                        </a:lnTo>
                        <a:cubicBezTo>
                          <a:pt x="217336" y="1899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76" name="Freeform: Shape 1675">
                    <a:extLst>
                      <a:ext uri="{FF2B5EF4-FFF2-40B4-BE49-F238E27FC236}">
                        <a16:creationId xmlns:a16="http://schemas.microsoft.com/office/drawing/2014/main" id="{A3F81AAA-7F0C-EE88-D57F-94D07D0E86C3}"/>
                      </a:ext>
                    </a:extLst>
                  </p:cNvPr>
                  <p:cNvSpPr/>
                  <p:nvPr/>
                </p:nvSpPr>
                <p:spPr>
                  <a:xfrm>
                    <a:off x="-1986426" y="1968666"/>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6 w 217336"/>
                      <a:gd name="connsiteY6" fmla="*/ 12660 h 25320"/>
                      <a:gd name="connsiteX7" fmla="*/ 217336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6" y="6330"/>
                          <a:pt x="217336" y="12660"/>
                        </a:cubicBezTo>
                        <a:lnTo>
                          <a:pt x="217336" y="12660"/>
                        </a:lnTo>
                        <a:cubicBezTo>
                          <a:pt x="217336" y="1899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77" name="Freeform: Shape 1676">
                    <a:extLst>
                      <a:ext uri="{FF2B5EF4-FFF2-40B4-BE49-F238E27FC236}">
                        <a16:creationId xmlns:a16="http://schemas.microsoft.com/office/drawing/2014/main" id="{6822F7CA-D361-BA54-C1D2-85205726E70C}"/>
                      </a:ext>
                    </a:extLst>
                  </p:cNvPr>
                  <p:cNvSpPr/>
                  <p:nvPr/>
                </p:nvSpPr>
                <p:spPr>
                  <a:xfrm>
                    <a:off x="-1986426" y="2017198"/>
                    <a:ext cx="181465" cy="25320"/>
                  </a:xfrm>
                  <a:custGeom>
                    <a:avLst/>
                    <a:gdLst>
                      <a:gd name="connsiteX0" fmla="*/ 168805 w 181465"/>
                      <a:gd name="connsiteY0" fmla="*/ 25321 h 25320"/>
                      <a:gd name="connsiteX1" fmla="*/ 12660 w 181465"/>
                      <a:gd name="connsiteY1" fmla="*/ 25321 h 25320"/>
                      <a:gd name="connsiteX2" fmla="*/ 0 w 181465"/>
                      <a:gd name="connsiteY2" fmla="*/ 12660 h 25320"/>
                      <a:gd name="connsiteX3" fmla="*/ 0 w 181465"/>
                      <a:gd name="connsiteY3" fmla="*/ 12660 h 25320"/>
                      <a:gd name="connsiteX4" fmla="*/ 12660 w 181465"/>
                      <a:gd name="connsiteY4" fmla="*/ 0 h 25320"/>
                      <a:gd name="connsiteX5" fmla="*/ 168805 w 181465"/>
                      <a:gd name="connsiteY5" fmla="*/ 0 h 25320"/>
                      <a:gd name="connsiteX6" fmla="*/ 181465 w 181465"/>
                      <a:gd name="connsiteY6" fmla="*/ 12660 h 25320"/>
                      <a:gd name="connsiteX7" fmla="*/ 181465 w 181465"/>
                      <a:gd name="connsiteY7" fmla="*/ 12660 h 25320"/>
                      <a:gd name="connsiteX8" fmla="*/ 168805 w 181465"/>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465" h="25320">
                        <a:moveTo>
                          <a:pt x="168805" y="25321"/>
                        </a:moveTo>
                        <a:lnTo>
                          <a:pt x="12660" y="25321"/>
                        </a:lnTo>
                        <a:cubicBezTo>
                          <a:pt x="6330" y="25321"/>
                          <a:pt x="0" y="18991"/>
                          <a:pt x="0" y="12660"/>
                        </a:cubicBezTo>
                        <a:lnTo>
                          <a:pt x="0" y="12660"/>
                        </a:lnTo>
                        <a:cubicBezTo>
                          <a:pt x="0" y="6330"/>
                          <a:pt x="6330" y="0"/>
                          <a:pt x="12660" y="0"/>
                        </a:cubicBezTo>
                        <a:lnTo>
                          <a:pt x="168805" y="0"/>
                        </a:lnTo>
                        <a:cubicBezTo>
                          <a:pt x="175135" y="0"/>
                          <a:pt x="181465" y="6330"/>
                          <a:pt x="181465" y="12660"/>
                        </a:cubicBezTo>
                        <a:lnTo>
                          <a:pt x="181465" y="12660"/>
                        </a:lnTo>
                        <a:cubicBezTo>
                          <a:pt x="181465" y="18991"/>
                          <a:pt x="175135" y="25321"/>
                          <a:pt x="168805"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nvGrpSpPr>
              <p:cNvPr id="1661" name="Graphic 392">
                <a:extLst>
                  <a:ext uri="{FF2B5EF4-FFF2-40B4-BE49-F238E27FC236}">
                    <a16:creationId xmlns:a16="http://schemas.microsoft.com/office/drawing/2014/main" id="{FD4ADB1A-5C9E-45A0-B2D1-00E291A3C42F}"/>
                  </a:ext>
                </a:extLst>
              </p:cNvPr>
              <p:cNvGrpSpPr/>
              <p:nvPr/>
            </p:nvGrpSpPr>
            <p:grpSpPr>
              <a:xfrm>
                <a:off x="-1625605" y="1574085"/>
                <a:ext cx="324949" cy="468433"/>
                <a:chOff x="-1625605" y="1574085"/>
                <a:chExt cx="324949" cy="468433"/>
              </a:xfrm>
            </p:grpSpPr>
            <p:sp>
              <p:nvSpPr>
                <p:cNvPr id="1662" name="Freeform: Shape 1661">
                  <a:extLst>
                    <a:ext uri="{FF2B5EF4-FFF2-40B4-BE49-F238E27FC236}">
                      <a16:creationId xmlns:a16="http://schemas.microsoft.com/office/drawing/2014/main" id="{761D2046-16C2-150B-C3BF-C731365B372A}"/>
                    </a:ext>
                  </a:extLst>
                </p:cNvPr>
                <p:cNvSpPr/>
                <p:nvPr/>
              </p:nvSpPr>
              <p:spPr>
                <a:xfrm>
                  <a:off x="-1625605" y="1574085"/>
                  <a:ext cx="324949" cy="92842"/>
                </a:xfrm>
                <a:custGeom>
                  <a:avLst/>
                  <a:gdLst>
                    <a:gd name="connsiteX0" fmla="*/ 257428 w 324949"/>
                    <a:gd name="connsiteY0" fmla="*/ 0 h 92842"/>
                    <a:gd name="connsiteX1" fmla="*/ 67522 w 324949"/>
                    <a:gd name="connsiteY1" fmla="*/ 0 h 92842"/>
                    <a:gd name="connsiteX2" fmla="*/ 0 w 324949"/>
                    <a:gd name="connsiteY2" fmla="*/ 67522 h 92842"/>
                    <a:gd name="connsiteX3" fmla="*/ 0 w 324949"/>
                    <a:gd name="connsiteY3" fmla="*/ 92843 h 92842"/>
                    <a:gd name="connsiteX4" fmla="*/ 324950 w 324949"/>
                    <a:gd name="connsiteY4" fmla="*/ 92843 h 92842"/>
                    <a:gd name="connsiteX5" fmla="*/ 324950 w 324949"/>
                    <a:gd name="connsiteY5" fmla="*/ 67522 h 92842"/>
                    <a:gd name="connsiteX6" fmla="*/ 257428 w 324949"/>
                    <a:gd name="connsiteY6" fmla="*/ 0 h 92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949" h="92842">
                      <a:moveTo>
                        <a:pt x="257428" y="0"/>
                      </a:moveTo>
                      <a:lnTo>
                        <a:pt x="67522" y="0"/>
                      </a:lnTo>
                      <a:cubicBezTo>
                        <a:pt x="29541" y="0"/>
                        <a:pt x="0" y="29541"/>
                        <a:pt x="0" y="67522"/>
                      </a:cubicBezTo>
                      <a:lnTo>
                        <a:pt x="0" y="92843"/>
                      </a:lnTo>
                      <a:lnTo>
                        <a:pt x="324950" y="92843"/>
                      </a:lnTo>
                      <a:lnTo>
                        <a:pt x="324950" y="67522"/>
                      </a:lnTo>
                      <a:cubicBezTo>
                        <a:pt x="324950" y="29541"/>
                        <a:pt x="295409" y="0"/>
                        <a:pt x="257428" y="0"/>
                      </a:cubicBezTo>
                      <a:close/>
                    </a:path>
                  </a:pathLst>
                </a:custGeom>
                <a:solidFill>
                  <a:srgbClr val="D5E7F3"/>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663" name="Graphic 392">
                  <a:extLst>
                    <a:ext uri="{FF2B5EF4-FFF2-40B4-BE49-F238E27FC236}">
                      <a16:creationId xmlns:a16="http://schemas.microsoft.com/office/drawing/2014/main" id="{AC515D22-9D4D-A16A-AAB3-B9A534B0AD3B}"/>
                    </a:ext>
                  </a:extLst>
                </p:cNvPr>
                <p:cNvGrpSpPr/>
                <p:nvPr/>
              </p:nvGrpSpPr>
              <p:grpSpPr>
                <a:xfrm>
                  <a:off x="-1570744" y="1728119"/>
                  <a:ext cx="217336" cy="314399"/>
                  <a:chOff x="-1570744" y="1728119"/>
                  <a:chExt cx="217336" cy="314399"/>
                </a:xfrm>
                <a:solidFill>
                  <a:srgbClr val="FFFFFF">
                    <a:alpha val="97000"/>
                  </a:srgbClr>
                </a:solidFill>
              </p:grpSpPr>
              <p:sp>
                <p:nvSpPr>
                  <p:cNvPr id="1664" name="Freeform: Shape 1663">
                    <a:extLst>
                      <a:ext uri="{FF2B5EF4-FFF2-40B4-BE49-F238E27FC236}">
                        <a16:creationId xmlns:a16="http://schemas.microsoft.com/office/drawing/2014/main" id="{491FB61C-583F-7C05-956F-9239F86F04A0}"/>
                      </a:ext>
                    </a:extLst>
                  </p:cNvPr>
                  <p:cNvSpPr/>
                  <p:nvPr/>
                </p:nvSpPr>
                <p:spPr>
                  <a:xfrm>
                    <a:off x="-1570744" y="1728119"/>
                    <a:ext cx="128713" cy="25320"/>
                  </a:xfrm>
                  <a:custGeom>
                    <a:avLst/>
                    <a:gdLst>
                      <a:gd name="connsiteX0" fmla="*/ 116053 w 128713"/>
                      <a:gd name="connsiteY0" fmla="*/ 25321 h 25320"/>
                      <a:gd name="connsiteX1" fmla="*/ 12660 w 128713"/>
                      <a:gd name="connsiteY1" fmla="*/ 25321 h 25320"/>
                      <a:gd name="connsiteX2" fmla="*/ 0 w 128713"/>
                      <a:gd name="connsiteY2" fmla="*/ 12660 h 25320"/>
                      <a:gd name="connsiteX3" fmla="*/ 0 w 128713"/>
                      <a:gd name="connsiteY3" fmla="*/ 12660 h 25320"/>
                      <a:gd name="connsiteX4" fmla="*/ 12660 w 128713"/>
                      <a:gd name="connsiteY4" fmla="*/ 0 h 25320"/>
                      <a:gd name="connsiteX5" fmla="*/ 116053 w 128713"/>
                      <a:gd name="connsiteY5" fmla="*/ 0 h 25320"/>
                      <a:gd name="connsiteX6" fmla="*/ 128714 w 128713"/>
                      <a:gd name="connsiteY6" fmla="*/ 12660 h 25320"/>
                      <a:gd name="connsiteX7" fmla="*/ 128714 w 128713"/>
                      <a:gd name="connsiteY7" fmla="*/ 12660 h 25320"/>
                      <a:gd name="connsiteX8" fmla="*/ 116053 w 128713"/>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13" h="25320">
                        <a:moveTo>
                          <a:pt x="116053" y="25321"/>
                        </a:moveTo>
                        <a:lnTo>
                          <a:pt x="12660" y="25321"/>
                        </a:lnTo>
                        <a:cubicBezTo>
                          <a:pt x="6330" y="25321"/>
                          <a:pt x="0" y="18991"/>
                          <a:pt x="0" y="12660"/>
                        </a:cubicBezTo>
                        <a:lnTo>
                          <a:pt x="0" y="12660"/>
                        </a:lnTo>
                        <a:cubicBezTo>
                          <a:pt x="0" y="6330"/>
                          <a:pt x="6330" y="0"/>
                          <a:pt x="12660" y="0"/>
                        </a:cubicBezTo>
                        <a:lnTo>
                          <a:pt x="116053" y="0"/>
                        </a:lnTo>
                        <a:cubicBezTo>
                          <a:pt x="122384" y="0"/>
                          <a:pt x="128714" y="6330"/>
                          <a:pt x="128714" y="12660"/>
                        </a:cubicBezTo>
                        <a:lnTo>
                          <a:pt x="128714" y="12660"/>
                        </a:lnTo>
                        <a:cubicBezTo>
                          <a:pt x="128714" y="18991"/>
                          <a:pt x="124494" y="25321"/>
                          <a:pt x="116053"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65" name="Freeform: Shape 1664">
                    <a:extLst>
                      <a:ext uri="{FF2B5EF4-FFF2-40B4-BE49-F238E27FC236}">
                        <a16:creationId xmlns:a16="http://schemas.microsoft.com/office/drawing/2014/main" id="{5BAA3F57-288E-FA9B-A23B-63386BE2F188}"/>
                      </a:ext>
                    </a:extLst>
                  </p:cNvPr>
                  <p:cNvSpPr/>
                  <p:nvPr/>
                </p:nvSpPr>
                <p:spPr>
                  <a:xfrm>
                    <a:off x="-1570744" y="1776651"/>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7 w 217336"/>
                      <a:gd name="connsiteY6" fmla="*/ 12660 h 25320"/>
                      <a:gd name="connsiteX7" fmla="*/ 217337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7" y="6330"/>
                          <a:pt x="217337" y="12660"/>
                        </a:cubicBezTo>
                        <a:lnTo>
                          <a:pt x="217337" y="12660"/>
                        </a:lnTo>
                        <a:cubicBezTo>
                          <a:pt x="217337" y="1899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66" name="Freeform: Shape 1665">
                    <a:extLst>
                      <a:ext uri="{FF2B5EF4-FFF2-40B4-BE49-F238E27FC236}">
                        <a16:creationId xmlns:a16="http://schemas.microsoft.com/office/drawing/2014/main" id="{11BEEB3C-04BE-379C-3DC8-54748948CAD2}"/>
                      </a:ext>
                    </a:extLst>
                  </p:cNvPr>
                  <p:cNvSpPr/>
                  <p:nvPr/>
                </p:nvSpPr>
                <p:spPr>
                  <a:xfrm>
                    <a:off x="-1570744" y="1823072"/>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7 w 217336"/>
                      <a:gd name="connsiteY6" fmla="*/ 12660 h 25320"/>
                      <a:gd name="connsiteX7" fmla="*/ 217337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7" y="6330"/>
                          <a:pt x="217337" y="12660"/>
                        </a:cubicBezTo>
                        <a:lnTo>
                          <a:pt x="217337" y="12660"/>
                        </a:lnTo>
                        <a:cubicBezTo>
                          <a:pt x="217337" y="2110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67" name="Freeform: Shape 1666">
                    <a:extLst>
                      <a:ext uri="{FF2B5EF4-FFF2-40B4-BE49-F238E27FC236}">
                        <a16:creationId xmlns:a16="http://schemas.microsoft.com/office/drawing/2014/main" id="{AACBE7BB-1B83-1B8B-7496-B07FFB7C74B1}"/>
                      </a:ext>
                    </a:extLst>
                  </p:cNvPr>
                  <p:cNvSpPr/>
                  <p:nvPr/>
                </p:nvSpPr>
                <p:spPr>
                  <a:xfrm>
                    <a:off x="-1570744" y="1871603"/>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7 w 217336"/>
                      <a:gd name="connsiteY6" fmla="*/ 12660 h 25320"/>
                      <a:gd name="connsiteX7" fmla="*/ 217337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7" y="6330"/>
                          <a:pt x="217337" y="12660"/>
                        </a:cubicBezTo>
                        <a:lnTo>
                          <a:pt x="217337" y="12660"/>
                        </a:lnTo>
                        <a:cubicBezTo>
                          <a:pt x="217337" y="2110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68" name="Freeform: Shape 1667">
                    <a:extLst>
                      <a:ext uri="{FF2B5EF4-FFF2-40B4-BE49-F238E27FC236}">
                        <a16:creationId xmlns:a16="http://schemas.microsoft.com/office/drawing/2014/main" id="{6669FA50-EC69-7551-929B-2F1E0A9F272E}"/>
                      </a:ext>
                    </a:extLst>
                  </p:cNvPr>
                  <p:cNvSpPr/>
                  <p:nvPr/>
                </p:nvSpPr>
                <p:spPr>
                  <a:xfrm>
                    <a:off x="-1570744" y="1920135"/>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7 w 217336"/>
                      <a:gd name="connsiteY6" fmla="*/ 12660 h 25320"/>
                      <a:gd name="connsiteX7" fmla="*/ 217337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7" y="6330"/>
                          <a:pt x="217337" y="12660"/>
                        </a:cubicBezTo>
                        <a:lnTo>
                          <a:pt x="217337" y="12660"/>
                        </a:lnTo>
                        <a:cubicBezTo>
                          <a:pt x="217337" y="1899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69" name="Freeform: Shape 1668">
                    <a:extLst>
                      <a:ext uri="{FF2B5EF4-FFF2-40B4-BE49-F238E27FC236}">
                        <a16:creationId xmlns:a16="http://schemas.microsoft.com/office/drawing/2014/main" id="{1F996087-E84F-EF57-B6E5-A7178E8CADB8}"/>
                      </a:ext>
                    </a:extLst>
                  </p:cNvPr>
                  <p:cNvSpPr/>
                  <p:nvPr/>
                </p:nvSpPr>
                <p:spPr>
                  <a:xfrm>
                    <a:off x="-1570744" y="2017198"/>
                    <a:ext cx="217336" cy="25320"/>
                  </a:xfrm>
                  <a:custGeom>
                    <a:avLst/>
                    <a:gdLst>
                      <a:gd name="connsiteX0" fmla="*/ 204676 w 217336"/>
                      <a:gd name="connsiteY0" fmla="*/ 25321 h 25320"/>
                      <a:gd name="connsiteX1" fmla="*/ 12660 w 217336"/>
                      <a:gd name="connsiteY1" fmla="*/ 25321 h 25320"/>
                      <a:gd name="connsiteX2" fmla="*/ 0 w 217336"/>
                      <a:gd name="connsiteY2" fmla="*/ 12660 h 25320"/>
                      <a:gd name="connsiteX3" fmla="*/ 0 w 217336"/>
                      <a:gd name="connsiteY3" fmla="*/ 12660 h 25320"/>
                      <a:gd name="connsiteX4" fmla="*/ 12660 w 217336"/>
                      <a:gd name="connsiteY4" fmla="*/ 0 h 25320"/>
                      <a:gd name="connsiteX5" fmla="*/ 204676 w 217336"/>
                      <a:gd name="connsiteY5" fmla="*/ 0 h 25320"/>
                      <a:gd name="connsiteX6" fmla="*/ 217337 w 217336"/>
                      <a:gd name="connsiteY6" fmla="*/ 12660 h 25320"/>
                      <a:gd name="connsiteX7" fmla="*/ 217337 w 217336"/>
                      <a:gd name="connsiteY7" fmla="*/ 12660 h 25320"/>
                      <a:gd name="connsiteX8" fmla="*/ 204676 w 217336"/>
                      <a:gd name="connsiteY8" fmla="*/ 25321 h 2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36" h="25320">
                        <a:moveTo>
                          <a:pt x="204676" y="25321"/>
                        </a:moveTo>
                        <a:lnTo>
                          <a:pt x="12660" y="25321"/>
                        </a:lnTo>
                        <a:cubicBezTo>
                          <a:pt x="6330" y="25321"/>
                          <a:pt x="0" y="18991"/>
                          <a:pt x="0" y="12660"/>
                        </a:cubicBezTo>
                        <a:lnTo>
                          <a:pt x="0" y="12660"/>
                        </a:lnTo>
                        <a:cubicBezTo>
                          <a:pt x="0" y="6330"/>
                          <a:pt x="6330" y="0"/>
                          <a:pt x="12660" y="0"/>
                        </a:cubicBezTo>
                        <a:lnTo>
                          <a:pt x="204676" y="0"/>
                        </a:lnTo>
                        <a:cubicBezTo>
                          <a:pt x="211006" y="0"/>
                          <a:pt x="217337" y="6330"/>
                          <a:pt x="217337" y="12660"/>
                        </a:cubicBezTo>
                        <a:lnTo>
                          <a:pt x="217337" y="12660"/>
                        </a:lnTo>
                        <a:cubicBezTo>
                          <a:pt x="217337" y="18991"/>
                          <a:pt x="211006" y="25321"/>
                          <a:pt x="204676" y="2532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grpSp>
          <p:nvGrpSpPr>
            <p:cNvPr id="1630" name="Graphic 392">
              <a:extLst>
                <a:ext uri="{FF2B5EF4-FFF2-40B4-BE49-F238E27FC236}">
                  <a16:creationId xmlns:a16="http://schemas.microsoft.com/office/drawing/2014/main" id="{87A602EC-A810-964F-8837-3F1D60643B1F}"/>
                </a:ext>
              </a:extLst>
            </p:cNvPr>
            <p:cNvGrpSpPr/>
            <p:nvPr/>
          </p:nvGrpSpPr>
          <p:grpSpPr>
            <a:xfrm>
              <a:off x="-1955649" y="1241113"/>
              <a:ext cx="1121200" cy="2320650"/>
              <a:chOff x="-1955649" y="1241113"/>
              <a:chExt cx="1121200" cy="2320650"/>
            </a:xfrm>
          </p:grpSpPr>
          <p:sp>
            <p:nvSpPr>
              <p:cNvPr id="1642" name="Freeform: Shape 1641">
                <a:extLst>
                  <a:ext uri="{FF2B5EF4-FFF2-40B4-BE49-F238E27FC236}">
                    <a16:creationId xmlns:a16="http://schemas.microsoft.com/office/drawing/2014/main" id="{A5B55E80-03ED-CEDE-5A76-90E8772D2352}"/>
                  </a:ext>
                </a:extLst>
              </p:cNvPr>
              <p:cNvSpPr/>
              <p:nvPr/>
            </p:nvSpPr>
            <p:spPr>
              <a:xfrm>
                <a:off x="-1039008" y="1677478"/>
                <a:ext cx="204558" cy="595037"/>
              </a:xfrm>
              <a:custGeom>
                <a:avLst/>
                <a:gdLst>
                  <a:gd name="connsiteX0" fmla="*/ 48532 w 204558"/>
                  <a:gd name="connsiteY0" fmla="*/ 0 h 595037"/>
                  <a:gd name="connsiteX1" fmla="*/ 200456 w 204558"/>
                  <a:gd name="connsiteY1" fmla="*/ 430453 h 595037"/>
                  <a:gd name="connsiteX2" fmla="*/ 0 w 204558"/>
                  <a:gd name="connsiteY2" fmla="*/ 595038 h 595037"/>
                  <a:gd name="connsiteX3" fmla="*/ 48532 w 204558"/>
                  <a:gd name="connsiteY3" fmla="*/ 0 h 595037"/>
                </a:gdLst>
                <a:ahLst/>
                <a:cxnLst>
                  <a:cxn ang="0">
                    <a:pos x="connsiteX0" y="connsiteY0"/>
                  </a:cxn>
                  <a:cxn ang="0">
                    <a:pos x="connsiteX1" y="connsiteY1"/>
                  </a:cxn>
                  <a:cxn ang="0">
                    <a:pos x="connsiteX2" y="connsiteY2"/>
                  </a:cxn>
                  <a:cxn ang="0">
                    <a:pos x="connsiteX3" y="connsiteY3"/>
                  </a:cxn>
                </a:cxnLst>
                <a:rect l="l" t="t" r="r" b="b"/>
                <a:pathLst>
                  <a:path w="204558" h="595037">
                    <a:moveTo>
                      <a:pt x="48532" y="0"/>
                    </a:moveTo>
                    <a:cubicBezTo>
                      <a:pt x="48532" y="0"/>
                      <a:pt x="234217" y="329170"/>
                      <a:pt x="200456" y="430453"/>
                    </a:cubicBezTo>
                    <a:cubicBezTo>
                      <a:pt x="156145" y="559166"/>
                      <a:pt x="0" y="595038"/>
                      <a:pt x="0" y="595038"/>
                    </a:cubicBezTo>
                    <a:lnTo>
                      <a:pt x="48532" y="0"/>
                    </a:lnTo>
                    <a:close/>
                  </a:path>
                </a:pathLst>
              </a:custGeom>
              <a:solidFill>
                <a:schemeClr val="accent1">
                  <a:lumMod val="40000"/>
                  <a:lumOff val="60000"/>
                </a:scheme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643" name="Graphic 392">
                <a:extLst>
                  <a:ext uri="{FF2B5EF4-FFF2-40B4-BE49-F238E27FC236}">
                    <a16:creationId xmlns:a16="http://schemas.microsoft.com/office/drawing/2014/main" id="{51D523DE-56D9-A96F-693A-E6B54F3F3B0C}"/>
                  </a:ext>
                </a:extLst>
              </p:cNvPr>
              <p:cNvGrpSpPr/>
              <p:nvPr/>
            </p:nvGrpSpPr>
            <p:grpSpPr>
              <a:xfrm>
                <a:off x="-1955649" y="1241113"/>
                <a:ext cx="1106546" cy="2320650"/>
                <a:chOff x="-1955649" y="1241113"/>
                <a:chExt cx="1106546" cy="2320650"/>
              </a:xfrm>
            </p:grpSpPr>
            <p:sp>
              <p:nvSpPr>
                <p:cNvPr id="1644" name="Freeform: Shape 1643">
                  <a:extLst>
                    <a:ext uri="{FF2B5EF4-FFF2-40B4-BE49-F238E27FC236}">
                      <a16:creationId xmlns:a16="http://schemas.microsoft.com/office/drawing/2014/main" id="{AC6E4DFD-70D4-07C1-E251-0B2C25F522CD}"/>
                    </a:ext>
                  </a:extLst>
                </p:cNvPr>
                <p:cNvSpPr/>
                <p:nvPr/>
              </p:nvSpPr>
              <p:spPr>
                <a:xfrm>
                  <a:off x="-1357627" y="2202643"/>
                  <a:ext cx="272198" cy="1331688"/>
                </a:xfrm>
                <a:custGeom>
                  <a:avLst/>
                  <a:gdLst>
                    <a:gd name="connsiteX0" fmla="*/ 18991 w 272198"/>
                    <a:gd name="connsiteY0" fmla="*/ 705001 h 1331688"/>
                    <a:gd name="connsiteX1" fmla="*/ 0 w 272198"/>
                    <a:gd name="connsiteY1" fmla="*/ 377941 h 1331688"/>
                    <a:gd name="connsiteX2" fmla="*/ 272198 w 272198"/>
                    <a:gd name="connsiteY2" fmla="*/ 17120 h 1331688"/>
                    <a:gd name="connsiteX3" fmla="*/ 109724 w 272198"/>
                    <a:gd name="connsiteY3" fmla="*/ 614268 h 1331688"/>
                    <a:gd name="connsiteX4" fmla="*/ 118164 w 272198"/>
                    <a:gd name="connsiteY4" fmla="*/ 913897 h 1331688"/>
                    <a:gd name="connsiteX5" fmla="*/ 78073 w 272198"/>
                    <a:gd name="connsiteY5" fmla="*/ 1268387 h 1331688"/>
                    <a:gd name="connsiteX6" fmla="*/ 31651 w 272198"/>
                    <a:gd name="connsiteY6" fmla="*/ 1331689 h 1331688"/>
                    <a:gd name="connsiteX7" fmla="*/ 4220 w 272198"/>
                    <a:gd name="connsiteY7" fmla="*/ 1245177 h 1331688"/>
                    <a:gd name="connsiteX8" fmla="*/ 18991 w 272198"/>
                    <a:gd name="connsiteY8" fmla="*/ 705001 h 133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198" h="1331688">
                      <a:moveTo>
                        <a:pt x="18991" y="705001"/>
                      </a:moveTo>
                      <a:cubicBezTo>
                        <a:pt x="16881" y="622708"/>
                        <a:pt x="0" y="377941"/>
                        <a:pt x="0" y="377941"/>
                      </a:cubicBezTo>
                      <a:cubicBezTo>
                        <a:pt x="0" y="377941"/>
                        <a:pt x="225777" y="-94713"/>
                        <a:pt x="272198" y="17120"/>
                      </a:cubicBezTo>
                      <a:cubicBezTo>
                        <a:pt x="272198" y="17120"/>
                        <a:pt x="113944" y="567847"/>
                        <a:pt x="109724" y="614268"/>
                      </a:cubicBezTo>
                      <a:cubicBezTo>
                        <a:pt x="105503" y="660689"/>
                        <a:pt x="143484" y="751422"/>
                        <a:pt x="118164" y="913897"/>
                      </a:cubicBezTo>
                      <a:cubicBezTo>
                        <a:pt x="105503" y="994079"/>
                        <a:pt x="78073" y="1268387"/>
                        <a:pt x="78073" y="1268387"/>
                      </a:cubicBezTo>
                      <a:lnTo>
                        <a:pt x="31651" y="1331689"/>
                      </a:lnTo>
                      <a:lnTo>
                        <a:pt x="4220" y="1245177"/>
                      </a:lnTo>
                      <a:cubicBezTo>
                        <a:pt x="8440" y="1245177"/>
                        <a:pt x="21101" y="761972"/>
                        <a:pt x="18991" y="705001"/>
                      </a:cubicBezTo>
                      <a:close/>
                    </a:path>
                  </a:pathLst>
                </a:custGeom>
                <a:solidFill>
                  <a:srgbClr val="E2857E"/>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45" name="Freeform: Shape 1644">
                  <a:extLst>
                    <a:ext uri="{FF2B5EF4-FFF2-40B4-BE49-F238E27FC236}">
                      <a16:creationId xmlns:a16="http://schemas.microsoft.com/office/drawing/2014/main" id="{0273FBFC-678C-5D48-85C2-BE37365EF51F}"/>
                    </a:ext>
                  </a:extLst>
                </p:cNvPr>
                <p:cNvSpPr/>
                <p:nvPr/>
              </p:nvSpPr>
              <p:spPr>
                <a:xfrm>
                  <a:off x="-1289614" y="1269987"/>
                  <a:ext cx="229564" cy="348409"/>
                </a:xfrm>
                <a:custGeom>
                  <a:avLst/>
                  <a:gdLst>
                    <a:gd name="connsiteX0" fmla="*/ 142993 w 229564"/>
                    <a:gd name="connsiteY0" fmla="*/ 4469 h 348409"/>
                    <a:gd name="connsiteX1" fmla="*/ 10059 w 229564"/>
                    <a:gd name="connsiteY1" fmla="*/ 84651 h 348409"/>
                    <a:gd name="connsiteX2" fmla="*/ 24830 w 229564"/>
                    <a:gd name="connsiteY2" fmla="*/ 255567 h 348409"/>
                    <a:gd name="connsiteX3" fmla="*/ 102902 w 229564"/>
                    <a:gd name="connsiteY3" fmla="*/ 255567 h 348409"/>
                    <a:gd name="connsiteX4" fmla="*/ 86021 w 229564"/>
                    <a:gd name="connsiteY4" fmla="*/ 348409 h 348409"/>
                    <a:gd name="connsiteX5" fmla="*/ 204185 w 229564"/>
                    <a:gd name="connsiteY5" fmla="*/ 323089 h 348409"/>
                    <a:gd name="connsiteX6" fmla="*/ 185194 w 229564"/>
                    <a:gd name="connsiteY6" fmla="*/ 223916 h 348409"/>
                    <a:gd name="connsiteX7" fmla="*/ 142993 w 229564"/>
                    <a:gd name="connsiteY7" fmla="*/ 4469 h 34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564" h="348409">
                      <a:moveTo>
                        <a:pt x="142993" y="4469"/>
                      </a:moveTo>
                      <a:cubicBezTo>
                        <a:pt x="94462" y="-8191"/>
                        <a:pt x="24830" y="2359"/>
                        <a:pt x="10059" y="84651"/>
                      </a:cubicBezTo>
                      <a:cubicBezTo>
                        <a:pt x="-491" y="143733"/>
                        <a:pt x="-11041" y="242906"/>
                        <a:pt x="24830" y="255567"/>
                      </a:cubicBezTo>
                      <a:cubicBezTo>
                        <a:pt x="41710" y="261897"/>
                        <a:pt x="102902" y="255567"/>
                        <a:pt x="102902" y="255567"/>
                      </a:cubicBezTo>
                      <a:lnTo>
                        <a:pt x="86021" y="348409"/>
                      </a:lnTo>
                      <a:lnTo>
                        <a:pt x="204185" y="323089"/>
                      </a:lnTo>
                      <a:lnTo>
                        <a:pt x="185194" y="223916"/>
                      </a:lnTo>
                      <a:cubicBezTo>
                        <a:pt x="187305" y="226026"/>
                        <a:pt x="307578" y="44560"/>
                        <a:pt x="142993" y="4469"/>
                      </a:cubicBezTo>
                      <a:close/>
                    </a:path>
                  </a:pathLst>
                </a:custGeom>
                <a:solidFill>
                  <a:srgbClr val="E2857E"/>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646" name="Graphic 392">
                  <a:extLst>
                    <a:ext uri="{FF2B5EF4-FFF2-40B4-BE49-F238E27FC236}">
                      <a16:creationId xmlns:a16="http://schemas.microsoft.com/office/drawing/2014/main" id="{C55F7417-EA03-A774-8FC6-D07B9961347F}"/>
                    </a:ext>
                  </a:extLst>
                </p:cNvPr>
                <p:cNvGrpSpPr/>
                <p:nvPr/>
              </p:nvGrpSpPr>
              <p:grpSpPr>
                <a:xfrm>
                  <a:off x="-1387421" y="1578609"/>
                  <a:ext cx="483888" cy="1907191"/>
                  <a:chOff x="-1387421" y="1578609"/>
                  <a:chExt cx="483888" cy="1907191"/>
                </a:xfrm>
              </p:grpSpPr>
              <p:sp>
                <p:nvSpPr>
                  <p:cNvPr id="1657" name="Freeform: Shape 1656">
                    <a:extLst>
                      <a:ext uri="{FF2B5EF4-FFF2-40B4-BE49-F238E27FC236}">
                        <a16:creationId xmlns:a16="http://schemas.microsoft.com/office/drawing/2014/main" id="{23B51DF7-4026-2378-A8A6-9DA9B451110F}"/>
                      </a:ext>
                    </a:extLst>
                  </p:cNvPr>
                  <p:cNvSpPr/>
                  <p:nvPr/>
                </p:nvSpPr>
                <p:spPr>
                  <a:xfrm>
                    <a:off x="-1138181" y="2319110"/>
                    <a:ext cx="202565" cy="1166691"/>
                  </a:xfrm>
                  <a:custGeom>
                    <a:avLst/>
                    <a:gdLst>
                      <a:gd name="connsiteX0" fmla="*/ 202566 w 202565"/>
                      <a:gd name="connsiteY0" fmla="*/ 67349 h 1166691"/>
                      <a:gd name="connsiteX1" fmla="*/ 164585 w 202565"/>
                      <a:gd name="connsiteY1" fmla="*/ 504132 h 1166691"/>
                      <a:gd name="connsiteX2" fmla="*/ 162475 w 202565"/>
                      <a:gd name="connsiteY2" fmla="*/ 1025317 h 1166691"/>
                      <a:gd name="connsiteX3" fmla="*/ 158255 w 202565"/>
                      <a:gd name="connsiteY3" fmla="*/ 1137150 h 1166691"/>
                      <a:gd name="connsiteX4" fmla="*/ 94953 w 202565"/>
                      <a:gd name="connsiteY4" fmla="*/ 1166691 h 1166691"/>
                      <a:gd name="connsiteX5" fmla="*/ 0 w 202565"/>
                      <a:gd name="connsiteY5" fmla="*/ 16707 h 1166691"/>
                      <a:gd name="connsiteX6" fmla="*/ 202566 w 202565"/>
                      <a:gd name="connsiteY6" fmla="*/ 67349 h 116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565" h="1166691">
                        <a:moveTo>
                          <a:pt x="202566" y="67349"/>
                        </a:moveTo>
                        <a:cubicBezTo>
                          <a:pt x="202566" y="67349"/>
                          <a:pt x="175135" y="257254"/>
                          <a:pt x="164585" y="504132"/>
                        </a:cubicBezTo>
                        <a:cubicBezTo>
                          <a:pt x="156145" y="719358"/>
                          <a:pt x="202566" y="721468"/>
                          <a:pt x="162475" y="1025317"/>
                        </a:cubicBezTo>
                        <a:lnTo>
                          <a:pt x="158255" y="1137150"/>
                        </a:lnTo>
                        <a:lnTo>
                          <a:pt x="94953" y="1166691"/>
                        </a:lnTo>
                        <a:cubicBezTo>
                          <a:pt x="94953" y="1166691"/>
                          <a:pt x="80182" y="824861"/>
                          <a:pt x="0" y="16707"/>
                        </a:cubicBezTo>
                        <a:cubicBezTo>
                          <a:pt x="2110" y="16707"/>
                          <a:pt x="158255" y="-44485"/>
                          <a:pt x="202566" y="67349"/>
                        </a:cubicBezTo>
                        <a:close/>
                      </a:path>
                    </a:pathLst>
                  </a:custGeom>
                  <a:solidFill>
                    <a:srgbClr val="E2857E"/>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58" name="Freeform: Shape 1657">
                    <a:extLst>
                      <a:ext uri="{FF2B5EF4-FFF2-40B4-BE49-F238E27FC236}">
                        <a16:creationId xmlns:a16="http://schemas.microsoft.com/office/drawing/2014/main" id="{C0329B12-D630-259C-AA2C-E09E7643FE59}"/>
                      </a:ext>
                    </a:extLst>
                  </p:cNvPr>
                  <p:cNvSpPr/>
                  <p:nvPr/>
                </p:nvSpPr>
                <p:spPr>
                  <a:xfrm>
                    <a:off x="-1387421" y="1578609"/>
                    <a:ext cx="483888" cy="1301604"/>
                  </a:xfrm>
                  <a:custGeom>
                    <a:avLst/>
                    <a:gdLst>
                      <a:gd name="connsiteX0" fmla="*/ 293552 w 483888"/>
                      <a:gd name="connsiteY0" fmla="*/ 1806 h 1301604"/>
                      <a:gd name="connsiteX1" fmla="*/ 415936 w 483888"/>
                      <a:gd name="connsiteY1" fmla="*/ 67218 h 1301604"/>
                      <a:gd name="connsiteX2" fmla="*/ 453917 w 483888"/>
                      <a:gd name="connsiteY2" fmla="*/ 577853 h 1301604"/>
                      <a:gd name="connsiteX3" fmla="*/ 483458 w 483888"/>
                      <a:gd name="connsiteY3" fmla="*/ 1297384 h 1301604"/>
                      <a:gd name="connsiteX4" fmla="*/ 253 w 483888"/>
                      <a:gd name="connsiteY4" fmla="*/ 1301604 h 1301604"/>
                      <a:gd name="connsiteX5" fmla="*/ 44565 w 483888"/>
                      <a:gd name="connsiteY5" fmla="*/ 609504 h 1301604"/>
                      <a:gd name="connsiteX6" fmla="*/ 82546 w 483888"/>
                      <a:gd name="connsiteY6" fmla="*/ 67218 h 1301604"/>
                      <a:gd name="connsiteX7" fmla="*/ 194379 w 483888"/>
                      <a:gd name="connsiteY7" fmla="*/ 3916 h 1301604"/>
                      <a:gd name="connsiteX8" fmla="*/ 293552 w 483888"/>
                      <a:gd name="connsiteY8" fmla="*/ 1806 h 1301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3888" h="1301604">
                        <a:moveTo>
                          <a:pt x="293552" y="1806"/>
                        </a:moveTo>
                        <a:cubicBezTo>
                          <a:pt x="344194" y="3916"/>
                          <a:pt x="399055" y="14466"/>
                          <a:pt x="415936" y="67218"/>
                        </a:cubicBezTo>
                        <a:cubicBezTo>
                          <a:pt x="426486" y="138960"/>
                          <a:pt x="409605" y="341526"/>
                          <a:pt x="453917" y="577853"/>
                        </a:cubicBezTo>
                        <a:cubicBezTo>
                          <a:pt x="489788" y="909132"/>
                          <a:pt x="483458" y="1297384"/>
                          <a:pt x="483458" y="1297384"/>
                        </a:cubicBezTo>
                        <a:lnTo>
                          <a:pt x="253" y="1301604"/>
                        </a:lnTo>
                        <a:cubicBezTo>
                          <a:pt x="253" y="1301604"/>
                          <a:pt x="-6077" y="938673"/>
                          <a:pt x="44565" y="609504"/>
                        </a:cubicBezTo>
                        <a:cubicBezTo>
                          <a:pt x="78325" y="387947"/>
                          <a:pt x="50895" y="168501"/>
                          <a:pt x="82546" y="67218"/>
                        </a:cubicBezTo>
                        <a:cubicBezTo>
                          <a:pt x="97316" y="20796"/>
                          <a:pt x="162728" y="10246"/>
                          <a:pt x="194379" y="3916"/>
                        </a:cubicBezTo>
                        <a:cubicBezTo>
                          <a:pt x="196489" y="1806"/>
                          <a:pt x="251351" y="-2414"/>
                          <a:pt x="293552" y="1806"/>
                        </a:cubicBezTo>
                        <a:close/>
                      </a:path>
                    </a:pathLst>
                  </a:custGeom>
                  <a:solidFill>
                    <a:schemeClr val="accent1">
                      <a:lumMod val="40000"/>
                      <a:lumOff val="60000"/>
                    </a:scheme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1647" name="Freeform: Shape 1646">
                  <a:extLst>
                    <a:ext uri="{FF2B5EF4-FFF2-40B4-BE49-F238E27FC236}">
                      <a16:creationId xmlns:a16="http://schemas.microsoft.com/office/drawing/2014/main" id="{5EDC5E2B-CEDB-FC1C-347E-C8DEB76DEA57}"/>
                    </a:ext>
                  </a:extLst>
                </p:cNvPr>
                <p:cNvSpPr/>
                <p:nvPr/>
              </p:nvSpPr>
              <p:spPr>
                <a:xfrm>
                  <a:off x="-1241574" y="1241113"/>
                  <a:ext cx="392471" cy="772008"/>
                </a:xfrm>
                <a:custGeom>
                  <a:avLst/>
                  <a:gdLst>
                    <a:gd name="connsiteX0" fmla="*/ 192016 w 392471"/>
                    <a:gd name="connsiteY0" fmla="*/ 27012 h 772008"/>
                    <a:gd name="connsiteX1" fmla="*/ 192016 w 392471"/>
                    <a:gd name="connsiteY1" fmla="*/ 27012 h 772008"/>
                    <a:gd name="connsiteX2" fmla="*/ 392472 w 392471"/>
                    <a:gd name="connsiteY2" fmla="*/ 771864 h 772008"/>
                    <a:gd name="connsiteX3" fmla="*/ 105503 w 392471"/>
                    <a:gd name="connsiteY3" fmla="*/ 208478 h 772008"/>
                    <a:gd name="connsiteX4" fmla="*/ 118164 w 392471"/>
                    <a:gd name="connsiteY4" fmla="*/ 153616 h 772008"/>
                    <a:gd name="connsiteX5" fmla="*/ 73852 w 392471"/>
                    <a:gd name="connsiteY5" fmla="*/ 151506 h 772008"/>
                    <a:gd name="connsiteX6" fmla="*/ 0 w 392471"/>
                    <a:gd name="connsiteY6" fmla="*/ 41783 h 772008"/>
                    <a:gd name="connsiteX7" fmla="*/ 192016 w 392471"/>
                    <a:gd name="connsiteY7" fmla="*/ 27012 h 772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471" h="772008">
                      <a:moveTo>
                        <a:pt x="192016" y="27012"/>
                      </a:moveTo>
                      <a:lnTo>
                        <a:pt x="192016" y="27012"/>
                      </a:lnTo>
                      <a:cubicBezTo>
                        <a:pt x="358711" y="151506"/>
                        <a:pt x="257428" y="689572"/>
                        <a:pt x="392472" y="771864"/>
                      </a:cubicBezTo>
                      <a:cubicBezTo>
                        <a:pt x="80182" y="782415"/>
                        <a:pt x="105503" y="208478"/>
                        <a:pt x="105503" y="208478"/>
                      </a:cubicBezTo>
                      <a:cubicBezTo>
                        <a:pt x="103393" y="200038"/>
                        <a:pt x="132934" y="178937"/>
                        <a:pt x="118164" y="153616"/>
                      </a:cubicBezTo>
                      <a:cubicBezTo>
                        <a:pt x="107613" y="132516"/>
                        <a:pt x="86513" y="126185"/>
                        <a:pt x="73852" y="151506"/>
                      </a:cubicBezTo>
                      <a:cubicBezTo>
                        <a:pt x="73852" y="151506"/>
                        <a:pt x="40091" y="48113"/>
                        <a:pt x="0" y="41783"/>
                      </a:cubicBezTo>
                      <a:cubicBezTo>
                        <a:pt x="27431" y="-8859"/>
                        <a:pt x="147704" y="-13079"/>
                        <a:pt x="192016" y="27012"/>
                      </a:cubicBezTo>
                      <a:close/>
                    </a:path>
                  </a:pathLst>
                </a:custGeom>
                <a:solidFill>
                  <a:schemeClr val="accent6">
                    <a:lumMod val="10000"/>
                  </a:scheme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nvGrpSpPr>
                <p:cNvPr id="1648" name="Graphic 392">
                  <a:extLst>
                    <a:ext uri="{FF2B5EF4-FFF2-40B4-BE49-F238E27FC236}">
                      <a16:creationId xmlns:a16="http://schemas.microsoft.com/office/drawing/2014/main" id="{68E94776-0ECC-D7AA-F68C-2B704AD43095}"/>
                    </a:ext>
                  </a:extLst>
                </p:cNvPr>
                <p:cNvGrpSpPr/>
                <p:nvPr/>
              </p:nvGrpSpPr>
              <p:grpSpPr>
                <a:xfrm>
                  <a:off x="-1512230" y="3433049"/>
                  <a:ext cx="552877" cy="128713"/>
                  <a:chOff x="-1512230" y="3433049"/>
                  <a:chExt cx="552877" cy="128713"/>
                </a:xfrm>
                <a:solidFill>
                  <a:srgbClr val="52081A"/>
                </a:solidFill>
              </p:grpSpPr>
              <p:sp>
                <p:nvSpPr>
                  <p:cNvPr id="1655" name="Freeform: Shape 1654">
                    <a:extLst>
                      <a:ext uri="{FF2B5EF4-FFF2-40B4-BE49-F238E27FC236}">
                        <a16:creationId xmlns:a16="http://schemas.microsoft.com/office/drawing/2014/main" id="{BDA95E67-886D-209C-1D44-A944943FCD53}"/>
                      </a:ext>
                    </a:extLst>
                  </p:cNvPr>
                  <p:cNvSpPr/>
                  <p:nvPr/>
                </p:nvSpPr>
                <p:spPr>
                  <a:xfrm>
                    <a:off x="-1512230" y="3443600"/>
                    <a:ext cx="254226" cy="118163"/>
                  </a:xfrm>
                  <a:custGeom>
                    <a:avLst/>
                    <a:gdLst>
                      <a:gd name="connsiteX0" fmla="*/ 241115 w 254226"/>
                      <a:gd name="connsiteY0" fmla="*/ 18991 h 118163"/>
                      <a:gd name="connsiteX1" fmla="*/ 251666 w 254226"/>
                      <a:gd name="connsiteY1" fmla="*/ 113944 h 118163"/>
                      <a:gd name="connsiteX2" fmla="*/ 2678 w 254226"/>
                      <a:gd name="connsiteY2" fmla="*/ 109724 h 118163"/>
                      <a:gd name="connsiteX3" fmla="*/ 6898 w 254226"/>
                      <a:gd name="connsiteY3" fmla="*/ 71742 h 118163"/>
                      <a:gd name="connsiteX4" fmla="*/ 158823 w 254226"/>
                      <a:gd name="connsiteY4" fmla="*/ 0 h 118163"/>
                      <a:gd name="connsiteX5" fmla="*/ 177813 w 254226"/>
                      <a:gd name="connsiteY5" fmla="*/ 21101 h 118163"/>
                      <a:gd name="connsiteX6" fmla="*/ 175703 w 254226"/>
                      <a:gd name="connsiteY6" fmla="*/ 25321 h 118163"/>
                      <a:gd name="connsiteX7" fmla="*/ 203134 w 254226"/>
                      <a:gd name="connsiteY7" fmla="*/ 37981 h 118163"/>
                      <a:gd name="connsiteX8" fmla="*/ 241115 w 254226"/>
                      <a:gd name="connsiteY8" fmla="*/ 18991 h 11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226" h="118163">
                        <a:moveTo>
                          <a:pt x="241115" y="18991"/>
                        </a:moveTo>
                        <a:cubicBezTo>
                          <a:pt x="245335" y="21101"/>
                          <a:pt x="260106" y="109724"/>
                          <a:pt x="251666" y="113944"/>
                        </a:cubicBezTo>
                        <a:cubicBezTo>
                          <a:pt x="243225" y="118164"/>
                          <a:pt x="15339" y="122384"/>
                          <a:pt x="2678" y="109724"/>
                        </a:cubicBezTo>
                        <a:cubicBezTo>
                          <a:pt x="-3652" y="103393"/>
                          <a:pt x="2678" y="73852"/>
                          <a:pt x="6898" y="71742"/>
                        </a:cubicBezTo>
                        <a:cubicBezTo>
                          <a:pt x="95521" y="46422"/>
                          <a:pt x="158823" y="0"/>
                          <a:pt x="158823" y="0"/>
                        </a:cubicBezTo>
                        <a:cubicBezTo>
                          <a:pt x="158823" y="0"/>
                          <a:pt x="182033" y="8440"/>
                          <a:pt x="177813" y="21101"/>
                        </a:cubicBezTo>
                        <a:lnTo>
                          <a:pt x="175703" y="25321"/>
                        </a:lnTo>
                        <a:cubicBezTo>
                          <a:pt x="175703" y="25321"/>
                          <a:pt x="190474" y="37981"/>
                          <a:pt x="203134" y="37981"/>
                        </a:cubicBezTo>
                        <a:cubicBezTo>
                          <a:pt x="217904" y="35871"/>
                          <a:pt x="228455" y="14771"/>
                          <a:pt x="241115" y="18991"/>
                        </a:cubicBezTo>
                        <a:close/>
                      </a:path>
                    </a:pathLst>
                  </a:custGeom>
                  <a:solidFill>
                    <a:srgbClr val="52081A"/>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56" name="Freeform: Shape 1655">
                    <a:extLst>
                      <a:ext uri="{FF2B5EF4-FFF2-40B4-BE49-F238E27FC236}">
                        <a16:creationId xmlns:a16="http://schemas.microsoft.com/office/drawing/2014/main" id="{2ADB836C-934A-76CE-C72C-77E22B683F19}"/>
                      </a:ext>
                    </a:extLst>
                  </p:cNvPr>
                  <p:cNvSpPr/>
                  <p:nvPr/>
                </p:nvSpPr>
                <p:spPr>
                  <a:xfrm>
                    <a:off x="-1059581" y="3433049"/>
                    <a:ext cx="100227" cy="128713"/>
                  </a:xfrm>
                  <a:custGeom>
                    <a:avLst/>
                    <a:gdLst>
                      <a:gd name="connsiteX0" fmla="*/ 98645 w 100227"/>
                      <a:gd name="connsiteY0" fmla="*/ 50642 h 128713"/>
                      <a:gd name="connsiteX1" fmla="*/ 88095 w 100227"/>
                      <a:gd name="connsiteY1" fmla="*/ 33761 h 128713"/>
                      <a:gd name="connsiteX2" fmla="*/ 77545 w 100227"/>
                      <a:gd name="connsiteY2" fmla="*/ 14771 h 128713"/>
                      <a:gd name="connsiteX3" fmla="*/ 50114 w 100227"/>
                      <a:gd name="connsiteY3" fmla="*/ 0 h 128713"/>
                      <a:gd name="connsiteX4" fmla="*/ 50114 w 100227"/>
                      <a:gd name="connsiteY4" fmla="*/ 0 h 128713"/>
                      <a:gd name="connsiteX5" fmla="*/ 50114 w 100227"/>
                      <a:gd name="connsiteY5" fmla="*/ 0 h 128713"/>
                      <a:gd name="connsiteX6" fmla="*/ 50114 w 100227"/>
                      <a:gd name="connsiteY6" fmla="*/ 0 h 128713"/>
                      <a:gd name="connsiteX7" fmla="*/ 50114 w 100227"/>
                      <a:gd name="connsiteY7" fmla="*/ 0 h 128713"/>
                      <a:gd name="connsiteX8" fmla="*/ 22683 w 100227"/>
                      <a:gd name="connsiteY8" fmla="*/ 14771 h 128713"/>
                      <a:gd name="connsiteX9" fmla="*/ 12133 w 100227"/>
                      <a:gd name="connsiteY9" fmla="*/ 33761 h 128713"/>
                      <a:gd name="connsiteX10" fmla="*/ 1583 w 100227"/>
                      <a:gd name="connsiteY10" fmla="*/ 50642 h 128713"/>
                      <a:gd name="connsiteX11" fmla="*/ 7913 w 100227"/>
                      <a:gd name="connsiteY11" fmla="*/ 128714 h 128713"/>
                      <a:gd name="connsiteX12" fmla="*/ 50114 w 100227"/>
                      <a:gd name="connsiteY12" fmla="*/ 128714 h 128713"/>
                      <a:gd name="connsiteX13" fmla="*/ 50114 w 100227"/>
                      <a:gd name="connsiteY13" fmla="*/ 128714 h 128713"/>
                      <a:gd name="connsiteX14" fmla="*/ 50114 w 100227"/>
                      <a:gd name="connsiteY14" fmla="*/ 128714 h 128713"/>
                      <a:gd name="connsiteX15" fmla="*/ 50114 w 100227"/>
                      <a:gd name="connsiteY15" fmla="*/ 128714 h 128713"/>
                      <a:gd name="connsiteX16" fmla="*/ 50114 w 100227"/>
                      <a:gd name="connsiteY16" fmla="*/ 128714 h 128713"/>
                      <a:gd name="connsiteX17" fmla="*/ 92315 w 100227"/>
                      <a:gd name="connsiteY17" fmla="*/ 128714 h 128713"/>
                      <a:gd name="connsiteX18" fmla="*/ 98645 w 100227"/>
                      <a:gd name="connsiteY18" fmla="*/ 50642 h 12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227" h="128713">
                        <a:moveTo>
                          <a:pt x="98645" y="50642"/>
                        </a:moveTo>
                        <a:cubicBezTo>
                          <a:pt x="98645" y="44311"/>
                          <a:pt x="92315" y="37981"/>
                          <a:pt x="88095" y="33761"/>
                        </a:cubicBezTo>
                        <a:cubicBezTo>
                          <a:pt x="83875" y="29541"/>
                          <a:pt x="81765" y="27431"/>
                          <a:pt x="77545" y="14771"/>
                        </a:cubicBezTo>
                        <a:cubicBezTo>
                          <a:pt x="73325" y="4220"/>
                          <a:pt x="58554" y="0"/>
                          <a:pt x="50114" y="0"/>
                        </a:cubicBezTo>
                        <a:lnTo>
                          <a:pt x="50114" y="0"/>
                        </a:lnTo>
                        <a:cubicBezTo>
                          <a:pt x="50114" y="0"/>
                          <a:pt x="50114" y="0"/>
                          <a:pt x="50114" y="0"/>
                        </a:cubicBezTo>
                        <a:cubicBezTo>
                          <a:pt x="50114" y="0"/>
                          <a:pt x="50114" y="0"/>
                          <a:pt x="50114" y="0"/>
                        </a:cubicBezTo>
                        <a:lnTo>
                          <a:pt x="50114" y="0"/>
                        </a:lnTo>
                        <a:cubicBezTo>
                          <a:pt x="41674" y="0"/>
                          <a:pt x="26903" y="4220"/>
                          <a:pt x="22683" y="14771"/>
                        </a:cubicBezTo>
                        <a:cubicBezTo>
                          <a:pt x="18463" y="27431"/>
                          <a:pt x="16353" y="29541"/>
                          <a:pt x="12133" y="33761"/>
                        </a:cubicBezTo>
                        <a:cubicBezTo>
                          <a:pt x="7913" y="37981"/>
                          <a:pt x="1583" y="44311"/>
                          <a:pt x="1583" y="50642"/>
                        </a:cubicBezTo>
                        <a:cubicBezTo>
                          <a:pt x="1583" y="56972"/>
                          <a:pt x="-4748" y="126604"/>
                          <a:pt x="7913" y="128714"/>
                        </a:cubicBezTo>
                        <a:cubicBezTo>
                          <a:pt x="14243" y="128714"/>
                          <a:pt x="31123" y="128714"/>
                          <a:pt x="50114" y="128714"/>
                        </a:cubicBezTo>
                        <a:lnTo>
                          <a:pt x="50114" y="128714"/>
                        </a:lnTo>
                        <a:cubicBezTo>
                          <a:pt x="50114" y="128714"/>
                          <a:pt x="50114" y="128714"/>
                          <a:pt x="50114" y="128714"/>
                        </a:cubicBezTo>
                        <a:cubicBezTo>
                          <a:pt x="50114" y="128714"/>
                          <a:pt x="50114" y="128714"/>
                          <a:pt x="50114" y="128714"/>
                        </a:cubicBezTo>
                        <a:lnTo>
                          <a:pt x="50114" y="128714"/>
                        </a:lnTo>
                        <a:cubicBezTo>
                          <a:pt x="66994" y="128714"/>
                          <a:pt x="85985" y="128714"/>
                          <a:pt x="92315" y="128714"/>
                        </a:cubicBezTo>
                        <a:cubicBezTo>
                          <a:pt x="104976" y="126604"/>
                          <a:pt x="98645" y="56972"/>
                          <a:pt x="98645" y="50642"/>
                        </a:cubicBezTo>
                        <a:close/>
                      </a:path>
                    </a:pathLst>
                  </a:custGeom>
                  <a:solidFill>
                    <a:srgbClr val="52081A"/>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649" name="Graphic 392">
                  <a:extLst>
                    <a:ext uri="{FF2B5EF4-FFF2-40B4-BE49-F238E27FC236}">
                      <a16:creationId xmlns:a16="http://schemas.microsoft.com/office/drawing/2014/main" id="{70A12F05-7FD4-7128-1BB8-E5736B3D7DED}"/>
                    </a:ext>
                  </a:extLst>
                </p:cNvPr>
                <p:cNvGrpSpPr/>
                <p:nvPr/>
              </p:nvGrpSpPr>
              <p:grpSpPr>
                <a:xfrm>
                  <a:off x="-1955649" y="1620506"/>
                  <a:ext cx="700563" cy="500216"/>
                  <a:chOff x="-1955649" y="1620506"/>
                  <a:chExt cx="700563" cy="500216"/>
                </a:xfrm>
              </p:grpSpPr>
              <p:grpSp>
                <p:nvGrpSpPr>
                  <p:cNvPr id="1650" name="Graphic 392">
                    <a:extLst>
                      <a:ext uri="{FF2B5EF4-FFF2-40B4-BE49-F238E27FC236}">
                        <a16:creationId xmlns:a16="http://schemas.microsoft.com/office/drawing/2014/main" id="{9D8D4747-6E06-F311-D128-28CA511480FC}"/>
                      </a:ext>
                    </a:extLst>
                  </p:cNvPr>
                  <p:cNvGrpSpPr/>
                  <p:nvPr/>
                </p:nvGrpSpPr>
                <p:grpSpPr>
                  <a:xfrm>
                    <a:off x="-1955649" y="1633890"/>
                    <a:ext cx="190779" cy="265143"/>
                    <a:chOff x="-1955649" y="1633890"/>
                    <a:chExt cx="190779" cy="265143"/>
                  </a:xfrm>
                </p:grpSpPr>
                <p:sp>
                  <p:nvSpPr>
                    <p:cNvPr id="1652" name="Freeform: Shape 1651">
                      <a:extLst>
                        <a:ext uri="{FF2B5EF4-FFF2-40B4-BE49-F238E27FC236}">
                          <a16:creationId xmlns:a16="http://schemas.microsoft.com/office/drawing/2014/main" id="{A428C682-A5C1-4ECC-D05A-1B502268D512}"/>
                        </a:ext>
                      </a:extLst>
                    </p:cNvPr>
                    <p:cNvSpPr/>
                    <p:nvPr/>
                  </p:nvSpPr>
                  <p:spPr>
                    <a:xfrm>
                      <a:off x="-1955649" y="1633890"/>
                      <a:ext cx="77710" cy="133083"/>
                    </a:xfrm>
                    <a:custGeom>
                      <a:avLst/>
                      <a:gdLst>
                        <a:gd name="connsiteX0" fmla="*/ 2984 w 77710"/>
                        <a:gd name="connsiteY0" fmla="*/ 1386 h 133083"/>
                        <a:gd name="connsiteX1" fmla="*/ 874 w 77710"/>
                        <a:gd name="connsiteY1" fmla="*/ 9826 h 133083"/>
                        <a:gd name="connsiteX2" fmla="*/ 66286 w 77710"/>
                        <a:gd name="connsiteY2" fmla="*/ 130100 h 133083"/>
                        <a:gd name="connsiteX3" fmla="*/ 74726 w 77710"/>
                        <a:gd name="connsiteY3" fmla="*/ 132210 h 133083"/>
                        <a:gd name="connsiteX4" fmla="*/ 74726 w 77710"/>
                        <a:gd name="connsiteY4" fmla="*/ 132210 h 133083"/>
                        <a:gd name="connsiteX5" fmla="*/ 76836 w 77710"/>
                        <a:gd name="connsiteY5" fmla="*/ 123770 h 133083"/>
                        <a:gd name="connsiteX6" fmla="*/ 11424 w 77710"/>
                        <a:gd name="connsiteY6" fmla="*/ 3496 h 133083"/>
                        <a:gd name="connsiteX7" fmla="*/ 2984 w 77710"/>
                        <a:gd name="connsiteY7" fmla="*/ 1386 h 133083"/>
                        <a:gd name="connsiteX8" fmla="*/ 2984 w 77710"/>
                        <a:gd name="connsiteY8" fmla="*/ 1386 h 1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710" h="133083">
                          <a:moveTo>
                            <a:pt x="2984" y="1386"/>
                          </a:moveTo>
                          <a:cubicBezTo>
                            <a:pt x="874" y="3496"/>
                            <a:pt x="-1236" y="7716"/>
                            <a:pt x="874" y="9826"/>
                          </a:cubicBezTo>
                          <a:lnTo>
                            <a:pt x="66286" y="130100"/>
                          </a:lnTo>
                          <a:cubicBezTo>
                            <a:pt x="68396" y="132210"/>
                            <a:pt x="72616" y="134320"/>
                            <a:pt x="74726" y="132210"/>
                          </a:cubicBezTo>
                          <a:lnTo>
                            <a:pt x="74726" y="132210"/>
                          </a:lnTo>
                          <a:cubicBezTo>
                            <a:pt x="76836" y="130100"/>
                            <a:pt x="78946" y="125880"/>
                            <a:pt x="76836" y="123770"/>
                          </a:cubicBezTo>
                          <a:lnTo>
                            <a:pt x="11424" y="3496"/>
                          </a:lnTo>
                          <a:cubicBezTo>
                            <a:pt x="9314" y="-724"/>
                            <a:pt x="5094" y="-724"/>
                            <a:pt x="2984" y="1386"/>
                          </a:cubicBezTo>
                          <a:lnTo>
                            <a:pt x="2984" y="1386"/>
                          </a:lnTo>
                          <a:close/>
                        </a:path>
                      </a:pathLst>
                    </a:custGeom>
                    <a:solidFill>
                      <a:srgbClr val="FFFFFF"/>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53" name="Freeform: Shape 1652">
                      <a:extLst>
                        <a:ext uri="{FF2B5EF4-FFF2-40B4-BE49-F238E27FC236}">
                          <a16:creationId xmlns:a16="http://schemas.microsoft.com/office/drawing/2014/main" id="{51EBB9F6-7816-C2E5-4F8D-D77EDFE41BF6}"/>
                        </a:ext>
                      </a:extLst>
                    </p:cNvPr>
                    <p:cNvSpPr/>
                    <p:nvPr/>
                  </p:nvSpPr>
                  <p:spPr>
                    <a:xfrm>
                      <a:off x="-1916135" y="1671148"/>
                      <a:ext cx="83742" cy="94952"/>
                    </a:xfrm>
                    <a:custGeom>
                      <a:avLst/>
                      <a:gdLst>
                        <a:gd name="connsiteX0" fmla="*/ 83743 w 83742"/>
                        <a:gd name="connsiteY0" fmla="*/ 94953 h 94952"/>
                        <a:gd name="connsiteX1" fmla="*/ 58422 w 83742"/>
                        <a:gd name="connsiteY1" fmla="*/ 44311 h 94952"/>
                        <a:gd name="connsiteX2" fmla="*/ 28882 w 83742"/>
                        <a:gd name="connsiteY2" fmla="*/ 18991 h 94952"/>
                        <a:gd name="connsiteX3" fmla="*/ 3561 w 83742"/>
                        <a:gd name="connsiteY3" fmla="*/ 0 h 94952"/>
                        <a:gd name="connsiteX4" fmla="*/ 1451 w 83742"/>
                        <a:gd name="connsiteY4" fmla="*/ 16880 h 94952"/>
                        <a:gd name="connsiteX5" fmla="*/ 18331 w 83742"/>
                        <a:gd name="connsiteY5" fmla="*/ 33761 h 94952"/>
                        <a:gd name="connsiteX6" fmla="*/ 47872 w 83742"/>
                        <a:gd name="connsiteY6" fmla="*/ 86513 h 94952"/>
                        <a:gd name="connsiteX7" fmla="*/ 83743 w 83742"/>
                        <a:gd name="connsiteY7" fmla="*/ 94953 h 9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42" h="94952">
                          <a:moveTo>
                            <a:pt x="83743" y="94953"/>
                          </a:moveTo>
                          <a:cubicBezTo>
                            <a:pt x="83743" y="94953"/>
                            <a:pt x="60532" y="46421"/>
                            <a:pt x="58422" y="44311"/>
                          </a:cubicBezTo>
                          <a:cubicBezTo>
                            <a:pt x="56312" y="42201"/>
                            <a:pt x="28882" y="18991"/>
                            <a:pt x="28882" y="18991"/>
                          </a:cubicBezTo>
                          <a:cubicBezTo>
                            <a:pt x="28882" y="18991"/>
                            <a:pt x="3561" y="0"/>
                            <a:pt x="3561" y="0"/>
                          </a:cubicBezTo>
                          <a:cubicBezTo>
                            <a:pt x="3561" y="0"/>
                            <a:pt x="-2769" y="8440"/>
                            <a:pt x="1451" y="16880"/>
                          </a:cubicBezTo>
                          <a:cubicBezTo>
                            <a:pt x="5671" y="25321"/>
                            <a:pt x="18331" y="33761"/>
                            <a:pt x="18331" y="33761"/>
                          </a:cubicBezTo>
                          <a:lnTo>
                            <a:pt x="47872" y="86513"/>
                          </a:lnTo>
                          <a:lnTo>
                            <a:pt x="83743" y="94953"/>
                          </a:lnTo>
                          <a:close/>
                        </a:path>
                      </a:pathLst>
                    </a:custGeom>
                    <a:solidFill>
                      <a:srgbClr val="D17C79"/>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54" name="Freeform: Shape 1653">
                      <a:extLst>
                        <a:ext uri="{FF2B5EF4-FFF2-40B4-BE49-F238E27FC236}">
                          <a16:creationId xmlns:a16="http://schemas.microsoft.com/office/drawing/2014/main" id="{1FB7CB74-D101-B58A-516F-41B2736BBDB4}"/>
                        </a:ext>
                      </a:extLst>
                    </p:cNvPr>
                    <p:cNvSpPr/>
                    <p:nvPr/>
                  </p:nvSpPr>
                  <p:spPr>
                    <a:xfrm>
                      <a:off x="-1944241" y="1687598"/>
                      <a:ext cx="179371" cy="211436"/>
                    </a:xfrm>
                    <a:custGeom>
                      <a:avLst/>
                      <a:gdLst>
                        <a:gd name="connsiteX0" fmla="*/ 126620 w 179371"/>
                        <a:gd name="connsiteY0" fmla="*/ 97493 h 211436"/>
                        <a:gd name="connsiteX1" fmla="*/ 86529 w 179371"/>
                        <a:gd name="connsiteY1" fmla="*/ 42631 h 211436"/>
                        <a:gd name="connsiteX2" fmla="*/ 19007 w 179371"/>
                        <a:gd name="connsiteY2" fmla="*/ 2540 h 211436"/>
                        <a:gd name="connsiteX3" fmla="*/ 2126 w 179371"/>
                        <a:gd name="connsiteY3" fmla="*/ 15200 h 211436"/>
                        <a:gd name="connsiteX4" fmla="*/ 16897 w 179371"/>
                        <a:gd name="connsiteY4" fmla="*/ 27861 h 211436"/>
                        <a:gd name="connsiteX5" fmla="*/ 16897 w 179371"/>
                        <a:gd name="connsiteY5" fmla="*/ 48961 h 211436"/>
                        <a:gd name="connsiteX6" fmla="*/ 10567 w 179371"/>
                        <a:gd name="connsiteY6" fmla="*/ 72172 h 211436"/>
                        <a:gd name="connsiteX7" fmla="*/ 6347 w 179371"/>
                        <a:gd name="connsiteY7" fmla="*/ 86943 h 211436"/>
                        <a:gd name="connsiteX8" fmla="*/ 19007 w 179371"/>
                        <a:gd name="connsiteY8" fmla="*/ 108043 h 211436"/>
                        <a:gd name="connsiteX9" fmla="*/ 84419 w 179371"/>
                        <a:gd name="connsiteY9" fmla="*/ 158685 h 211436"/>
                        <a:gd name="connsiteX10" fmla="*/ 141391 w 179371"/>
                        <a:gd name="connsiteY10" fmla="*/ 211436 h 211436"/>
                        <a:gd name="connsiteX11" fmla="*/ 179372 w 179371"/>
                        <a:gd name="connsiteY11" fmla="*/ 154465 h 211436"/>
                        <a:gd name="connsiteX12" fmla="*/ 126620 w 179371"/>
                        <a:gd name="connsiteY12" fmla="*/ 97493 h 21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371" h="211436">
                          <a:moveTo>
                            <a:pt x="126620" y="97493"/>
                          </a:moveTo>
                          <a:cubicBezTo>
                            <a:pt x="126620" y="97493"/>
                            <a:pt x="90749" y="46851"/>
                            <a:pt x="86529" y="42631"/>
                          </a:cubicBezTo>
                          <a:cubicBezTo>
                            <a:pt x="82309" y="38411"/>
                            <a:pt x="23227" y="2540"/>
                            <a:pt x="19007" y="2540"/>
                          </a:cubicBezTo>
                          <a:cubicBezTo>
                            <a:pt x="4237" y="-5900"/>
                            <a:pt x="-4204" y="8870"/>
                            <a:pt x="2126" y="15200"/>
                          </a:cubicBezTo>
                          <a:cubicBezTo>
                            <a:pt x="6347" y="21531"/>
                            <a:pt x="16897" y="27861"/>
                            <a:pt x="16897" y="27861"/>
                          </a:cubicBezTo>
                          <a:cubicBezTo>
                            <a:pt x="16897" y="27861"/>
                            <a:pt x="2126" y="38411"/>
                            <a:pt x="16897" y="48961"/>
                          </a:cubicBezTo>
                          <a:cubicBezTo>
                            <a:pt x="-2094" y="57402"/>
                            <a:pt x="10567" y="72172"/>
                            <a:pt x="10567" y="72172"/>
                          </a:cubicBezTo>
                          <a:cubicBezTo>
                            <a:pt x="10567" y="72172"/>
                            <a:pt x="6347" y="82722"/>
                            <a:pt x="6347" y="86943"/>
                          </a:cubicBezTo>
                          <a:cubicBezTo>
                            <a:pt x="6347" y="91163"/>
                            <a:pt x="14787" y="103823"/>
                            <a:pt x="19007" y="108043"/>
                          </a:cubicBezTo>
                          <a:cubicBezTo>
                            <a:pt x="23227" y="112263"/>
                            <a:pt x="84419" y="158685"/>
                            <a:pt x="84419" y="158685"/>
                          </a:cubicBezTo>
                          <a:lnTo>
                            <a:pt x="141391" y="211436"/>
                          </a:lnTo>
                          <a:lnTo>
                            <a:pt x="179372" y="154465"/>
                          </a:lnTo>
                          <a:lnTo>
                            <a:pt x="126620" y="97493"/>
                          </a:lnTo>
                          <a:close/>
                        </a:path>
                      </a:pathLst>
                    </a:custGeom>
                    <a:solidFill>
                      <a:srgbClr val="E2857E"/>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1651" name="Freeform: Shape 1650">
                    <a:extLst>
                      <a:ext uri="{FF2B5EF4-FFF2-40B4-BE49-F238E27FC236}">
                        <a16:creationId xmlns:a16="http://schemas.microsoft.com/office/drawing/2014/main" id="{9D487CB4-8BB3-30C8-4AAF-A37798FF29FF}"/>
                      </a:ext>
                    </a:extLst>
                  </p:cNvPr>
                  <p:cNvSpPr/>
                  <p:nvPr/>
                </p:nvSpPr>
                <p:spPr>
                  <a:xfrm>
                    <a:off x="-1840832" y="1620506"/>
                    <a:ext cx="585745" cy="500216"/>
                  </a:xfrm>
                  <a:custGeom>
                    <a:avLst/>
                    <a:gdLst>
                      <a:gd name="connsiteX0" fmla="*/ 548616 w 585745"/>
                      <a:gd name="connsiteY0" fmla="*/ 0 h 500216"/>
                      <a:gd name="connsiteX1" fmla="*/ 337610 w 585745"/>
                      <a:gd name="connsiteY1" fmla="*/ 308069 h 500216"/>
                      <a:gd name="connsiteX2" fmla="*/ 63302 w 585745"/>
                      <a:gd name="connsiteY2" fmla="*/ 196236 h 500216"/>
                      <a:gd name="connsiteX3" fmla="*/ 0 w 585745"/>
                      <a:gd name="connsiteY3" fmla="*/ 255318 h 500216"/>
                      <a:gd name="connsiteX4" fmla="*/ 365041 w 585745"/>
                      <a:gd name="connsiteY4" fmla="*/ 497975 h 500216"/>
                      <a:gd name="connsiteX5" fmla="*/ 550727 w 585745"/>
                      <a:gd name="connsiteY5" fmla="*/ 354490 h 500216"/>
                      <a:gd name="connsiteX6" fmla="*/ 548616 w 585745"/>
                      <a:gd name="connsiteY6" fmla="*/ 0 h 50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745" h="500216">
                        <a:moveTo>
                          <a:pt x="548616" y="0"/>
                        </a:moveTo>
                        <a:cubicBezTo>
                          <a:pt x="441003" y="116053"/>
                          <a:pt x="400912" y="202566"/>
                          <a:pt x="337610" y="308069"/>
                        </a:cubicBezTo>
                        <a:lnTo>
                          <a:pt x="63302" y="196236"/>
                        </a:lnTo>
                        <a:lnTo>
                          <a:pt x="0" y="255318"/>
                        </a:lnTo>
                        <a:cubicBezTo>
                          <a:pt x="0" y="255318"/>
                          <a:pt x="280638" y="527516"/>
                          <a:pt x="365041" y="497975"/>
                        </a:cubicBezTo>
                        <a:cubicBezTo>
                          <a:pt x="449444" y="468434"/>
                          <a:pt x="550727" y="354490"/>
                          <a:pt x="550727" y="354490"/>
                        </a:cubicBezTo>
                        <a:cubicBezTo>
                          <a:pt x="550727" y="354490"/>
                          <a:pt x="630909" y="29541"/>
                          <a:pt x="548616" y="0"/>
                        </a:cubicBezTo>
                        <a:close/>
                      </a:path>
                    </a:pathLst>
                  </a:custGeom>
                  <a:solidFill>
                    <a:schemeClr val="accent1">
                      <a:lumMod val="40000"/>
                      <a:lumOff val="60000"/>
                    </a:scheme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grpSp>
          <p:nvGrpSpPr>
            <p:cNvPr id="1631" name="Graphic 392">
              <a:extLst>
                <a:ext uri="{FF2B5EF4-FFF2-40B4-BE49-F238E27FC236}">
                  <a16:creationId xmlns:a16="http://schemas.microsoft.com/office/drawing/2014/main" id="{A55505E8-989E-9106-2590-0E6CA4021E2A}"/>
                </a:ext>
              </a:extLst>
            </p:cNvPr>
            <p:cNvGrpSpPr/>
            <p:nvPr/>
          </p:nvGrpSpPr>
          <p:grpSpPr>
            <a:xfrm>
              <a:off x="-3201822" y="1168953"/>
              <a:ext cx="576047" cy="884116"/>
              <a:chOff x="-3201822" y="1168953"/>
              <a:chExt cx="576047" cy="884116"/>
            </a:xfrm>
          </p:grpSpPr>
          <p:grpSp>
            <p:nvGrpSpPr>
              <p:cNvPr id="1632" name="Graphic 392">
                <a:extLst>
                  <a:ext uri="{FF2B5EF4-FFF2-40B4-BE49-F238E27FC236}">
                    <a16:creationId xmlns:a16="http://schemas.microsoft.com/office/drawing/2014/main" id="{4A338E1E-022E-3235-3B29-8412C10CB01D}"/>
                  </a:ext>
                </a:extLst>
              </p:cNvPr>
              <p:cNvGrpSpPr/>
              <p:nvPr/>
            </p:nvGrpSpPr>
            <p:grpSpPr>
              <a:xfrm>
                <a:off x="-3201822" y="1168953"/>
                <a:ext cx="550726" cy="550726"/>
                <a:chOff x="-3201822" y="1168953"/>
                <a:chExt cx="550726" cy="550726"/>
              </a:xfrm>
            </p:grpSpPr>
            <p:sp>
              <p:nvSpPr>
                <p:cNvPr id="1639" name="Freeform: Shape 1638">
                  <a:extLst>
                    <a:ext uri="{FF2B5EF4-FFF2-40B4-BE49-F238E27FC236}">
                      <a16:creationId xmlns:a16="http://schemas.microsoft.com/office/drawing/2014/main" id="{D5B86FCA-7148-0D82-0486-0070E75CB0E2}"/>
                    </a:ext>
                  </a:extLst>
                </p:cNvPr>
                <p:cNvSpPr/>
                <p:nvPr/>
              </p:nvSpPr>
              <p:spPr>
                <a:xfrm>
                  <a:off x="-3201822" y="1171063"/>
                  <a:ext cx="274308" cy="548616"/>
                </a:xfrm>
                <a:custGeom>
                  <a:avLst/>
                  <a:gdLst>
                    <a:gd name="connsiteX0" fmla="*/ 196236 w 274308"/>
                    <a:gd name="connsiteY0" fmla="*/ 274308 h 548616"/>
                    <a:gd name="connsiteX1" fmla="*/ 274308 w 274308"/>
                    <a:gd name="connsiteY1" fmla="*/ 196236 h 548616"/>
                    <a:gd name="connsiteX2" fmla="*/ 274308 w 274308"/>
                    <a:gd name="connsiteY2" fmla="*/ 0 h 548616"/>
                    <a:gd name="connsiteX3" fmla="*/ 0 w 274308"/>
                    <a:gd name="connsiteY3" fmla="*/ 274308 h 548616"/>
                    <a:gd name="connsiteX4" fmla="*/ 274308 w 274308"/>
                    <a:gd name="connsiteY4" fmla="*/ 548616 h 548616"/>
                    <a:gd name="connsiteX5" fmla="*/ 274308 w 274308"/>
                    <a:gd name="connsiteY5" fmla="*/ 352380 h 548616"/>
                    <a:gd name="connsiteX6" fmla="*/ 196236 w 274308"/>
                    <a:gd name="connsiteY6" fmla="*/ 274308 h 54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308" h="548616">
                      <a:moveTo>
                        <a:pt x="196236" y="274308"/>
                      </a:moveTo>
                      <a:cubicBezTo>
                        <a:pt x="196236" y="229997"/>
                        <a:pt x="232107" y="196236"/>
                        <a:pt x="274308" y="196236"/>
                      </a:cubicBezTo>
                      <a:lnTo>
                        <a:pt x="274308" y="0"/>
                      </a:lnTo>
                      <a:cubicBezTo>
                        <a:pt x="122384" y="0"/>
                        <a:pt x="0" y="122384"/>
                        <a:pt x="0" y="274308"/>
                      </a:cubicBezTo>
                      <a:cubicBezTo>
                        <a:pt x="0" y="426233"/>
                        <a:pt x="122384" y="548616"/>
                        <a:pt x="274308" y="548616"/>
                      </a:cubicBezTo>
                      <a:lnTo>
                        <a:pt x="274308" y="352380"/>
                      </a:lnTo>
                      <a:cubicBezTo>
                        <a:pt x="232107" y="352380"/>
                        <a:pt x="196236" y="316509"/>
                        <a:pt x="196236" y="274308"/>
                      </a:cubicBezTo>
                      <a:close/>
                    </a:path>
                  </a:pathLst>
                </a:custGeom>
                <a:solidFill>
                  <a:srgbClr val="81B6DA"/>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40" name="Freeform: Shape 1639">
                  <a:extLst>
                    <a:ext uri="{FF2B5EF4-FFF2-40B4-BE49-F238E27FC236}">
                      <a16:creationId xmlns:a16="http://schemas.microsoft.com/office/drawing/2014/main" id="{F604C4C0-F1F5-5FBB-0101-76702669F521}"/>
                    </a:ext>
                  </a:extLst>
                </p:cNvPr>
                <p:cNvSpPr/>
                <p:nvPr/>
              </p:nvSpPr>
              <p:spPr>
                <a:xfrm>
                  <a:off x="-2925404" y="1168953"/>
                  <a:ext cx="234216" cy="234216"/>
                </a:xfrm>
                <a:custGeom>
                  <a:avLst/>
                  <a:gdLst>
                    <a:gd name="connsiteX0" fmla="*/ 67522 w 234216"/>
                    <a:gd name="connsiteY0" fmla="*/ 234217 h 234216"/>
                    <a:gd name="connsiteX1" fmla="*/ 234217 w 234216"/>
                    <a:gd name="connsiteY1" fmla="*/ 130824 h 234216"/>
                    <a:gd name="connsiteX2" fmla="*/ 0 w 234216"/>
                    <a:gd name="connsiteY2" fmla="*/ 0 h 234216"/>
                    <a:gd name="connsiteX3" fmla="*/ 0 w 234216"/>
                    <a:gd name="connsiteY3" fmla="*/ 196236 h 234216"/>
                    <a:gd name="connsiteX4" fmla="*/ 67522 w 234216"/>
                    <a:gd name="connsiteY4" fmla="*/ 234217 h 234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216" h="234216">
                      <a:moveTo>
                        <a:pt x="67522" y="234217"/>
                      </a:moveTo>
                      <a:lnTo>
                        <a:pt x="234217" y="130824"/>
                      </a:lnTo>
                      <a:cubicBezTo>
                        <a:pt x="185686" y="52752"/>
                        <a:pt x="99173" y="0"/>
                        <a:pt x="0" y="0"/>
                      </a:cubicBezTo>
                      <a:lnTo>
                        <a:pt x="0" y="196236"/>
                      </a:lnTo>
                      <a:cubicBezTo>
                        <a:pt x="27431" y="196236"/>
                        <a:pt x="52752" y="211006"/>
                        <a:pt x="67522" y="234217"/>
                      </a:cubicBezTo>
                      <a:close/>
                    </a:path>
                  </a:pathLst>
                </a:custGeom>
                <a:solidFill>
                  <a:srgbClr val="D5E7F3"/>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41" name="Freeform: Shape 1640">
                  <a:extLst>
                    <a:ext uri="{FF2B5EF4-FFF2-40B4-BE49-F238E27FC236}">
                      <a16:creationId xmlns:a16="http://schemas.microsoft.com/office/drawing/2014/main" id="{99F39365-AFB3-02AE-33A4-3C15132CEF34}"/>
                    </a:ext>
                  </a:extLst>
                </p:cNvPr>
                <p:cNvSpPr/>
                <p:nvPr/>
              </p:nvSpPr>
              <p:spPr>
                <a:xfrm>
                  <a:off x="-2925404" y="1301887"/>
                  <a:ext cx="274308" cy="417792"/>
                </a:xfrm>
                <a:custGeom>
                  <a:avLst/>
                  <a:gdLst>
                    <a:gd name="connsiteX0" fmla="*/ 274308 w 274308"/>
                    <a:gd name="connsiteY0" fmla="*/ 143484 h 417792"/>
                    <a:gd name="connsiteX1" fmla="*/ 234217 w 274308"/>
                    <a:gd name="connsiteY1" fmla="*/ 0 h 417792"/>
                    <a:gd name="connsiteX2" fmla="*/ 67522 w 274308"/>
                    <a:gd name="connsiteY2" fmla="*/ 103393 h 417792"/>
                    <a:gd name="connsiteX3" fmla="*/ 78072 w 274308"/>
                    <a:gd name="connsiteY3" fmla="*/ 143484 h 417792"/>
                    <a:gd name="connsiteX4" fmla="*/ 0 w 274308"/>
                    <a:gd name="connsiteY4" fmla="*/ 221557 h 417792"/>
                    <a:gd name="connsiteX5" fmla="*/ 0 w 274308"/>
                    <a:gd name="connsiteY5" fmla="*/ 417792 h 417792"/>
                    <a:gd name="connsiteX6" fmla="*/ 274308 w 274308"/>
                    <a:gd name="connsiteY6" fmla="*/ 143484 h 417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308" h="417792">
                      <a:moveTo>
                        <a:pt x="274308" y="143484"/>
                      </a:moveTo>
                      <a:cubicBezTo>
                        <a:pt x="274308" y="90733"/>
                        <a:pt x="259538" y="42201"/>
                        <a:pt x="234217" y="0"/>
                      </a:cubicBezTo>
                      <a:lnTo>
                        <a:pt x="67522" y="103393"/>
                      </a:lnTo>
                      <a:cubicBezTo>
                        <a:pt x="73852" y="116053"/>
                        <a:pt x="78072" y="128714"/>
                        <a:pt x="78072" y="143484"/>
                      </a:cubicBezTo>
                      <a:cubicBezTo>
                        <a:pt x="78072" y="187796"/>
                        <a:pt x="42201" y="221557"/>
                        <a:pt x="0" y="221557"/>
                      </a:cubicBezTo>
                      <a:lnTo>
                        <a:pt x="0" y="417792"/>
                      </a:lnTo>
                      <a:cubicBezTo>
                        <a:pt x="151925" y="417792"/>
                        <a:pt x="274308" y="295409"/>
                        <a:pt x="274308" y="143484"/>
                      </a:cubicBezTo>
                      <a:close/>
                    </a:path>
                  </a:pathLst>
                </a:custGeom>
                <a:solidFill>
                  <a:srgbClr val="ABCEE7"/>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nvGrpSpPr>
              <p:cNvPr id="1633" name="Graphic 392">
                <a:extLst>
                  <a:ext uri="{FF2B5EF4-FFF2-40B4-BE49-F238E27FC236}">
                    <a16:creationId xmlns:a16="http://schemas.microsoft.com/office/drawing/2014/main" id="{1E1894A0-989B-A743-D669-B9C974161FD7}"/>
                  </a:ext>
                </a:extLst>
              </p:cNvPr>
              <p:cNvGrpSpPr/>
              <p:nvPr/>
            </p:nvGrpSpPr>
            <p:grpSpPr>
              <a:xfrm>
                <a:off x="-3174391" y="1812522"/>
                <a:ext cx="548616" cy="240547"/>
                <a:chOff x="-3174391" y="1812522"/>
                <a:chExt cx="548616" cy="240547"/>
              </a:xfrm>
              <a:solidFill>
                <a:srgbClr val="FFFFFF">
                  <a:alpha val="97000"/>
                </a:srgbClr>
              </a:solidFill>
            </p:grpSpPr>
            <p:sp>
              <p:nvSpPr>
                <p:cNvPr id="1634" name="Freeform: Shape 1633">
                  <a:extLst>
                    <a:ext uri="{FF2B5EF4-FFF2-40B4-BE49-F238E27FC236}">
                      <a16:creationId xmlns:a16="http://schemas.microsoft.com/office/drawing/2014/main" id="{A922A3BE-AEF3-087A-9013-EFBDC0569225}"/>
                    </a:ext>
                  </a:extLst>
                </p:cNvPr>
                <p:cNvSpPr/>
                <p:nvPr/>
              </p:nvSpPr>
              <p:spPr>
                <a:xfrm>
                  <a:off x="-3111090" y="1812522"/>
                  <a:ext cx="485314" cy="29540"/>
                </a:xfrm>
                <a:custGeom>
                  <a:avLst/>
                  <a:gdLst>
                    <a:gd name="connsiteX0" fmla="*/ 470544 w 485314"/>
                    <a:gd name="connsiteY0" fmla="*/ 29541 h 29540"/>
                    <a:gd name="connsiteX1" fmla="*/ 14770 w 485314"/>
                    <a:gd name="connsiteY1" fmla="*/ 29541 h 29540"/>
                    <a:gd name="connsiteX2" fmla="*/ 0 w 485314"/>
                    <a:gd name="connsiteY2" fmla="*/ 14770 h 29540"/>
                    <a:gd name="connsiteX3" fmla="*/ 0 w 485314"/>
                    <a:gd name="connsiteY3" fmla="*/ 14770 h 29540"/>
                    <a:gd name="connsiteX4" fmla="*/ 14770 w 485314"/>
                    <a:gd name="connsiteY4" fmla="*/ 0 h 29540"/>
                    <a:gd name="connsiteX5" fmla="*/ 470544 w 485314"/>
                    <a:gd name="connsiteY5" fmla="*/ 0 h 29540"/>
                    <a:gd name="connsiteX6" fmla="*/ 485315 w 485314"/>
                    <a:gd name="connsiteY6" fmla="*/ 14770 h 29540"/>
                    <a:gd name="connsiteX7" fmla="*/ 485315 w 485314"/>
                    <a:gd name="connsiteY7" fmla="*/ 14770 h 29540"/>
                    <a:gd name="connsiteX8" fmla="*/ 470544 w 485314"/>
                    <a:gd name="connsiteY8" fmla="*/ 29541 h 2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5314" h="29540">
                      <a:moveTo>
                        <a:pt x="470544" y="29541"/>
                      </a:moveTo>
                      <a:lnTo>
                        <a:pt x="14770" y="29541"/>
                      </a:lnTo>
                      <a:cubicBezTo>
                        <a:pt x="6330" y="29541"/>
                        <a:pt x="0" y="23211"/>
                        <a:pt x="0" y="14770"/>
                      </a:cubicBezTo>
                      <a:lnTo>
                        <a:pt x="0" y="14770"/>
                      </a:lnTo>
                      <a:cubicBezTo>
                        <a:pt x="0" y="6330"/>
                        <a:pt x="6330" y="0"/>
                        <a:pt x="14770" y="0"/>
                      </a:cubicBezTo>
                      <a:lnTo>
                        <a:pt x="470544" y="0"/>
                      </a:lnTo>
                      <a:cubicBezTo>
                        <a:pt x="478984" y="0"/>
                        <a:pt x="485315" y="6330"/>
                        <a:pt x="485315" y="14770"/>
                      </a:cubicBezTo>
                      <a:lnTo>
                        <a:pt x="485315" y="14770"/>
                      </a:lnTo>
                      <a:cubicBezTo>
                        <a:pt x="483204" y="23211"/>
                        <a:pt x="476874" y="29541"/>
                        <a:pt x="470544" y="2954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35" name="Freeform: Shape 1634">
                  <a:extLst>
                    <a:ext uri="{FF2B5EF4-FFF2-40B4-BE49-F238E27FC236}">
                      <a16:creationId xmlns:a16="http://schemas.microsoft.com/office/drawing/2014/main" id="{CEF0ED47-E63F-EB32-F964-A05DC3F5B03C}"/>
                    </a:ext>
                  </a:extLst>
                </p:cNvPr>
                <p:cNvSpPr/>
                <p:nvPr/>
              </p:nvSpPr>
              <p:spPr>
                <a:xfrm>
                  <a:off x="-3174391" y="1865273"/>
                  <a:ext cx="548616" cy="29540"/>
                </a:xfrm>
                <a:custGeom>
                  <a:avLst/>
                  <a:gdLst>
                    <a:gd name="connsiteX0" fmla="*/ 533846 w 548616"/>
                    <a:gd name="connsiteY0" fmla="*/ 29541 h 29540"/>
                    <a:gd name="connsiteX1" fmla="*/ 14770 w 548616"/>
                    <a:gd name="connsiteY1" fmla="*/ 29541 h 29540"/>
                    <a:gd name="connsiteX2" fmla="*/ 0 w 548616"/>
                    <a:gd name="connsiteY2" fmla="*/ 14770 h 29540"/>
                    <a:gd name="connsiteX3" fmla="*/ 0 w 548616"/>
                    <a:gd name="connsiteY3" fmla="*/ 14770 h 29540"/>
                    <a:gd name="connsiteX4" fmla="*/ 14770 w 548616"/>
                    <a:gd name="connsiteY4" fmla="*/ 0 h 29540"/>
                    <a:gd name="connsiteX5" fmla="*/ 533846 w 548616"/>
                    <a:gd name="connsiteY5" fmla="*/ 0 h 29540"/>
                    <a:gd name="connsiteX6" fmla="*/ 548616 w 548616"/>
                    <a:gd name="connsiteY6" fmla="*/ 14770 h 29540"/>
                    <a:gd name="connsiteX7" fmla="*/ 548616 w 548616"/>
                    <a:gd name="connsiteY7" fmla="*/ 14770 h 29540"/>
                    <a:gd name="connsiteX8" fmla="*/ 533846 w 548616"/>
                    <a:gd name="connsiteY8" fmla="*/ 29541 h 2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616" h="29540">
                      <a:moveTo>
                        <a:pt x="533846" y="29541"/>
                      </a:moveTo>
                      <a:lnTo>
                        <a:pt x="14770" y="29541"/>
                      </a:lnTo>
                      <a:cubicBezTo>
                        <a:pt x="6330" y="29541"/>
                        <a:pt x="0" y="23211"/>
                        <a:pt x="0" y="14770"/>
                      </a:cubicBezTo>
                      <a:lnTo>
                        <a:pt x="0" y="14770"/>
                      </a:lnTo>
                      <a:cubicBezTo>
                        <a:pt x="0" y="6330"/>
                        <a:pt x="6330" y="0"/>
                        <a:pt x="14770" y="0"/>
                      </a:cubicBezTo>
                      <a:lnTo>
                        <a:pt x="533846" y="0"/>
                      </a:lnTo>
                      <a:cubicBezTo>
                        <a:pt x="542286" y="0"/>
                        <a:pt x="548616" y="6330"/>
                        <a:pt x="548616" y="14770"/>
                      </a:cubicBezTo>
                      <a:lnTo>
                        <a:pt x="548616" y="14770"/>
                      </a:lnTo>
                      <a:cubicBezTo>
                        <a:pt x="546506" y="23211"/>
                        <a:pt x="540176" y="29541"/>
                        <a:pt x="533846" y="2954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36" name="Freeform: Shape 1635">
                  <a:extLst>
                    <a:ext uri="{FF2B5EF4-FFF2-40B4-BE49-F238E27FC236}">
                      <a16:creationId xmlns:a16="http://schemas.microsoft.com/office/drawing/2014/main" id="{DCADCC05-BD7B-A4EC-EE4C-FC5AA6037791}"/>
                    </a:ext>
                  </a:extLst>
                </p:cNvPr>
                <p:cNvSpPr/>
                <p:nvPr/>
              </p:nvSpPr>
              <p:spPr>
                <a:xfrm>
                  <a:off x="-3174391" y="1918025"/>
                  <a:ext cx="548616" cy="29540"/>
                </a:xfrm>
                <a:custGeom>
                  <a:avLst/>
                  <a:gdLst>
                    <a:gd name="connsiteX0" fmla="*/ 533846 w 548616"/>
                    <a:gd name="connsiteY0" fmla="*/ 29541 h 29540"/>
                    <a:gd name="connsiteX1" fmla="*/ 14770 w 548616"/>
                    <a:gd name="connsiteY1" fmla="*/ 29541 h 29540"/>
                    <a:gd name="connsiteX2" fmla="*/ 0 w 548616"/>
                    <a:gd name="connsiteY2" fmla="*/ 14770 h 29540"/>
                    <a:gd name="connsiteX3" fmla="*/ 0 w 548616"/>
                    <a:gd name="connsiteY3" fmla="*/ 14770 h 29540"/>
                    <a:gd name="connsiteX4" fmla="*/ 14770 w 548616"/>
                    <a:gd name="connsiteY4" fmla="*/ 0 h 29540"/>
                    <a:gd name="connsiteX5" fmla="*/ 533846 w 548616"/>
                    <a:gd name="connsiteY5" fmla="*/ 0 h 29540"/>
                    <a:gd name="connsiteX6" fmla="*/ 548616 w 548616"/>
                    <a:gd name="connsiteY6" fmla="*/ 14770 h 29540"/>
                    <a:gd name="connsiteX7" fmla="*/ 548616 w 548616"/>
                    <a:gd name="connsiteY7" fmla="*/ 14770 h 29540"/>
                    <a:gd name="connsiteX8" fmla="*/ 533846 w 548616"/>
                    <a:gd name="connsiteY8" fmla="*/ 29541 h 2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616" h="29540">
                      <a:moveTo>
                        <a:pt x="533846" y="29541"/>
                      </a:moveTo>
                      <a:lnTo>
                        <a:pt x="14770" y="29541"/>
                      </a:lnTo>
                      <a:cubicBezTo>
                        <a:pt x="6330" y="29541"/>
                        <a:pt x="0" y="23211"/>
                        <a:pt x="0" y="14770"/>
                      </a:cubicBezTo>
                      <a:lnTo>
                        <a:pt x="0" y="14770"/>
                      </a:lnTo>
                      <a:cubicBezTo>
                        <a:pt x="0" y="6330"/>
                        <a:pt x="6330" y="0"/>
                        <a:pt x="14770" y="0"/>
                      </a:cubicBezTo>
                      <a:lnTo>
                        <a:pt x="533846" y="0"/>
                      </a:lnTo>
                      <a:cubicBezTo>
                        <a:pt x="542286" y="0"/>
                        <a:pt x="548616" y="6330"/>
                        <a:pt x="548616" y="14770"/>
                      </a:cubicBezTo>
                      <a:lnTo>
                        <a:pt x="548616" y="14770"/>
                      </a:lnTo>
                      <a:cubicBezTo>
                        <a:pt x="546506" y="23211"/>
                        <a:pt x="540176" y="29541"/>
                        <a:pt x="533846" y="2954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37" name="Freeform: Shape 1636">
                  <a:extLst>
                    <a:ext uri="{FF2B5EF4-FFF2-40B4-BE49-F238E27FC236}">
                      <a16:creationId xmlns:a16="http://schemas.microsoft.com/office/drawing/2014/main" id="{CECF2F4B-9429-0065-9FEA-BE1D22E64F15}"/>
                    </a:ext>
                  </a:extLst>
                </p:cNvPr>
                <p:cNvSpPr/>
                <p:nvPr/>
              </p:nvSpPr>
              <p:spPr>
                <a:xfrm>
                  <a:off x="-3174391" y="1970776"/>
                  <a:ext cx="548616" cy="29540"/>
                </a:xfrm>
                <a:custGeom>
                  <a:avLst/>
                  <a:gdLst>
                    <a:gd name="connsiteX0" fmla="*/ 533846 w 548616"/>
                    <a:gd name="connsiteY0" fmla="*/ 29541 h 29540"/>
                    <a:gd name="connsiteX1" fmla="*/ 14770 w 548616"/>
                    <a:gd name="connsiteY1" fmla="*/ 29541 h 29540"/>
                    <a:gd name="connsiteX2" fmla="*/ 0 w 548616"/>
                    <a:gd name="connsiteY2" fmla="*/ 14770 h 29540"/>
                    <a:gd name="connsiteX3" fmla="*/ 0 w 548616"/>
                    <a:gd name="connsiteY3" fmla="*/ 14770 h 29540"/>
                    <a:gd name="connsiteX4" fmla="*/ 14770 w 548616"/>
                    <a:gd name="connsiteY4" fmla="*/ 0 h 29540"/>
                    <a:gd name="connsiteX5" fmla="*/ 533846 w 548616"/>
                    <a:gd name="connsiteY5" fmla="*/ 0 h 29540"/>
                    <a:gd name="connsiteX6" fmla="*/ 548616 w 548616"/>
                    <a:gd name="connsiteY6" fmla="*/ 14770 h 29540"/>
                    <a:gd name="connsiteX7" fmla="*/ 548616 w 548616"/>
                    <a:gd name="connsiteY7" fmla="*/ 14770 h 29540"/>
                    <a:gd name="connsiteX8" fmla="*/ 533846 w 548616"/>
                    <a:gd name="connsiteY8" fmla="*/ 29541 h 2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616" h="29540">
                      <a:moveTo>
                        <a:pt x="533846" y="29541"/>
                      </a:moveTo>
                      <a:lnTo>
                        <a:pt x="14770" y="29541"/>
                      </a:lnTo>
                      <a:cubicBezTo>
                        <a:pt x="6330" y="29541"/>
                        <a:pt x="0" y="23211"/>
                        <a:pt x="0" y="14770"/>
                      </a:cubicBezTo>
                      <a:lnTo>
                        <a:pt x="0" y="14770"/>
                      </a:lnTo>
                      <a:cubicBezTo>
                        <a:pt x="0" y="6330"/>
                        <a:pt x="6330" y="0"/>
                        <a:pt x="14770" y="0"/>
                      </a:cubicBezTo>
                      <a:lnTo>
                        <a:pt x="533846" y="0"/>
                      </a:lnTo>
                      <a:cubicBezTo>
                        <a:pt x="542286" y="0"/>
                        <a:pt x="548616" y="6330"/>
                        <a:pt x="548616" y="14770"/>
                      </a:cubicBezTo>
                      <a:lnTo>
                        <a:pt x="548616" y="14770"/>
                      </a:lnTo>
                      <a:cubicBezTo>
                        <a:pt x="546506" y="23211"/>
                        <a:pt x="540176" y="29541"/>
                        <a:pt x="533846" y="2954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38" name="Freeform: Shape 1637">
                  <a:extLst>
                    <a:ext uri="{FF2B5EF4-FFF2-40B4-BE49-F238E27FC236}">
                      <a16:creationId xmlns:a16="http://schemas.microsoft.com/office/drawing/2014/main" id="{8C5941A4-11AD-CBFE-2736-4D3EE4133082}"/>
                    </a:ext>
                  </a:extLst>
                </p:cNvPr>
                <p:cNvSpPr/>
                <p:nvPr/>
              </p:nvSpPr>
              <p:spPr>
                <a:xfrm>
                  <a:off x="-3174391" y="2023528"/>
                  <a:ext cx="508524" cy="29540"/>
                </a:xfrm>
                <a:custGeom>
                  <a:avLst/>
                  <a:gdLst>
                    <a:gd name="connsiteX0" fmla="*/ 493755 w 508524"/>
                    <a:gd name="connsiteY0" fmla="*/ 29541 h 29540"/>
                    <a:gd name="connsiteX1" fmla="*/ 14770 w 508524"/>
                    <a:gd name="connsiteY1" fmla="*/ 29541 h 29540"/>
                    <a:gd name="connsiteX2" fmla="*/ 0 w 508524"/>
                    <a:gd name="connsiteY2" fmla="*/ 14770 h 29540"/>
                    <a:gd name="connsiteX3" fmla="*/ 0 w 508524"/>
                    <a:gd name="connsiteY3" fmla="*/ 14770 h 29540"/>
                    <a:gd name="connsiteX4" fmla="*/ 14770 w 508524"/>
                    <a:gd name="connsiteY4" fmla="*/ 0 h 29540"/>
                    <a:gd name="connsiteX5" fmla="*/ 493755 w 508524"/>
                    <a:gd name="connsiteY5" fmla="*/ 0 h 29540"/>
                    <a:gd name="connsiteX6" fmla="*/ 508525 w 508524"/>
                    <a:gd name="connsiteY6" fmla="*/ 14770 h 29540"/>
                    <a:gd name="connsiteX7" fmla="*/ 508525 w 508524"/>
                    <a:gd name="connsiteY7" fmla="*/ 14770 h 29540"/>
                    <a:gd name="connsiteX8" fmla="*/ 493755 w 508524"/>
                    <a:gd name="connsiteY8" fmla="*/ 29541 h 2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524" h="29540">
                      <a:moveTo>
                        <a:pt x="493755" y="29541"/>
                      </a:moveTo>
                      <a:lnTo>
                        <a:pt x="14770" y="29541"/>
                      </a:lnTo>
                      <a:cubicBezTo>
                        <a:pt x="6330" y="29541"/>
                        <a:pt x="0" y="23211"/>
                        <a:pt x="0" y="14770"/>
                      </a:cubicBezTo>
                      <a:lnTo>
                        <a:pt x="0" y="14770"/>
                      </a:lnTo>
                      <a:cubicBezTo>
                        <a:pt x="0" y="6330"/>
                        <a:pt x="6330" y="0"/>
                        <a:pt x="14770" y="0"/>
                      </a:cubicBezTo>
                      <a:lnTo>
                        <a:pt x="493755" y="0"/>
                      </a:lnTo>
                      <a:cubicBezTo>
                        <a:pt x="502195" y="0"/>
                        <a:pt x="508525" y="6330"/>
                        <a:pt x="508525" y="14770"/>
                      </a:cubicBezTo>
                      <a:lnTo>
                        <a:pt x="508525" y="14770"/>
                      </a:lnTo>
                      <a:cubicBezTo>
                        <a:pt x="508525" y="23211"/>
                        <a:pt x="502195" y="29541"/>
                        <a:pt x="493755" y="29541"/>
                      </a:cubicBezTo>
                      <a:close/>
                    </a:path>
                  </a:pathLst>
                </a:custGeom>
                <a:solidFill>
                  <a:srgbClr val="FFFFFF">
                    <a:alpha val="97000"/>
                  </a:srgbClr>
                </a:solidFill>
                <a:ln w="21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grpSp>
      </p:grpSp>
      <p:grpSp>
        <p:nvGrpSpPr>
          <p:cNvPr id="1695" name="Group 1694">
            <a:extLst>
              <a:ext uri="{FF2B5EF4-FFF2-40B4-BE49-F238E27FC236}">
                <a16:creationId xmlns:a16="http://schemas.microsoft.com/office/drawing/2014/main" id="{C97DFFA2-C931-6BFD-B93B-C9BD43DE1C20}"/>
              </a:ext>
            </a:extLst>
          </p:cNvPr>
          <p:cNvGrpSpPr/>
          <p:nvPr/>
        </p:nvGrpSpPr>
        <p:grpSpPr>
          <a:xfrm>
            <a:off x="1338146" y="2921865"/>
            <a:ext cx="482926" cy="640592"/>
            <a:chOff x="5018562" y="1997563"/>
            <a:chExt cx="2150047" cy="2851994"/>
          </a:xfrm>
        </p:grpSpPr>
        <p:sp>
          <p:nvSpPr>
            <p:cNvPr id="1696" name="Freeform: Shape 1695">
              <a:extLst>
                <a:ext uri="{FF2B5EF4-FFF2-40B4-BE49-F238E27FC236}">
                  <a16:creationId xmlns:a16="http://schemas.microsoft.com/office/drawing/2014/main" id="{2C6F81E1-260F-AB34-BB84-D5E9AB624209}"/>
                </a:ext>
              </a:extLst>
            </p:cNvPr>
            <p:cNvSpPr/>
            <p:nvPr/>
          </p:nvSpPr>
          <p:spPr>
            <a:xfrm>
              <a:off x="5641085" y="3370992"/>
              <a:ext cx="593693" cy="1478565"/>
            </a:xfrm>
            <a:custGeom>
              <a:avLst/>
              <a:gdLst>
                <a:gd name="connsiteX0" fmla="*/ 556355 w 593693"/>
                <a:gd name="connsiteY0" fmla="*/ 1478566 h 1478565"/>
                <a:gd name="connsiteX1" fmla="*/ 285845 w 593693"/>
                <a:gd name="connsiteY1" fmla="*/ 1170527 h 1478565"/>
                <a:gd name="connsiteX2" fmla="*/ 0 w 593693"/>
                <a:gd name="connsiteY2" fmla="*/ 1464373 h 1478565"/>
                <a:gd name="connsiteX3" fmla="*/ 37338 w 593693"/>
                <a:gd name="connsiteY3" fmla="*/ 0 h 1478565"/>
                <a:gd name="connsiteX4" fmla="*/ 593693 w 593693"/>
                <a:gd name="connsiteY4" fmla="*/ 14192 h 1478565"/>
                <a:gd name="connsiteX5" fmla="*/ 556355 w 593693"/>
                <a:gd name="connsiteY5" fmla="*/ 1478566 h 147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693" h="1478565">
                  <a:moveTo>
                    <a:pt x="556355" y="1478566"/>
                  </a:moveTo>
                  <a:lnTo>
                    <a:pt x="285845" y="1170527"/>
                  </a:lnTo>
                  <a:lnTo>
                    <a:pt x="0" y="1464373"/>
                  </a:lnTo>
                  <a:lnTo>
                    <a:pt x="37338" y="0"/>
                  </a:lnTo>
                  <a:lnTo>
                    <a:pt x="593693" y="14192"/>
                  </a:lnTo>
                  <a:lnTo>
                    <a:pt x="556355" y="1478566"/>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97" name="Freeform: Shape 1696">
              <a:extLst>
                <a:ext uri="{FF2B5EF4-FFF2-40B4-BE49-F238E27FC236}">
                  <a16:creationId xmlns:a16="http://schemas.microsoft.com/office/drawing/2014/main" id="{1EDE6916-5AAB-6EFC-9808-910416ACA7E8}"/>
                </a:ext>
              </a:extLst>
            </p:cNvPr>
            <p:cNvSpPr/>
            <p:nvPr/>
          </p:nvSpPr>
          <p:spPr>
            <a:xfrm>
              <a:off x="5935789" y="3162204"/>
              <a:ext cx="1232820" cy="1448562"/>
            </a:xfrm>
            <a:custGeom>
              <a:avLst/>
              <a:gdLst>
                <a:gd name="connsiteX0" fmla="*/ 770477 w 1232820"/>
                <a:gd name="connsiteY0" fmla="*/ 1448562 h 1448562"/>
                <a:gd name="connsiteX1" fmla="*/ 834104 w 1232820"/>
                <a:gd name="connsiteY1" fmla="*/ 1043654 h 1448562"/>
                <a:gd name="connsiteX2" fmla="*/ 1232821 w 1232820"/>
                <a:gd name="connsiteY2" fmla="*/ 1138904 h 1448562"/>
                <a:gd name="connsiteX3" fmla="*/ 462344 w 1232820"/>
                <a:gd name="connsiteY3" fmla="*/ 0 h 1448562"/>
                <a:gd name="connsiteX4" fmla="*/ 0 w 1232820"/>
                <a:gd name="connsiteY4" fmla="*/ 309658 h 1448562"/>
                <a:gd name="connsiteX5" fmla="*/ 770477 w 1232820"/>
                <a:gd name="connsiteY5" fmla="*/ 1448562 h 144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2820" h="1448562">
                  <a:moveTo>
                    <a:pt x="770477" y="1448562"/>
                  </a:moveTo>
                  <a:lnTo>
                    <a:pt x="834104" y="1043654"/>
                  </a:lnTo>
                  <a:lnTo>
                    <a:pt x="1232821" y="1138904"/>
                  </a:lnTo>
                  <a:lnTo>
                    <a:pt x="462344" y="0"/>
                  </a:lnTo>
                  <a:lnTo>
                    <a:pt x="0" y="309658"/>
                  </a:lnTo>
                  <a:lnTo>
                    <a:pt x="770477" y="1448562"/>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98" name="Freeform: Shape 1697">
              <a:extLst>
                <a:ext uri="{FF2B5EF4-FFF2-40B4-BE49-F238E27FC236}">
                  <a16:creationId xmlns:a16="http://schemas.microsoft.com/office/drawing/2014/main" id="{B87F58DB-7873-EB07-D786-7E6D281EFAEF}"/>
                </a:ext>
              </a:extLst>
            </p:cNvPr>
            <p:cNvSpPr/>
            <p:nvPr/>
          </p:nvSpPr>
          <p:spPr>
            <a:xfrm rot="19571398">
              <a:off x="6066962" y="3440277"/>
              <a:ext cx="21050" cy="498633"/>
            </a:xfrm>
            <a:custGeom>
              <a:avLst/>
              <a:gdLst>
                <a:gd name="connsiteX0" fmla="*/ -2643 w 21050"/>
                <a:gd name="connsiteY0" fmla="*/ -853 h 498633"/>
                <a:gd name="connsiteX1" fmla="*/ 18407 w 21050"/>
                <a:gd name="connsiteY1" fmla="*/ -853 h 498633"/>
                <a:gd name="connsiteX2" fmla="*/ 18407 w 21050"/>
                <a:gd name="connsiteY2" fmla="*/ 497780 h 498633"/>
                <a:gd name="connsiteX3" fmla="*/ -2643 w 21050"/>
                <a:gd name="connsiteY3" fmla="*/ 497780 h 498633"/>
              </a:gdLst>
              <a:ahLst/>
              <a:cxnLst>
                <a:cxn ang="0">
                  <a:pos x="connsiteX0" y="connsiteY0"/>
                </a:cxn>
                <a:cxn ang="0">
                  <a:pos x="connsiteX1" y="connsiteY1"/>
                </a:cxn>
                <a:cxn ang="0">
                  <a:pos x="connsiteX2" y="connsiteY2"/>
                </a:cxn>
                <a:cxn ang="0">
                  <a:pos x="connsiteX3" y="connsiteY3"/>
                </a:cxn>
              </a:cxnLst>
              <a:rect l="l" t="t" r="r" b="b"/>
              <a:pathLst>
                <a:path w="21050" h="498633">
                  <a:moveTo>
                    <a:pt x="-2643" y="-853"/>
                  </a:moveTo>
                  <a:lnTo>
                    <a:pt x="18407" y="-853"/>
                  </a:lnTo>
                  <a:lnTo>
                    <a:pt x="18407" y="497780"/>
                  </a:lnTo>
                  <a:lnTo>
                    <a:pt x="-2643" y="497780"/>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699" name="Freeform: Shape 1698">
              <a:extLst>
                <a:ext uri="{FF2B5EF4-FFF2-40B4-BE49-F238E27FC236}">
                  <a16:creationId xmlns:a16="http://schemas.microsoft.com/office/drawing/2014/main" id="{1CA64714-02EE-1419-22F1-E8383A78DB32}"/>
                </a:ext>
              </a:extLst>
            </p:cNvPr>
            <p:cNvSpPr/>
            <p:nvPr/>
          </p:nvSpPr>
          <p:spPr>
            <a:xfrm>
              <a:off x="5020055" y="2011298"/>
              <a:ext cx="1776507" cy="1754981"/>
            </a:xfrm>
            <a:custGeom>
              <a:avLst/>
              <a:gdLst>
                <a:gd name="connsiteX0" fmla="*/ 1776508 w 1776507"/>
                <a:gd name="connsiteY0" fmla="*/ 826103 h 1754981"/>
                <a:gd name="connsiteX1" fmla="*/ 1710690 w 1776507"/>
                <a:gd name="connsiteY1" fmla="*/ 1216343 h 1754981"/>
                <a:gd name="connsiteX2" fmla="*/ 1482281 w 1776507"/>
                <a:gd name="connsiteY2" fmla="*/ 1539907 h 1754981"/>
                <a:gd name="connsiteX3" fmla="*/ 1136047 w 1776507"/>
                <a:gd name="connsiteY3" fmla="*/ 1731836 h 1754981"/>
                <a:gd name="connsiteX4" fmla="*/ 740855 w 1776507"/>
                <a:gd name="connsiteY4" fmla="*/ 1754981 h 1754981"/>
                <a:gd name="connsiteX5" fmla="*/ 374714 w 1776507"/>
                <a:gd name="connsiteY5" fmla="*/ 1603915 h 1754981"/>
                <a:gd name="connsiteX6" fmla="*/ 110300 w 1776507"/>
                <a:gd name="connsiteY6" fmla="*/ 1309402 h 1754981"/>
                <a:gd name="connsiteX7" fmla="*/ 0 w 1776507"/>
                <a:gd name="connsiteY7" fmla="*/ 928973 h 1754981"/>
                <a:gd name="connsiteX8" fmla="*/ 65723 w 1776507"/>
                <a:gd name="connsiteY8" fmla="*/ 538639 h 1754981"/>
                <a:gd name="connsiteX9" fmla="*/ 294132 w 1776507"/>
                <a:gd name="connsiteY9" fmla="*/ 215075 h 1754981"/>
                <a:gd name="connsiteX10" fmla="*/ 640366 w 1776507"/>
                <a:gd name="connsiteY10" fmla="*/ 23146 h 1754981"/>
                <a:gd name="connsiteX11" fmla="*/ 1035558 w 1776507"/>
                <a:gd name="connsiteY11" fmla="*/ 0 h 1754981"/>
                <a:gd name="connsiteX12" fmla="*/ 1401699 w 1776507"/>
                <a:gd name="connsiteY12" fmla="*/ 151067 h 1754981"/>
                <a:gd name="connsiteX13" fmla="*/ 1666113 w 1776507"/>
                <a:gd name="connsiteY13" fmla="*/ 445580 h 1754981"/>
                <a:gd name="connsiteX14" fmla="*/ 1776508 w 1776507"/>
                <a:gd name="connsiteY14" fmla="*/ 826103 h 175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76507" h="1754981">
                  <a:moveTo>
                    <a:pt x="1776508" y="826103"/>
                  </a:moveTo>
                  <a:lnTo>
                    <a:pt x="1710690" y="1216343"/>
                  </a:lnTo>
                  <a:lnTo>
                    <a:pt x="1482281" y="1539907"/>
                  </a:lnTo>
                  <a:lnTo>
                    <a:pt x="1136047" y="1731836"/>
                  </a:lnTo>
                  <a:lnTo>
                    <a:pt x="740855" y="1754981"/>
                  </a:lnTo>
                  <a:lnTo>
                    <a:pt x="374714" y="1603915"/>
                  </a:lnTo>
                  <a:lnTo>
                    <a:pt x="110300" y="1309402"/>
                  </a:lnTo>
                  <a:lnTo>
                    <a:pt x="0" y="928973"/>
                  </a:lnTo>
                  <a:lnTo>
                    <a:pt x="65723" y="538639"/>
                  </a:lnTo>
                  <a:lnTo>
                    <a:pt x="294132" y="215075"/>
                  </a:lnTo>
                  <a:lnTo>
                    <a:pt x="640366" y="23146"/>
                  </a:lnTo>
                  <a:lnTo>
                    <a:pt x="1035558" y="0"/>
                  </a:lnTo>
                  <a:lnTo>
                    <a:pt x="1401699" y="151067"/>
                  </a:lnTo>
                  <a:lnTo>
                    <a:pt x="1666113" y="445580"/>
                  </a:lnTo>
                  <a:lnTo>
                    <a:pt x="1776508" y="826103"/>
                  </a:lnTo>
                  <a:close/>
                </a:path>
              </a:pathLst>
            </a:custGeom>
            <a:solidFill>
              <a:srgbClr val="3178A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700" name="Freeform: Shape 1699">
              <a:extLst>
                <a:ext uri="{FF2B5EF4-FFF2-40B4-BE49-F238E27FC236}">
                  <a16:creationId xmlns:a16="http://schemas.microsoft.com/office/drawing/2014/main" id="{93966A20-9865-0CB8-73E6-EE494DC4C492}"/>
                </a:ext>
              </a:extLst>
            </p:cNvPr>
            <p:cNvSpPr/>
            <p:nvPr/>
          </p:nvSpPr>
          <p:spPr>
            <a:xfrm rot="20629200">
              <a:off x="5897858" y="1997563"/>
              <a:ext cx="21050" cy="1779079"/>
            </a:xfrm>
            <a:custGeom>
              <a:avLst/>
              <a:gdLst>
                <a:gd name="connsiteX0" fmla="*/ -2643 w 21050"/>
                <a:gd name="connsiteY0" fmla="*/ -853 h 1779079"/>
                <a:gd name="connsiteX1" fmla="*/ 18407 w 21050"/>
                <a:gd name="connsiteY1" fmla="*/ -853 h 1779079"/>
                <a:gd name="connsiteX2" fmla="*/ 18407 w 21050"/>
                <a:gd name="connsiteY2" fmla="*/ 1778226 h 1779079"/>
                <a:gd name="connsiteX3" fmla="*/ -2643 w 21050"/>
                <a:gd name="connsiteY3" fmla="*/ 1778226 h 1779079"/>
              </a:gdLst>
              <a:ahLst/>
              <a:cxnLst>
                <a:cxn ang="0">
                  <a:pos x="connsiteX0" y="connsiteY0"/>
                </a:cxn>
                <a:cxn ang="0">
                  <a:pos x="connsiteX1" y="connsiteY1"/>
                </a:cxn>
                <a:cxn ang="0">
                  <a:pos x="connsiteX2" y="connsiteY2"/>
                </a:cxn>
                <a:cxn ang="0">
                  <a:pos x="connsiteX3" y="connsiteY3"/>
                </a:cxn>
              </a:cxnLst>
              <a:rect l="l" t="t" r="r" b="b"/>
              <a:pathLst>
                <a:path w="21050" h="1779079">
                  <a:moveTo>
                    <a:pt x="-2643" y="-853"/>
                  </a:moveTo>
                  <a:lnTo>
                    <a:pt x="18407" y="-853"/>
                  </a:lnTo>
                  <a:lnTo>
                    <a:pt x="18407" y="1778226"/>
                  </a:lnTo>
                  <a:lnTo>
                    <a:pt x="-2643" y="1778226"/>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701" name="Freeform: Shape 1700">
              <a:extLst>
                <a:ext uri="{FF2B5EF4-FFF2-40B4-BE49-F238E27FC236}">
                  <a16:creationId xmlns:a16="http://schemas.microsoft.com/office/drawing/2014/main" id="{7A03A808-325B-00E1-0165-0F3139231B52}"/>
                </a:ext>
              </a:extLst>
            </p:cNvPr>
            <p:cNvSpPr/>
            <p:nvPr/>
          </p:nvSpPr>
          <p:spPr>
            <a:xfrm rot="16771200">
              <a:off x="5017808" y="2877849"/>
              <a:ext cx="1779079" cy="21050"/>
            </a:xfrm>
            <a:custGeom>
              <a:avLst/>
              <a:gdLst>
                <a:gd name="connsiteX0" fmla="*/ -2643 w 1779079"/>
                <a:gd name="connsiteY0" fmla="*/ -854 h 21050"/>
                <a:gd name="connsiteX1" fmla="*/ 1776437 w 1779079"/>
                <a:gd name="connsiteY1" fmla="*/ -854 h 21050"/>
                <a:gd name="connsiteX2" fmla="*/ 1776437 w 1779079"/>
                <a:gd name="connsiteY2" fmla="*/ 20197 h 21050"/>
                <a:gd name="connsiteX3" fmla="*/ -2643 w 1779079"/>
                <a:gd name="connsiteY3" fmla="*/ 20197 h 21050"/>
              </a:gdLst>
              <a:ahLst/>
              <a:cxnLst>
                <a:cxn ang="0">
                  <a:pos x="connsiteX0" y="connsiteY0"/>
                </a:cxn>
                <a:cxn ang="0">
                  <a:pos x="connsiteX1" y="connsiteY1"/>
                </a:cxn>
                <a:cxn ang="0">
                  <a:pos x="connsiteX2" y="connsiteY2"/>
                </a:cxn>
                <a:cxn ang="0">
                  <a:pos x="connsiteX3" y="connsiteY3"/>
                </a:cxn>
              </a:cxnLst>
              <a:rect l="l" t="t" r="r" b="b"/>
              <a:pathLst>
                <a:path w="1779079" h="21050">
                  <a:moveTo>
                    <a:pt x="-2643" y="-854"/>
                  </a:moveTo>
                  <a:lnTo>
                    <a:pt x="1776437" y="-854"/>
                  </a:lnTo>
                  <a:lnTo>
                    <a:pt x="1776437" y="20197"/>
                  </a:lnTo>
                  <a:lnTo>
                    <a:pt x="-2643" y="20197"/>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702" name="Freeform: Shape 1701">
              <a:extLst>
                <a:ext uri="{FF2B5EF4-FFF2-40B4-BE49-F238E27FC236}">
                  <a16:creationId xmlns:a16="http://schemas.microsoft.com/office/drawing/2014/main" id="{F5D91E6B-CFA0-AB1A-4AD9-96C7611E2526}"/>
                </a:ext>
              </a:extLst>
            </p:cNvPr>
            <p:cNvSpPr/>
            <p:nvPr/>
          </p:nvSpPr>
          <p:spPr>
            <a:xfrm rot="18313201">
              <a:off x="5019398" y="2879149"/>
              <a:ext cx="1779080" cy="21050"/>
            </a:xfrm>
            <a:custGeom>
              <a:avLst/>
              <a:gdLst>
                <a:gd name="connsiteX0" fmla="*/ -2643 w 1779080"/>
                <a:gd name="connsiteY0" fmla="*/ -853 h 21050"/>
                <a:gd name="connsiteX1" fmla="*/ 1776438 w 1779080"/>
                <a:gd name="connsiteY1" fmla="*/ -853 h 21050"/>
                <a:gd name="connsiteX2" fmla="*/ 1776438 w 1779080"/>
                <a:gd name="connsiteY2" fmla="*/ 20197 h 21050"/>
                <a:gd name="connsiteX3" fmla="*/ -2643 w 1779080"/>
                <a:gd name="connsiteY3" fmla="*/ 20197 h 21050"/>
              </a:gdLst>
              <a:ahLst/>
              <a:cxnLst>
                <a:cxn ang="0">
                  <a:pos x="connsiteX0" y="connsiteY0"/>
                </a:cxn>
                <a:cxn ang="0">
                  <a:pos x="connsiteX1" y="connsiteY1"/>
                </a:cxn>
                <a:cxn ang="0">
                  <a:pos x="connsiteX2" y="connsiteY2"/>
                </a:cxn>
                <a:cxn ang="0">
                  <a:pos x="connsiteX3" y="connsiteY3"/>
                </a:cxn>
              </a:cxnLst>
              <a:rect l="l" t="t" r="r" b="b"/>
              <a:pathLst>
                <a:path w="1779080" h="21050">
                  <a:moveTo>
                    <a:pt x="-2643" y="-853"/>
                  </a:moveTo>
                  <a:lnTo>
                    <a:pt x="1776438" y="-853"/>
                  </a:lnTo>
                  <a:lnTo>
                    <a:pt x="1776438" y="20197"/>
                  </a:lnTo>
                  <a:lnTo>
                    <a:pt x="-2643" y="20197"/>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703" name="Freeform: Shape 1702">
              <a:extLst>
                <a:ext uri="{FF2B5EF4-FFF2-40B4-BE49-F238E27FC236}">
                  <a16:creationId xmlns:a16="http://schemas.microsoft.com/office/drawing/2014/main" id="{742E6609-75F3-FAE5-F798-8C8D5B3BA8F1}"/>
                </a:ext>
              </a:extLst>
            </p:cNvPr>
            <p:cNvSpPr/>
            <p:nvPr/>
          </p:nvSpPr>
          <p:spPr>
            <a:xfrm rot="19855800">
              <a:off x="5018947" y="2879587"/>
              <a:ext cx="1779080" cy="21050"/>
            </a:xfrm>
            <a:custGeom>
              <a:avLst/>
              <a:gdLst>
                <a:gd name="connsiteX0" fmla="*/ -2643 w 1779080"/>
                <a:gd name="connsiteY0" fmla="*/ -853 h 21050"/>
                <a:gd name="connsiteX1" fmla="*/ 1776437 w 1779080"/>
                <a:gd name="connsiteY1" fmla="*/ -853 h 21050"/>
                <a:gd name="connsiteX2" fmla="*/ 1776437 w 1779080"/>
                <a:gd name="connsiteY2" fmla="*/ 20197 h 21050"/>
                <a:gd name="connsiteX3" fmla="*/ -2643 w 1779080"/>
                <a:gd name="connsiteY3" fmla="*/ 20197 h 21050"/>
              </a:gdLst>
              <a:ahLst/>
              <a:cxnLst>
                <a:cxn ang="0">
                  <a:pos x="connsiteX0" y="connsiteY0"/>
                </a:cxn>
                <a:cxn ang="0">
                  <a:pos x="connsiteX1" y="connsiteY1"/>
                </a:cxn>
                <a:cxn ang="0">
                  <a:pos x="connsiteX2" y="connsiteY2"/>
                </a:cxn>
                <a:cxn ang="0">
                  <a:pos x="connsiteX3" y="connsiteY3"/>
                </a:cxn>
              </a:cxnLst>
              <a:rect l="l" t="t" r="r" b="b"/>
              <a:pathLst>
                <a:path w="1779080" h="21050">
                  <a:moveTo>
                    <a:pt x="-2643" y="-853"/>
                  </a:moveTo>
                  <a:lnTo>
                    <a:pt x="1776437" y="-853"/>
                  </a:lnTo>
                  <a:lnTo>
                    <a:pt x="1776437" y="20197"/>
                  </a:lnTo>
                  <a:lnTo>
                    <a:pt x="-2643" y="20197"/>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704" name="Freeform: Shape 1703">
              <a:extLst>
                <a:ext uri="{FF2B5EF4-FFF2-40B4-BE49-F238E27FC236}">
                  <a16:creationId xmlns:a16="http://schemas.microsoft.com/office/drawing/2014/main" id="{DC9542DC-C36C-C9AD-144E-ACCB87A360F3}"/>
                </a:ext>
              </a:extLst>
            </p:cNvPr>
            <p:cNvSpPr/>
            <p:nvPr/>
          </p:nvSpPr>
          <p:spPr>
            <a:xfrm rot="21396000">
              <a:off x="5018653" y="2878400"/>
              <a:ext cx="1779079" cy="21050"/>
            </a:xfrm>
            <a:custGeom>
              <a:avLst/>
              <a:gdLst>
                <a:gd name="connsiteX0" fmla="*/ -2643 w 1779079"/>
                <a:gd name="connsiteY0" fmla="*/ -853 h 21050"/>
                <a:gd name="connsiteX1" fmla="*/ 1776437 w 1779079"/>
                <a:gd name="connsiteY1" fmla="*/ -853 h 21050"/>
                <a:gd name="connsiteX2" fmla="*/ 1776437 w 1779079"/>
                <a:gd name="connsiteY2" fmla="*/ 20197 h 21050"/>
                <a:gd name="connsiteX3" fmla="*/ -2643 w 1779079"/>
                <a:gd name="connsiteY3" fmla="*/ 20197 h 21050"/>
              </a:gdLst>
              <a:ahLst/>
              <a:cxnLst>
                <a:cxn ang="0">
                  <a:pos x="connsiteX0" y="connsiteY0"/>
                </a:cxn>
                <a:cxn ang="0">
                  <a:pos x="connsiteX1" y="connsiteY1"/>
                </a:cxn>
                <a:cxn ang="0">
                  <a:pos x="connsiteX2" y="connsiteY2"/>
                </a:cxn>
                <a:cxn ang="0">
                  <a:pos x="connsiteX3" y="connsiteY3"/>
                </a:cxn>
              </a:cxnLst>
              <a:rect l="l" t="t" r="r" b="b"/>
              <a:pathLst>
                <a:path w="1779079" h="21050">
                  <a:moveTo>
                    <a:pt x="-2643" y="-853"/>
                  </a:moveTo>
                  <a:lnTo>
                    <a:pt x="1776437" y="-853"/>
                  </a:lnTo>
                  <a:lnTo>
                    <a:pt x="1776437" y="20197"/>
                  </a:lnTo>
                  <a:lnTo>
                    <a:pt x="-2643" y="20197"/>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705" name="Freeform: Shape 1704">
              <a:extLst>
                <a:ext uri="{FF2B5EF4-FFF2-40B4-BE49-F238E27FC236}">
                  <a16:creationId xmlns:a16="http://schemas.microsoft.com/office/drawing/2014/main" id="{D06F7AF9-9805-BA0E-8DD3-35D81FFEF30C}"/>
                </a:ext>
              </a:extLst>
            </p:cNvPr>
            <p:cNvSpPr/>
            <p:nvPr/>
          </p:nvSpPr>
          <p:spPr>
            <a:xfrm rot="17537999">
              <a:off x="5897577" y="1999011"/>
              <a:ext cx="21050" cy="1779079"/>
            </a:xfrm>
            <a:custGeom>
              <a:avLst/>
              <a:gdLst>
                <a:gd name="connsiteX0" fmla="*/ -2643 w 21050"/>
                <a:gd name="connsiteY0" fmla="*/ -853 h 1779079"/>
                <a:gd name="connsiteX1" fmla="*/ 18407 w 21050"/>
                <a:gd name="connsiteY1" fmla="*/ -853 h 1779079"/>
                <a:gd name="connsiteX2" fmla="*/ 18407 w 21050"/>
                <a:gd name="connsiteY2" fmla="*/ 1778226 h 1779079"/>
                <a:gd name="connsiteX3" fmla="*/ -2643 w 21050"/>
                <a:gd name="connsiteY3" fmla="*/ 1778226 h 1779079"/>
              </a:gdLst>
              <a:ahLst/>
              <a:cxnLst>
                <a:cxn ang="0">
                  <a:pos x="connsiteX0" y="connsiteY0"/>
                </a:cxn>
                <a:cxn ang="0">
                  <a:pos x="connsiteX1" y="connsiteY1"/>
                </a:cxn>
                <a:cxn ang="0">
                  <a:pos x="connsiteX2" y="connsiteY2"/>
                </a:cxn>
                <a:cxn ang="0">
                  <a:pos x="connsiteX3" y="connsiteY3"/>
                </a:cxn>
              </a:cxnLst>
              <a:rect l="l" t="t" r="r" b="b"/>
              <a:pathLst>
                <a:path w="21050" h="1779079">
                  <a:moveTo>
                    <a:pt x="-2643" y="-853"/>
                  </a:moveTo>
                  <a:lnTo>
                    <a:pt x="18407" y="-853"/>
                  </a:lnTo>
                  <a:lnTo>
                    <a:pt x="18407" y="1778226"/>
                  </a:lnTo>
                  <a:lnTo>
                    <a:pt x="-2643" y="1778226"/>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706" name="Freeform: Shape 1705">
              <a:extLst>
                <a:ext uri="{FF2B5EF4-FFF2-40B4-BE49-F238E27FC236}">
                  <a16:creationId xmlns:a16="http://schemas.microsoft.com/office/drawing/2014/main" id="{0BB59E1E-E696-1D61-0A37-844D058672B4}"/>
                </a:ext>
              </a:extLst>
            </p:cNvPr>
            <p:cNvSpPr/>
            <p:nvPr/>
          </p:nvSpPr>
          <p:spPr>
            <a:xfrm rot="19079999">
              <a:off x="5898618" y="2001231"/>
              <a:ext cx="21050" cy="1779080"/>
            </a:xfrm>
            <a:custGeom>
              <a:avLst/>
              <a:gdLst>
                <a:gd name="connsiteX0" fmla="*/ -2643 w 21050"/>
                <a:gd name="connsiteY0" fmla="*/ -853 h 1779080"/>
                <a:gd name="connsiteX1" fmla="*/ 18407 w 21050"/>
                <a:gd name="connsiteY1" fmla="*/ -853 h 1779080"/>
                <a:gd name="connsiteX2" fmla="*/ 18407 w 21050"/>
                <a:gd name="connsiteY2" fmla="*/ 1778227 h 1779080"/>
                <a:gd name="connsiteX3" fmla="*/ -2643 w 21050"/>
                <a:gd name="connsiteY3" fmla="*/ 1778227 h 1779080"/>
              </a:gdLst>
              <a:ahLst/>
              <a:cxnLst>
                <a:cxn ang="0">
                  <a:pos x="connsiteX0" y="connsiteY0"/>
                </a:cxn>
                <a:cxn ang="0">
                  <a:pos x="connsiteX1" y="connsiteY1"/>
                </a:cxn>
                <a:cxn ang="0">
                  <a:pos x="connsiteX2" y="connsiteY2"/>
                </a:cxn>
                <a:cxn ang="0">
                  <a:pos x="connsiteX3" y="connsiteY3"/>
                </a:cxn>
              </a:cxnLst>
              <a:rect l="l" t="t" r="r" b="b"/>
              <a:pathLst>
                <a:path w="21050" h="1779080">
                  <a:moveTo>
                    <a:pt x="-2643" y="-853"/>
                  </a:moveTo>
                  <a:lnTo>
                    <a:pt x="18407" y="-853"/>
                  </a:lnTo>
                  <a:lnTo>
                    <a:pt x="18407" y="1778227"/>
                  </a:lnTo>
                  <a:lnTo>
                    <a:pt x="-2643" y="1778227"/>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707" name="Freeform: Shape 1706">
              <a:extLst>
                <a:ext uri="{FF2B5EF4-FFF2-40B4-BE49-F238E27FC236}">
                  <a16:creationId xmlns:a16="http://schemas.microsoft.com/office/drawing/2014/main" id="{D0659B4A-9E88-AECA-9224-0045A348008E}"/>
                </a:ext>
              </a:extLst>
            </p:cNvPr>
            <p:cNvSpPr/>
            <p:nvPr/>
          </p:nvSpPr>
          <p:spPr>
            <a:xfrm rot="20347200">
              <a:off x="5343909" y="2325944"/>
              <a:ext cx="1128903" cy="1128903"/>
            </a:xfrm>
            <a:custGeom>
              <a:avLst/>
              <a:gdLst>
                <a:gd name="connsiteX0" fmla="*/ 1126259 w 1128903"/>
                <a:gd name="connsiteY0" fmla="*/ 563599 h 1128903"/>
                <a:gd name="connsiteX1" fmla="*/ 561807 w 1128903"/>
                <a:gd name="connsiteY1" fmla="*/ 1128050 h 1128903"/>
                <a:gd name="connsiteX2" fmla="*/ -2644 w 1128903"/>
                <a:gd name="connsiteY2" fmla="*/ 563599 h 1128903"/>
                <a:gd name="connsiteX3" fmla="*/ 561807 w 1128903"/>
                <a:gd name="connsiteY3" fmla="*/ -853 h 1128903"/>
                <a:gd name="connsiteX4" fmla="*/ 1126259 w 1128903"/>
                <a:gd name="connsiteY4" fmla="*/ 563599 h 1128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8903" h="1128903">
                  <a:moveTo>
                    <a:pt x="1126259" y="563599"/>
                  </a:moveTo>
                  <a:cubicBezTo>
                    <a:pt x="1126259" y="875337"/>
                    <a:pt x="873547" y="1128050"/>
                    <a:pt x="561807" y="1128050"/>
                  </a:cubicBezTo>
                  <a:cubicBezTo>
                    <a:pt x="250068" y="1128050"/>
                    <a:pt x="-2644" y="875337"/>
                    <a:pt x="-2644" y="563599"/>
                  </a:cubicBezTo>
                  <a:cubicBezTo>
                    <a:pt x="-2644" y="251861"/>
                    <a:pt x="250068" y="-853"/>
                    <a:pt x="561807" y="-853"/>
                  </a:cubicBezTo>
                  <a:cubicBezTo>
                    <a:pt x="873547" y="-853"/>
                    <a:pt x="1126259" y="251861"/>
                    <a:pt x="1126259" y="563599"/>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sp>
          <p:nvSpPr>
            <p:cNvPr id="1708" name="Freeform: Shape 1707">
              <a:extLst>
                <a:ext uri="{FF2B5EF4-FFF2-40B4-BE49-F238E27FC236}">
                  <a16:creationId xmlns:a16="http://schemas.microsoft.com/office/drawing/2014/main" id="{671B35D0-C02A-1DA2-0B4E-EE094D03F69D}"/>
                </a:ext>
              </a:extLst>
            </p:cNvPr>
            <p:cNvSpPr/>
            <p:nvPr/>
          </p:nvSpPr>
          <p:spPr>
            <a:xfrm rot="16996800">
              <a:off x="5391170" y="2371558"/>
              <a:ext cx="1034986" cy="1034986"/>
            </a:xfrm>
            <a:custGeom>
              <a:avLst/>
              <a:gdLst>
                <a:gd name="connsiteX0" fmla="*/ 1032343 w 1034986"/>
                <a:gd name="connsiteY0" fmla="*/ 516640 h 1034986"/>
                <a:gd name="connsiteX1" fmla="*/ 514849 w 1034986"/>
                <a:gd name="connsiteY1" fmla="*/ 1034134 h 1034986"/>
                <a:gd name="connsiteX2" fmla="*/ -2645 w 1034986"/>
                <a:gd name="connsiteY2" fmla="*/ 516640 h 1034986"/>
                <a:gd name="connsiteX3" fmla="*/ 514849 w 1034986"/>
                <a:gd name="connsiteY3" fmla="*/ -853 h 1034986"/>
                <a:gd name="connsiteX4" fmla="*/ 1032343 w 1034986"/>
                <a:gd name="connsiteY4" fmla="*/ 516640 h 1034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986" h="1034986">
                  <a:moveTo>
                    <a:pt x="1032343" y="516640"/>
                  </a:moveTo>
                  <a:cubicBezTo>
                    <a:pt x="1032343" y="802444"/>
                    <a:pt x="800653" y="1034134"/>
                    <a:pt x="514849" y="1034134"/>
                  </a:cubicBezTo>
                  <a:cubicBezTo>
                    <a:pt x="229046" y="1034134"/>
                    <a:pt x="-2645" y="802444"/>
                    <a:pt x="-2645" y="516640"/>
                  </a:cubicBezTo>
                  <a:cubicBezTo>
                    <a:pt x="-2645" y="230837"/>
                    <a:pt x="229046" y="-853"/>
                    <a:pt x="514849" y="-853"/>
                  </a:cubicBezTo>
                  <a:cubicBezTo>
                    <a:pt x="800653" y="-853"/>
                    <a:pt x="1032343" y="230836"/>
                    <a:pt x="1032343" y="516640"/>
                  </a:cubicBezTo>
                  <a:close/>
                </a:path>
              </a:pathLst>
            </a:custGeom>
            <a:solidFill>
              <a:schemeClr val="accent5">
                <a:lumMod val="20000"/>
                <a:lumOff val="8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Lora"/>
                <a:ea typeface="+mn-ea"/>
                <a:cs typeface="+mn-cs"/>
              </a:endParaRPr>
            </a:p>
          </p:txBody>
        </p:sp>
      </p:grpSp>
      <p:sp>
        <p:nvSpPr>
          <p:cNvPr id="1711" name="Title 1710">
            <a:extLst>
              <a:ext uri="{FF2B5EF4-FFF2-40B4-BE49-F238E27FC236}">
                <a16:creationId xmlns:a16="http://schemas.microsoft.com/office/drawing/2014/main" id="{9ECED845-1E28-FE64-BC29-0B15227B5595}"/>
              </a:ext>
            </a:extLst>
          </p:cNvPr>
          <p:cNvSpPr>
            <a:spLocks noGrp="1"/>
          </p:cNvSpPr>
          <p:nvPr>
            <p:ph type="title"/>
          </p:nvPr>
        </p:nvSpPr>
        <p:spPr/>
        <p:txBody>
          <a:bodyPr/>
          <a:lstStyle/>
          <a:p>
            <a:r>
              <a:rPr lang="en-IN" dirty="0"/>
              <a:t>The Digital Data Design Institute at Harvard</a:t>
            </a:r>
          </a:p>
        </p:txBody>
      </p:sp>
      <p:sp>
        <p:nvSpPr>
          <p:cNvPr id="2" name="Rectangle 1">
            <a:extLst>
              <a:ext uri="{FF2B5EF4-FFF2-40B4-BE49-F238E27FC236}">
                <a16:creationId xmlns:a16="http://schemas.microsoft.com/office/drawing/2014/main" id="{BADA9C35-81EF-1177-AAFF-849FB6927DCF}"/>
              </a:ext>
            </a:extLst>
          </p:cNvPr>
          <p:cNvSpPr/>
          <p:nvPr/>
        </p:nvSpPr>
        <p:spPr>
          <a:xfrm>
            <a:off x="0" y="6353175"/>
            <a:ext cx="12192000" cy="720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Lora"/>
              <a:ea typeface="+mn-ea"/>
              <a:cs typeface="+mn-cs"/>
            </a:endParaRPr>
          </a:p>
        </p:txBody>
      </p:sp>
      <p:sp>
        <p:nvSpPr>
          <p:cNvPr id="1712" name="Footer Placeholder 3">
            <a:extLst>
              <a:ext uri="{FF2B5EF4-FFF2-40B4-BE49-F238E27FC236}">
                <a16:creationId xmlns:a16="http://schemas.microsoft.com/office/drawing/2014/main" id="{7F7B5D42-9038-2672-68A2-5D6391B99C94}"/>
              </a:ext>
            </a:extLst>
          </p:cNvPr>
          <p:cNvSpPr>
            <a:spLocks noGrp="1"/>
          </p:cNvSpPr>
          <p:nvPr>
            <p:ph type="ftr" sz="quarter" idx="11"/>
          </p:nvPr>
        </p:nvSpPr>
        <p:spPr>
          <a:xfrm>
            <a:off x="838200" y="6382299"/>
            <a:ext cx="403934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100" normalizeH="0" baseline="0" noProof="0">
                <a:ln>
                  <a:noFill/>
                </a:ln>
                <a:solidFill>
                  <a:srgbClr val="808284"/>
                </a:solidFill>
                <a:effectLst/>
                <a:uLnTx/>
                <a:uFillTx/>
                <a:latin typeface="Roboto  "/>
                <a:ea typeface="+mn-ea"/>
                <a:cs typeface="+mn-cs"/>
              </a:rPr>
              <a:t>DIGITAL DATA DESIGN INSTITUTE AT HARVARD</a:t>
            </a:r>
            <a:endParaRPr kumimoji="0" lang="en-GB" sz="800" b="0" i="0" u="none" strike="noStrike" kern="0" cap="none" spc="100" normalizeH="0" baseline="0" noProof="0" dirty="0">
              <a:ln>
                <a:noFill/>
              </a:ln>
              <a:solidFill>
                <a:srgbClr val="808284"/>
              </a:solidFill>
              <a:effectLst/>
              <a:uLnTx/>
              <a:uFillTx/>
              <a:latin typeface="Roboto  "/>
              <a:ea typeface="+mn-ea"/>
              <a:cs typeface="+mn-cs"/>
            </a:endParaRPr>
          </a:p>
        </p:txBody>
      </p:sp>
      <p:sp>
        <p:nvSpPr>
          <p:cNvPr id="1713" name="Slide Number Placeholder 4">
            <a:extLst>
              <a:ext uri="{FF2B5EF4-FFF2-40B4-BE49-F238E27FC236}">
                <a16:creationId xmlns:a16="http://schemas.microsoft.com/office/drawing/2014/main" id="{AFD0FD16-5684-9F64-C135-0A4B900120D9}"/>
              </a:ext>
            </a:extLst>
          </p:cNvPr>
          <p:cNvSpPr>
            <a:spLocks noGrp="1"/>
          </p:cNvSpPr>
          <p:nvPr>
            <p:ph type="sldNum" sz="quarter" idx="12"/>
          </p:nvPr>
        </p:nvSpPr>
        <p:spPr>
          <a:xfrm>
            <a:off x="334962" y="6382299"/>
            <a:ext cx="503237" cy="3651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53CDF2-F7F9-43E0-87CB-D85F6EEB53D6}" type="slidenum">
              <a:rPr kumimoji="0" lang="en-GB" sz="800" b="0" i="0" u="none" strike="noStrike" kern="1200" cap="none" spc="20" normalizeH="0" baseline="0" noProof="0" smtClean="0">
                <a:ln>
                  <a:noFill/>
                </a:ln>
                <a:solidFill>
                  <a:srgbClr val="808284"/>
                </a:solidFill>
                <a:effectLst/>
                <a:uLnTx/>
                <a:uFillTx/>
                <a:latin typeface="Roboto  "/>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800" b="0" i="0" u="none" strike="noStrike" kern="1200" cap="none" spc="20" normalizeH="0" baseline="0" noProof="0" dirty="0">
              <a:ln>
                <a:noFill/>
              </a:ln>
              <a:solidFill>
                <a:srgbClr val="808284"/>
              </a:solidFill>
              <a:effectLst/>
              <a:uLnTx/>
              <a:uFillTx/>
              <a:latin typeface="Roboto  "/>
              <a:ea typeface="+mn-ea"/>
              <a:cs typeface="+mn-cs"/>
            </a:endParaRPr>
          </a:p>
        </p:txBody>
      </p:sp>
    </p:spTree>
    <p:custDataLst>
      <p:tags r:id="rId1"/>
    </p:custDataLst>
    <p:extLst>
      <p:ext uri="{BB962C8B-B14F-4D97-AF65-F5344CB8AC3E}">
        <p14:creationId xmlns:p14="http://schemas.microsoft.com/office/powerpoint/2010/main" val="721234002"/>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 calcmode="lin" valueType="num">
                                          <p:cBhvr>
                                            <p:cTn id="7" dur="250" fill="hold"/>
                                            <p:tgtEl>
                                              <p:spTgt spid="11"/>
                                            </p:tgtEl>
                                            <p:attrNameLst>
                                              <p:attrName>ppt_w</p:attrName>
                                            </p:attrNameLst>
                                          </p:cBhvr>
                                          <p:tavLst>
                                            <p:tav tm="0">
                                              <p:val>
                                                <p:fltVal val="0"/>
                                              </p:val>
                                            </p:tav>
                                            <p:tav tm="100000">
                                              <p:val>
                                                <p:strVal val="#ppt_w"/>
                                              </p:val>
                                            </p:tav>
                                          </p:tavLst>
                                        </p:anim>
                                        <p:anim calcmode="lin" valueType="num">
                                          <p:cBhvr>
                                            <p:cTn id="8" dur="250" fill="hold"/>
                                            <p:tgtEl>
                                              <p:spTgt spid="11"/>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14:presetBounceEnd="99000">
                                      <p:stCondLst>
                                        <p:cond delay="500"/>
                                      </p:stCondLst>
                                      <p:childTnLst>
                                        <p:animScale p14:bounceEnd="99000">
                                          <p:cBhvr>
                                            <p:cTn id="10" dur="1000" fill="hold"/>
                                            <p:tgtEl>
                                              <p:spTgt spid="11"/>
                                            </p:tgtEl>
                                          </p:cBhvr>
                                          <p:by x="110000" y="110000"/>
                                        </p:animScale>
                                      </p:childTnLst>
                                    </p:cTn>
                                  </p:par>
                                  <p:par>
                                    <p:cTn id="11" presetID="23" presetClass="entr" presetSubtype="16" fill="hold" grpId="0" nodeType="withEffect">
                                      <p:stCondLst>
                                        <p:cond delay="500"/>
                                      </p:stCondLst>
                                      <p:childTnLst>
                                        <p:set>
                                          <p:cBhvr>
                                            <p:cTn id="12" dur="1" fill="hold">
                                              <p:stCondLst>
                                                <p:cond delay="0"/>
                                              </p:stCondLst>
                                            </p:cTn>
                                            <p:tgtEl>
                                              <p:spTgt spid="6"/>
                                            </p:tgtEl>
                                            <p:attrNameLst>
                                              <p:attrName>style.visibility</p:attrName>
                                            </p:attrNameLst>
                                          </p:cBhvr>
                                          <p:to>
                                            <p:strVal val="visible"/>
                                          </p:to>
                                        </p:set>
                                        <p:anim calcmode="lin" valueType="num">
                                          <p:cBhvr>
                                            <p:cTn id="13" dur="250" fill="hold"/>
                                            <p:tgtEl>
                                              <p:spTgt spid="6"/>
                                            </p:tgtEl>
                                            <p:attrNameLst>
                                              <p:attrName>ppt_w</p:attrName>
                                            </p:attrNameLst>
                                          </p:cBhvr>
                                          <p:tavLst>
                                            <p:tav tm="0">
                                              <p:val>
                                                <p:fltVal val="0"/>
                                              </p:val>
                                            </p:tav>
                                            <p:tav tm="100000">
                                              <p:val>
                                                <p:strVal val="#ppt_w"/>
                                              </p:val>
                                            </p:tav>
                                          </p:tavLst>
                                        </p:anim>
                                        <p:anim calcmode="lin" valueType="num">
                                          <p:cBhvr>
                                            <p:cTn id="14" dur="250" fill="hold"/>
                                            <p:tgtEl>
                                              <p:spTgt spid="6"/>
                                            </p:tgtEl>
                                            <p:attrNameLst>
                                              <p:attrName>ppt_h</p:attrName>
                                            </p:attrNameLst>
                                          </p:cBhvr>
                                          <p:tavLst>
                                            <p:tav tm="0">
                                              <p:val>
                                                <p:fltVal val="0"/>
                                              </p:val>
                                            </p:tav>
                                            <p:tav tm="100000">
                                              <p:val>
                                                <p:strVal val="#ppt_h"/>
                                              </p:val>
                                            </p:tav>
                                          </p:tavLst>
                                        </p:anim>
                                      </p:childTnLst>
                                    </p:cTn>
                                  </p:par>
                                  <p:par>
                                    <p:cTn id="15" presetID="6" presetClass="emph" presetSubtype="0" fill="hold" grpId="1" nodeType="withEffect" p14:presetBounceEnd="99000">
                                      <p:stCondLst>
                                        <p:cond delay="500"/>
                                      </p:stCondLst>
                                      <p:childTnLst>
                                        <p:animScale p14:bounceEnd="99000">
                                          <p:cBhvr>
                                            <p:cTn id="16" dur="1000" fill="hold"/>
                                            <p:tgtEl>
                                              <p:spTgt spid="6"/>
                                            </p:tgtEl>
                                          </p:cBhvr>
                                          <p:by x="110000" y="110000"/>
                                        </p:animScale>
                                      </p:childTnLst>
                                    </p:cTn>
                                  </p:par>
                                  <p:par>
                                    <p:cTn id="17" presetID="8" presetClass="emph" presetSubtype="0" decel="100000" fill="hold" grpId="2" nodeType="withEffect">
                                      <p:stCondLst>
                                        <p:cond delay="500"/>
                                      </p:stCondLst>
                                      <p:childTnLst>
                                        <p:animRot by="21600000">
                                          <p:cBhvr>
                                            <p:cTn id="18" dur="500" fill="hold"/>
                                            <p:tgtEl>
                                              <p:spTgt spid="6"/>
                                            </p:tgtEl>
                                            <p:attrNameLst>
                                              <p:attrName>r</p:attrName>
                                            </p:attrNameLst>
                                          </p:cBhvr>
                                        </p:animRot>
                                      </p:childTnLst>
                                    </p:cTn>
                                  </p:par>
                                  <p:par>
                                    <p:cTn id="19" presetID="6" presetClass="emph" presetSubtype="0" fill="hold" grpId="3" nodeType="withEffect">
                                      <p:stCondLst>
                                        <p:cond delay="500"/>
                                      </p:stCondLst>
                                      <p:childTnLst>
                                        <p:animScale>
                                          <p:cBhvr>
                                            <p:cTn id="20" dur="250" fill="hold"/>
                                            <p:tgtEl>
                                              <p:spTgt spid="6"/>
                                            </p:tgtEl>
                                          </p:cBhvr>
                                          <p:by x="91000" y="91000"/>
                                        </p:animScale>
                                      </p:childTnLst>
                                    </p:cTn>
                                  </p:par>
                                  <p:par>
                                    <p:cTn id="21" presetID="8" presetClass="emph" presetSubtype="0" decel="100000" fill="hold" grpId="2" nodeType="withEffect">
                                      <p:stCondLst>
                                        <p:cond delay="500"/>
                                      </p:stCondLst>
                                      <p:childTnLst>
                                        <p:animRot by="21600000">
                                          <p:cBhvr>
                                            <p:cTn id="22" dur="500" fill="hold"/>
                                            <p:tgtEl>
                                              <p:spTgt spid="11"/>
                                            </p:tgtEl>
                                            <p:attrNameLst>
                                              <p:attrName>r</p:attrName>
                                            </p:attrNameLst>
                                          </p:cBhvr>
                                        </p:animRot>
                                      </p:childTnLst>
                                    </p:cTn>
                                  </p:par>
                                  <p:par>
                                    <p:cTn id="23" presetID="6" presetClass="emph" presetSubtype="0" fill="hold" grpId="3" nodeType="withEffect">
                                      <p:stCondLst>
                                        <p:cond delay="500"/>
                                      </p:stCondLst>
                                      <p:childTnLst>
                                        <p:animScale>
                                          <p:cBhvr>
                                            <p:cTn id="24" dur="250" fill="hold"/>
                                            <p:tgtEl>
                                              <p:spTgt spid="11"/>
                                            </p:tgtEl>
                                          </p:cBhvr>
                                          <p:by x="91000" y="91000"/>
                                        </p:animScale>
                                      </p:childTnLst>
                                    </p:cTn>
                                  </p:par>
                                  <p:par>
                                    <p:cTn id="25" presetID="23" presetClass="entr" presetSubtype="16" fill="hold" nodeType="withEffect">
                                      <p:stCondLst>
                                        <p:cond delay="500"/>
                                      </p:stCondLst>
                                      <p:childTnLst>
                                        <p:set>
                                          <p:cBhvr>
                                            <p:cTn id="26" dur="1" fill="hold">
                                              <p:stCondLst>
                                                <p:cond delay="0"/>
                                              </p:stCondLst>
                                            </p:cTn>
                                            <p:tgtEl>
                                              <p:spTgt spid="8"/>
                                            </p:tgtEl>
                                            <p:attrNameLst>
                                              <p:attrName>style.visibility</p:attrName>
                                            </p:attrNameLst>
                                          </p:cBhvr>
                                          <p:to>
                                            <p:strVal val="visible"/>
                                          </p:to>
                                        </p:set>
                                        <p:anim calcmode="lin" valueType="num">
                                          <p:cBhvr>
                                            <p:cTn id="27" dur="250" fill="hold"/>
                                            <p:tgtEl>
                                              <p:spTgt spid="8"/>
                                            </p:tgtEl>
                                            <p:attrNameLst>
                                              <p:attrName>ppt_w</p:attrName>
                                            </p:attrNameLst>
                                          </p:cBhvr>
                                          <p:tavLst>
                                            <p:tav tm="0">
                                              <p:val>
                                                <p:fltVal val="0"/>
                                              </p:val>
                                            </p:tav>
                                            <p:tav tm="100000">
                                              <p:val>
                                                <p:strVal val="#ppt_w"/>
                                              </p:val>
                                            </p:tav>
                                          </p:tavLst>
                                        </p:anim>
                                        <p:anim calcmode="lin" valueType="num">
                                          <p:cBhvr>
                                            <p:cTn id="28" dur="250" fill="hold"/>
                                            <p:tgtEl>
                                              <p:spTgt spid="8"/>
                                            </p:tgtEl>
                                            <p:attrNameLst>
                                              <p:attrName>ppt_h</p:attrName>
                                            </p:attrNameLst>
                                          </p:cBhvr>
                                          <p:tavLst>
                                            <p:tav tm="0">
                                              <p:val>
                                                <p:fltVal val="0"/>
                                              </p:val>
                                            </p:tav>
                                            <p:tav tm="100000">
                                              <p:val>
                                                <p:strVal val="#ppt_h"/>
                                              </p:val>
                                            </p:tav>
                                          </p:tavLst>
                                        </p:anim>
                                      </p:childTnLst>
                                    </p:cTn>
                                  </p:par>
                                  <p:par>
                                    <p:cTn id="29" presetID="6" presetClass="emph" presetSubtype="0" fill="hold" nodeType="withEffect" p14:presetBounceEnd="99000">
                                      <p:stCondLst>
                                        <p:cond delay="500"/>
                                      </p:stCondLst>
                                      <p:childTnLst>
                                        <p:animScale p14:bounceEnd="99000">
                                          <p:cBhvr>
                                            <p:cTn id="30" dur="1000" fill="hold"/>
                                            <p:tgtEl>
                                              <p:spTgt spid="8"/>
                                            </p:tgtEl>
                                          </p:cBhvr>
                                          <p:by x="110000" y="110000"/>
                                        </p:animScale>
                                      </p:childTnLst>
                                    </p:cTn>
                                  </p:par>
                                  <p:par>
                                    <p:cTn id="31" presetID="8" presetClass="emph" presetSubtype="0" decel="100000" fill="hold" nodeType="withEffect">
                                      <p:stCondLst>
                                        <p:cond delay="500"/>
                                      </p:stCondLst>
                                      <p:childTnLst>
                                        <p:animRot by="21600000">
                                          <p:cBhvr>
                                            <p:cTn id="32" dur="500" fill="hold"/>
                                            <p:tgtEl>
                                              <p:spTgt spid="8"/>
                                            </p:tgtEl>
                                            <p:attrNameLst>
                                              <p:attrName>r</p:attrName>
                                            </p:attrNameLst>
                                          </p:cBhvr>
                                        </p:animRot>
                                      </p:childTnLst>
                                    </p:cTn>
                                  </p:par>
                                  <p:par>
                                    <p:cTn id="33" presetID="6" presetClass="emph" presetSubtype="0" fill="hold" nodeType="withEffect">
                                      <p:stCondLst>
                                        <p:cond delay="500"/>
                                      </p:stCondLst>
                                      <p:childTnLst>
                                        <p:animScale>
                                          <p:cBhvr>
                                            <p:cTn id="34" dur="250" fill="hold"/>
                                            <p:tgtEl>
                                              <p:spTgt spid="8"/>
                                            </p:tgtEl>
                                          </p:cBhvr>
                                          <p:by x="91000" y="91000"/>
                                        </p:animScale>
                                      </p:childTnLst>
                                    </p:cTn>
                                  </p:par>
                                  <p:par>
                                    <p:cTn id="35" presetID="23" presetClass="entr" presetSubtype="16" fill="hold" grpId="0" nodeType="withEffect">
                                      <p:stCondLst>
                                        <p:cond delay="500"/>
                                      </p:stCondLst>
                                      <p:childTnLst>
                                        <p:set>
                                          <p:cBhvr>
                                            <p:cTn id="36" dur="1" fill="hold">
                                              <p:stCondLst>
                                                <p:cond delay="0"/>
                                              </p:stCondLst>
                                            </p:cTn>
                                            <p:tgtEl>
                                              <p:spTgt spid="7"/>
                                            </p:tgtEl>
                                            <p:attrNameLst>
                                              <p:attrName>style.visibility</p:attrName>
                                            </p:attrNameLst>
                                          </p:cBhvr>
                                          <p:to>
                                            <p:strVal val="visible"/>
                                          </p:to>
                                        </p:set>
                                        <p:anim calcmode="lin" valueType="num">
                                          <p:cBhvr>
                                            <p:cTn id="37" dur="250" fill="hold"/>
                                            <p:tgtEl>
                                              <p:spTgt spid="7"/>
                                            </p:tgtEl>
                                            <p:attrNameLst>
                                              <p:attrName>ppt_w</p:attrName>
                                            </p:attrNameLst>
                                          </p:cBhvr>
                                          <p:tavLst>
                                            <p:tav tm="0">
                                              <p:val>
                                                <p:fltVal val="0"/>
                                              </p:val>
                                            </p:tav>
                                            <p:tav tm="100000">
                                              <p:val>
                                                <p:strVal val="#ppt_w"/>
                                              </p:val>
                                            </p:tav>
                                          </p:tavLst>
                                        </p:anim>
                                        <p:anim calcmode="lin" valueType="num">
                                          <p:cBhvr>
                                            <p:cTn id="38" dur="250" fill="hold"/>
                                            <p:tgtEl>
                                              <p:spTgt spid="7"/>
                                            </p:tgtEl>
                                            <p:attrNameLst>
                                              <p:attrName>ppt_h</p:attrName>
                                            </p:attrNameLst>
                                          </p:cBhvr>
                                          <p:tavLst>
                                            <p:tav tm="0">
                                              <p:val>
                                                <p:fltVal val="0"/>
                                              </p:val>
                                            </p:tav>
                                            <p:tav tm="100000">
                                              <p:val>
                                                <p:strVal val="#ppt_h"/>
                                              </p:val>
                                            </p:tav>
                                          </p:tavLst>
                                        </p:anim>
                                      </p:childTnLst>
                                    </p:cTn>
                                  </p:par>
                                  <p:par>
                                    <p:cTn id="39" presetID="6" presetClass="emph" presetSubtype="0" fill="hold" grpId="1" nodeType="withEffect" p14:presetBounceEnd="99000">
                                      <p:stCondLst>
                                        <p:cond delay="500"/>
                                      </p:stCondLst>
                                      <p:childTnLst>
                                        <p:animScale p14:bounceEnd="99000">
                                          <p:cBhvr>
                                            <p:cTn id="40" dur="1000" fill="hold"/>
                                            <p:tgtEl>
                                              <p:spTgt spid="7"/>
                                            </p:tgtEl>
                                          </p:cBhvr>
                                          <p:by x="110000" y="110000"/>
                                        </p:animScale>
                                      </p:childTnLst>
                                    </p:cTn>
                                  </p:par>
                                  <p:par>
                                    <p:cTn id="41" presetID="8" presetClass="emph" presetSubtype="0" decel="100000" fill="hold" grpId="2" nodeType="withEffect">
                                      <p:stCondLst>
                                        <p:cond delay="500"/>
                                      </p:stCondLst>
                                      <p:childTnLst>
                                        <p:animRot by="21600000">
                                          <p:cBhvr>
                                            <p:cTn id="42" dur="500" fill="hold"/>
                                            <p:tgtEl>
                                              <p:spTgt spid="7"/>
                                            </p:tgtEl>
                                            <p:attrNameLst>
                                              <p:attrName>r</p:attrName>
                                            </p:attrNameLst>
                                          </p:cBhvr>
                                        </p:animRot>
                                      </p:childTnLst>
                                    </p:cTn>
                                  </p:par>
                                  <p:par>
                                    <p:cTn id="43" presetID="6" presetClass="emph" presetSubtype="0" fill="hold" grpId="3" nodeType="withEffect">
                                      <p:stCondLst>
                                        <p:cond delay="500"/>
                                      </p:stCondLst>
                                      <p:childTnLst>
                                        <p:animScale>
                                          <p:cBhvr>
                                            <p:cTn id="44" dur="250" fill="hold"/>
                                            <p:tgtEl>
                                              <p:spTgt spid="7"/>
                                            </p:tgtEl>
                                          </p:cBhvr>
                                          <p:by x="91000" y="91000"/>
                                        </p:animScale>
                                      </p:childTnLst>
                                    </p:cTn>
                                  </p:par>
                                  <p:par>
                                    <p:cTn id="45" presetID="2" presetClass="entr" presetSubtype="4" decel="100000" fill="hold" nodeType="withEffect">
                                      <p:stCondLst>
                                        <p:cond delay="50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1000" fill="hold"/>
                                            <p:tgtEl>
                                              <p:spTgt spid="13"/>
                                            </p:tgtEl>
                                            <p:attrNameLst>
                                              <p:attrName>ppt_x</p:attrName>
                                            </p:attrNameLst>
                                          </p:cBhvr>
                                          <p:tavLst>
                                            <p:tav tm="0">
                                              <p:val>
                                                <p:strVal val="#ppt_x"/>
                                              </p:val>
                                            </p:tav>
                                            <p:tav tm="100000">
                                              <p:val>
                                                <p:strVal val="#ppt_x"/>
                                              </p:val>
                                            </p:tav>
                                          </p:tavLst>
                                        </p:anim>
                                        <p:anim calcmode="lin" valueType="num">
                                          <p:cBhvr additive="base">
                                            <p:cTn id="48" dur="1000" fill="hold"/>
                                            <p:tgtEl>
                                              <p:spTgt spid="13"/>
                                            </p:tgtEl>
                                            <p:attrNameLst>
                                              <p:attrName>ppt_y</p:attrName>
                                            </p:attrNameLst>
                                          </p:cBhvr>
                                          <p:tavLst>
                                            <p:tav tm="0">
                                              <p:val>
                                                <p:strVal val="1+#ppt_h/2"/>
                                              </p:val>
                                            </p:tav>
                                            <p:tav tm="100000">
                                              <p:val>
                                                <p:strVal val="#ppt_y"/>
                                              </p:val>
                                            </p:tav>
                                          </p:tavLst>
                                        </p:anim>
                                      </p:childTnLst>
                                    </p:cTn>
                                  </p:par>
                                </p:childTnLst>
                              </p:cTn>
                            </p:par>
                            <p:par>
                              <p:cTn id="49" fill="hold">
                                <p:stCondLst>
                                  <p:cond delay="1500"/>
                                </p:stCondLst>
                                <p:childTnLst>
                                  <p:par>
                                    <p:cTn id="50" presetID="23" presetClass="entr" presetSubtype="16" fill="hold" nodeType="afterEffect">
                                      <p:stCondLst>
                                        <p:cond delay="0"/>
                                      </p:stCondLst>
                                      <p:childTnLst>
                                        <p:set>
                                          <p:cBhvr>
                                            <p:cTn id="51" dur="1" fill="hold">
                                              <p:stCondLst>
                                                <p:cond delay="0"/>
                                              </p:stCondLst>
                                            </p:cTn>
                                            <p:tgtEl>
                                              <p:spTgt spid="30"/>
                                            </p:tgtEl>
                                            <p:attrNameLst>
                                              <p:attrName>style.visibility</p:attrName>
                                            </p:attrNameLst>
                                          </p:cBhvr>
                                          <p:to>
                                            <p:strVal val="visible"/>
                                          </p:to>
                                        </p:set>
                                        <p:anim calcmode="lin" valueType="num">
                                          <p:cBhvr>
                                            <p:cTn id="52" dur="250" fill="hold"/>
                                            <p:tgtEl>
                                              <p:spTgt spid="30"/>
                                            </p:tgtEl>
                                            <p:attrNameLst>
                                              <p:attrName>ppt_w</p:attrName>
                                            </p:attrNameLst>
                                          </p:cBhvr>
                                          <p:tavLst>
                                            <p:tav tm="0">
                                              <p:val>
                                                <p:fltVal val="0"/>
                                              </p:val>
                                            </p:tav>
                                            <p:tav tm="100000">
                                              <p:val>
                                                <p:strVal val="#ppt_w"/>
                                              </p:val>
                                            </p:tav>
                                          </p:tavLst>
                                        </p:anim>
                                        <p:anim calcmode="lin" valueType="num">
                                          <p:cBhvr>
                                            <p:cTn id="53" dur="250" fill="hold"/>
                                            <p:tgtEl>
                                              <p:spTgt spid="30"/>
                                            </p:tgtEl>
                                            <p:attrNameLst>
                                              <p:attrName>ppt_h</p:attrName>
                                            </p:attrNameLst>
                                          </p:cBhvr>
                                          <p:tavLst>
                                            <p:tav tm="0">
                                              <p:val>
                                                <p:fltVal val="0"/>
                                              </p:val>
                                            </p:tav>
                                            <p:tav tm="100000">
                                              <p:val>
                                                <p:strVal val="#ppt_h"/>
                                              </p:val>
                                            </p:tav>
                                          </p:tavLst>
                                        </p:anim>
                                      </p:childTnLst>
                                    </p:cTn>
                                  </p:par>
                                  <p:par>
                                    <p:cTn id="54" presetID="6" presetClass="emph" presetSubtype="0" fill="hold" nodeType="withEffect" p14:presetBounceEnd="99000">
                                      <p:stCondLst>
                                        <p:cond delay="0"/>
                                      </p:stCondLst>
                                      <p:childTnLst>
                                        <p:animScale p14:bounceEnd="99000">
                                          <p:cBhvr>
                                            <p:cTn id="55" dur="1000" fill="hold"/>
                                            <p:tgtEl>
                                              <p:spTgt spid="30"/>
                                            </p:tgtEl>
                                          </p:cBhvr>
                                          <p:by x="110000" y="110000"/>
                                        </p:animScale>
                                      </p:childTnLst>
                                    </p:cTn>
                                  </p:par>
                                  <p:par>
                                    <p:cTn id="56" presetID="8" presetClass="emph" presetSubtype="0" decel="100000" fill="hold" nodeType="withEffect">
                                      <p:stCondLst>
                                        <p:cond delay="0"/>
                                      </p:stCondLst>
                                      <p:childTnLst>
                                        <p:animRot by="21600000">
                                          <p:cBhvr>
                                            <p:cTn id="57" dur="500" fill="hold"/>
                                            <p:tgtEl>
                                              <p:spTgt spid="30"/>
                                            </p:tgtEl>
                                            <p:attrNameLst>
                                              <p:attrName>r</p:attrName>
                                            </p:attrNameLst>
                                          </p:cBhvr>
                                        </p:animRot>
                                      </p:childTnLst>
                                    </p:cTn>
                                  </p:par>
                                  <p:par>
                                    <p:cTn id="58" presetID="6" presetClass="emph" presetSubtype="0" fill="hold" nodeType="withEffect">
                                      <p:stCondLst>
                                        <p:cond delay="0"/>
                                      </p:stCondLst>
                                      <p:childTnLst>
                                        <p:animScale>
                                          <p:cBhvr>
                                            <p:cTn id="59" dur="250" fill="hold"/>
                                            <p:tgtEl>
                                              <p:spTgt spid="30"/>
                                            </p:tgtEl>
                                          </p:cBhvr>
                                          <p:by x="91000" y="91000"/>
                                        </p:animScale>
                                      </p:childTnLst>
                                    </p:cTn>
                                  </p:par>
                                  <p:par>
                                    <p:cTn id="60" presetID="10" presetClass="entr" presetSubtype="0" fill="hold" nodeType="with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250"/>
                                            <p:tgtEl>
                                              <p:spTgt spid="34"/>
                                            </p:tgtEl>
                                          </p:cBhvr>
                                        </p:animEffect>
                                      </p:childTnLst>
                                    </p:cTn>
                                  </p:par>
                                  <p:par>
                                    <p:cTn id="63" presetID="42" presetClass="path" presetSubtype="0" decel="100000" fill="hold" nodeType="withEffect">
                                      <p:stCondLst>
                                        <p:cond delay="0"/>
                                      </p:stCondLst>
                                      <p:childTnLst>
                                        <p:animMotion origin="layout" path="M -4.58333E-6 -0.03472 L -4.58333E-6 -4.81481E-6 " pathEditMode="relative" rAng="0" ptsTypes="AA">
                                          <p:cBhvr>
                                            <p:cTn id="64" dur="500" fill="hold"/>
                                            <p:tgtEl>
                                              <p:spTgt spid="34"/>
                                            </p:tgtEl>
                                            <p:attrNameLst>
                                              <p:attrName>ppt_x</p:attrName>
                                              <p:attrName>ppt_y</p:attrName>
                                            </p:attrNameLst>
                                          </p:cBhvr>
                                          <p:rCtr x="0" y="1736"/>
                                        </p:animMotion>
                                      </p:childTnLst>
                                    </p:cTn>
                                  </p:par>
                                  <p:par>
                                    <p:cTn id="65" presetID="23" presetClass="entr" presetSubtype="16" fill="hold" grpId="0" nodeType="withEffect">
                                      <p:stCondLst>
                                        <p:cond delay="0"/>
                                      </p:stCondLst>
                                      <p:childTnLst>
                                        <p:set>
                                          <p:cBhvr>
                                            <p:cTn id="66" dur="1" fill="hold">
                                              <p:stCondLst>
                                                <p:cond delay="0"/>
                                              </p:stCondLst>
                                            </p:cTn>
                                            <p:tgtEl>
                                              <p:spTgt spid="1618"/>
                                            </p:tgtEl>
                                            <p:attrNameLst>
                                              <p:attrName>style.visibility</p:attrName>
                                            </p:attrNameLst>
                                          </p:cBhvr>
                                          <p:to>
                                            <p:strVal val="visible"/>
                                          </p:to>
                                        </p:set>
                                        <p:anim calcmode="lin" valueType="num">
                                          <p:cBhvr>
                                            <p:cTn id="67" dur="250" fill="hold"/>
                                            <p:tgtEl>
                                              <p:spTgt spid="1618"/>
                                            </p:tgtEl>
                                            <p:attrNameLst>
                                              <p:attrName>ppt_w</p:attrName>
                                            </p:attrNameLst>
                                          </p:cBhvr>
                                          <p:tavLst>
                                            <p:tav tm="0">
                                              <p:val>
                                                <p:fltVal val="0"/>
                                              </p:val>
                                            </p:tav>
                                            <p:tav tm="100000">
                                              <p:val>
                                                <p:strVal val="#ppt_w"/>
                                              </p:val>
                                            </p:tav>
                                          </p:tavLst>
                                        </p:anim>
                                        <p:anim calcmode="lin" valueType="num">
                                          <p:cBhvr>
                                            <p:cTn id="68" dur="250" fill="hold"/>
                                            <p:tgtEl>
                                              <p:spTgt spid="1618"/>
                                            </p:tgtEl>
                                            <p:attrNameLst>
                                              <p:attrName>ppt_h</p:attrName>
                                            </p:attrNameLst>
                                          </p:cBhvr>
                                          <p:tavLst>
                                            <p:tav tm="0">
                                              <p:val>
                                                <p:fltVal val="0"/>
                                              </p:val>
                                            </p:tav>
                                            <p:tav tm="100000">
                                              <p:val>
                                                <p:strVal val="#ppt_h"/>
                                              </p:val>
                                            </p:tav>
                                          </p:tavLst>
                                        </p:anim>
                                      </p:childTnLst>
                                    </p:cTn>
                                  </p:par>
                                  <p:par>
                                    <p:cTn id="69" presetID="6" presetClass="emph" presetSubtype="0" accel="25000" decel="50000" autoRev="1" fill="hold" grpId="1" nodeType="withEffect">
                                      <p:stCondLst>
                                        <p:cond delay="150"/>
                                      </p:stCondLst>
                                      <p:childTnLst>
                                        <p:animScale>
                                          <p:cBhvr>
                                            <p:cTn id="70" dur="200" fill="hold"/>
                                            <p:tgtEl>
                                              <p:spTgt spid="1618"/>
                                            </p:tgtEl>
                                          </p:cBhvr>
                                          <p:by x="110000" y="110000"/>
                                        </p:animScale>
                                      </p:childTnLst>
                                    </p:cTn>
                                  </p:par>
                                </p:childTnLst>
                              </p:cTn>
                            </p:par>
                            <p:par>
                              <p:cTn id="71" fill="hold">
                                <p:stCondLst>
                                  <p:cond delay="2500"/>
                                </p:stCondLst>
                                <p:childTnLst>
                                  <p:par>
                                    <p:cTn id="72" presetID="10" presetClass="entr" presetSubtype="0" fill="hold" grpId="0" nodeType="afterEffect">
                                      <p:stCondLst>
                                        <p:cond delay="0"/>
                                      </p:stCondLst>
                                      <p:childTnLst>
                                        <p:set>
                                          <p:cBhvr>
                                            <p:cTn id="73" dur="1" fill="hold">
                                              <p:stCondLst>
                                                <p:cond delay="0"/>
                                              </p:stCondLst>
                                            </p:cTn>
                                            <p:tgtEl>
                                              <p:spTgt spid="17"/>
                                            </p:tgtEl>
                                            <p:attrNameLst>
                                              <p:attrName>style.visibility</p:attrName>
                                            </p:attrNameLst>
                                          </p:cBhvr>
                                          <p:to>
                                            <p:strVal val="visible"/>
                                          </p:to>
                                        </p:set>
                                        <p:animEffect transition="in" filter="fade">
                                          <p:cBhvr>
                                            <p:cTn id="74" dur="250"/>
                                            <p:tgtEl>
                                              <p:spTgt spid="17"/>
                                            </p:tgtEl>
                                          </p:cBhvr>
                                        </p:animEffect>
                                      </p:childTnLst>
                                    </p:cTn>
                                  </p:par>
                                  <p:par>
                                    <p:cTn id="75" presetID="42" presetClass="path" presetSubtype="0" decel="100000" fill="hold" grpId="1" nodeType="withEffect">
                                      <p:stCondLst>
                                        <p:cond delay="0"/>
                                      </p:stCondLst>
                                      <p:childTnLst>
                                        <p:animMotion origin="layout" path="M 0 -0.03472 L 0 -2.59259E-6 " pathEditMode="relative" rAng="0" ptsTypes="AA">
                                          <p:cBhvr>
                                            <p:cTn id="76" dur="500" fill="hold"/>
                                            <p:tgtEl>
                                              <p:spTgt spid="17"/>
                                            </p:tgtEl>
                                            <p:attrNameLst>
                                              <p:attrName>ppt_x</p:attrName>
                                              <p:attrName>ppt_y</p:attrName>
                                            </p:attrNameLst>
                                          </p:cBhvr>
                                          <p:rCtr x="0" y="1736"/>
                                        </p:animMotion>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18"/>
                                            </p:tgtEl>
                                            <p:attrNameLst>
                                              <p:attrName>style.visibility</p:attrName>
                                            </p:attrNameLst>
                                          </p:cBhvr>
                                          <p:to>
                                            <p:strVal val="visible"/>
                                          </p:to>
                                        </p:set>
                                        <p:animEffect transition="in" filter="fade">
                                          <p:cBhvr>
                                            <p:cTn id="81" dur="500"/>
                                            <p:tgtEl>
                                              <p:spTgt spid="1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2"/>
                                            </p:tgtEl>
                                            <p:attrNameLst>
                                              <p:attrName>style.visibility</p:attrName>
                                            </p:attrNameLst>
                                          </p:cBhvr>
                                          <p:to>
                                            <p:strVal val="visible"/>
                                          </p:to>
                                        </p:set>
                                        <p:animEffect transition="in" filter="fade">
                                          <p:cBhvr>
                                            <p:cTn id="84" dur="500"/>
                                            <p:tgtEl>
                                              <p:spTgt spid="12"/>
                                            </p:tgtEl>
                                          </p:cBhvr>
                                        </p:animEffect>
                                      </p:childTnLst>
                                    </p:cTn>
                                  </p:par>
                                  <p:par>
                                    <p:cTn id="85" presetID="23" presetClass="entr" presetSubtype="16" fill="hold" grpId="0" nodeType="withEffect">
                                      <p:stCondLst>
                                        <p:cond delay="500"/>
                                      </p:stCondLst>
                                      <p:childTnLst>
                                        <p:set>
                                          <p:cBhvr>
                                            <p:cTn id="86" dur="1" fill="hold">
                                              <p:stCondLst>
                                                <p:cond delay="0"/>
                                              </p:stCondLst>
                                            </p:cTn>
                                            <p:tgtEl>
                                              <p:spTgt spid="29"/>
                                            </p:tgtEl>
                                            <p:attrNameLst>
                                              <p:attrName>style.visibility</p:attrName>
                                            </p:attrNameLst>
                                          </p:cBhvr>
                                          <p:to>
                                            <p:strVal val="visible"/>
                                          </p:to>
                                        </p:set>
                                        <p:anim calcmode="lin" valueType="num">
                                          <p:cBhvr>
                                            <p:cTn id="87" dur="250" fill="hold"/>
                                            <p:tgtEl>
                                              <p:spTgt spid="29"/>
                                            </p:tgtEl>
                                            <p:attrNameLst>
                                              <p:attrName>ppt_w</p:attrName>
                                            </p:attrNameLst>
                                          </p:cBhvr>
                                          <p:tavLst>
                                            <p:tav tm="0">
                                              <p:val>
                                                <p:fltVal val="0"/>
                                              </p:val>
                                            </p:tav>
                                            <p:tav tm="100000">
                                              <p:val>
                                                <p:strVal val="#ppt_w"/>
                                              </p:val>
                                            </p:tav>
                                          </p:tavLst>
                                        </p:anim>
                                        <p:anim calcmode="lin" valueType="num">
                                          <p:cBhvr>
                                            <p:cTn id="88" dur="250" fill="hold"/>
                                            <p:tgtEl>
                                              <p:spTgt spid="29"/>
                                            </p:tgtEl>
                                            <p:attrNameLst>
                                              <p:attrName>ppt_h</p:attrName>
                                            </p:attrNameLst>
                                          </p:cBhvr>
                                          <p:tavLst>
                                            <p:tav tm="0">
                                              <p:val>
                                                <p:fltVal val="0"/>
                                              </p:val>
                                            </p:tav>
                                            <p:tav tm="100000">
                                              <p:val>
                                                <p:strVal val="#ppt_h"/>
                                              </p:val>
                                            </p:tav>
                                          </p:tavLst>
                                        </p:anim>
                                      </p:childTnLst>
                                    </p:cTn>
                                  </p:par>
                                  <p:par>
                                    <p:cTn id="89" presetID="6" presetClass="emph" presetSubtype="0" accel="25000" decel="50000" autoRev="1" fill="hold" grpId="1" nodeType="withEffect">
                                      <p:stCondLst>
                                        <p:cond delay="500"/>
                                      </p:stCondLst>
                                      <p:childTnLst>
                                        <p:animScale>
                                          <p:cBhvr>
                                            <p:cTn id="90" dur="200" fill="hold"/>
                                            <p:tgtEl>
                                              <p:spTgt spid="29"/>
                                            </p:tgtEl>
                                          </p:cBhvr>
                                          <p:by x="110000" y="110000"/>
                                        </p:animScale>
                                      </p:childTnLst>
                                    </p:cTn>
                                  </p:par>
                                  <p:par>
                                    <p:cTn id="91" presetID="10" presetClass="entr" presetSubtype="0" fill="hold" nodeType="withEffect">
                                      <p:stCondLst>
                                        <p:cond delay="500"/>
                                      </p:stCondLst>
                                      <p:childTnLst>
                                        <p:set>
                                          <p:cBhvr>
                                            <p:cTn id="92" dur="1" fill="hold">
                                              <p:stCondLst>
                                                <p:cond delay="0"/>
                                              </p:stCondLst>
                                            </p:cTn>
                                            <p:tgtEl>
                                              <p:spTgt spid="266"/>
                                            </p:tgtEl>
                                            <p:attrNameLst>
                                              <p:attrName>style.visibility</p:attrName>
                                            </p:attrNameLst>
                                          </p:cBhvr>
                                          <p:to>
                                            <p:strVal val="visible"/>
                                          </p:to>
                                        </p:set>
                                        <p:animEffect transition="in" filter="fade">
                                          <p:cBhvr>
                                            <p:cTn id="93" dur="500"/>
                                            <p:tgtEl>
                                              <p:spTgt spid="266"/>
                                            </p:tgtEl>
                                          </p:cBhvr>
                                        </p:animEffect>
                                      </p:childTnLst>
                                    </p:cTn>
                                  </p:par>
                                  <p:par>
                                    <p:cTn id="94" presetID="64" presetClass="path" presetSubtype="0" decel="100000" fill="hold" nodeType="withEffect">
                                      <p:stCondLst>
                                        <p:cond delay="500"/>
                                      </p:stCondLst>
                                      <p:childTnLst>
                                        <p:animMotion origin="layout" path="M -1.66667E-6 0.0699 L -1.66667E-6 4.44444E-6 " pathEditMode="relative" rAng="0" ptsTypes="AA">
                                          <p:cBhvr>
                                            <p:cTn id="95" dur="500" fill="hold"/>
                                            <p:tgtEl>
                                              <p:spTgt spid="266"/>
                                            </p:tgtEl>
                                            <p:attrNameLst>
                                              <p:attrName>ppt_x</p:attrName>
                                              <p:attrName>ppt_y</p:attrName>
                                            </p:attrNameLst>
                                          </p:cBhvr>
                                          <p:rCtr x="0" y="-3495"/>
                                        </p:animMotion>
                                      </p:childTnLst>
                                    </p:cTn>
                                  </p:par>
                                  <p:par>
                                    <p:cTn id="96" presetID="10" presetClass="entr" presetSubtype="0" fill="hold" nodeType="withEffect">
                                      <p:stCondLst>
                                        <p:cond delay="50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64" presetClass="path" presetSubtype="0" decel="100000" fill="hold" nodeType="withEffect">
                                      <p:stCondLst>
                                        <p:cond delay="500"/>
                                      </p:stCondLst>
                                      <p:childTnLst>
                                        <p:animMotion origin="layout" path="M 1.11022E-16 0.06991 L 1.11022E-16 7.40741E-7 " pathEditMode="relative" rAng="0" ptsTypes="AA">
                                          <p:cBhvr>
                                            <p:cTn id="100" dur="500" fill="hold"/>
                                            <p:tgtEl>
                                              <p:spTgt spid="37"/>
                                            </p:tgtEl>
                                            <p:attrNameLst>
                                              <p:attrName>ppt_x</p:attrName>
                                              <p:attrName>ppt_y</p:attrName>
                                            </p:attrNameLst>
                                          </p:cBhvr>
                                          <p:rCtr x="0" y="-3495"/>
                                        </p:animMotion>
                                      </p:childTnLst>
                                    </p:cTn>
                                  </p:par>
                                  <p:par>
                                    <p:cTn id="101" presetID="23" presetClass="entr" presetSubtype="16" fill="hold" grpId="0" nodeType="withEffect">
                                      <p:stCondLst>
                                        <p:cond delay="500"/>
                                      </p:stCondLst>
                                      <p:childTnLst>
                                        <p:set>
                                          <p:cBhvr>
                                            <p:cTn id="102" dur="1" fill="hold">
                                              <p:stCondLst>
                                                <p:cond delay="0"/>
                                              </p:stCondLst>
                                            </p:cTn>
                                            <p:tgtEl>
                                              <p:spTgt spid="28"/>
                                            </p:tgtEl>
                                            <p:attrNameLst>
                                              <p:attrName>style.visibility</p:attrName>
                                            </p:attrNameLst>
                                          </p:cBhvr>
                                          <p:to>
                                            <p:strVal val="visible"/>
                                          </p:to>
                                        </p:set>
                                        <p:anim calcmode="lin" valueType="num">
                                          <p:cBhvr>
                                            <p:cTn id="103" dur="250" fill="hold"/>
                                            <p:tgtEl>
                                              <p:spTgt spid="28"/>
                                            </p:tgtEl>
                                            <p:attrNameLst>
                                              <p:attrName>ppt_w</p:attrName>
                                            </p:attrNameLst>
                                          </p:cBhvr>
                                          <p:tavLst>
                                            <p:tav tm="0">
                                              <p:val>
                                                <p:fltVal val="0"/>
                                              </p:val>
                                            </p:tav>
                                            <p:tav tm="100000">
                                              <p:val>
                                                <p:strVal val="#ppt_w"/>
                                              </p:val>
                                            </p:tav>
                                          </p:tavLst>
                                        </p:anim>
                                        <p:anim calcmode="lin" valueType="num">
                                          <p:cBhvr>
                                            <p:cTn id="104" dur="250" fill="hold"/>
                                            <p:tgtEl>
                                              <p:spTgt spid="28"/>
                                            </p:tgtEl>
                                            <p:attrNameLst>
                                              <p:attrName>ppt_h</p:attrName>
                                            </p:attrNameLst>
                                          </p:cBhvr>
                                          <p:tavLst>
                                            <p:tav tm="0">
                                              <p:val>
                                                <p:fltVal val="0"/>
                                              </p:val>
                                            </p:tav>
                                            <p:tav tm="100000">
                                              <p:val>
                                                <p:strVal val="#ppt_h"/>
                                              </p:val>
                                            </p:tav>
                                          </p:tavLst>
                                        </p:anim>
                                      </p:childTnLst>
                                    </p:cTn>
                                  </p:par>
                                  <p:par>
                                    <p:cTn id="105" presetID="6" presetClass="emph" presetSubtype="0" accel="25000" decel="50000" autoRev="1" fill="hold" grpId="1" nodeType="withEffect">
                                      <p:stCondLst>
                                        <p:cond delay="500"/>
                                      </p:stCondLst>
                                      <p:childTnLst>
                                        <p:animScale>
                                          <p:cBhvr>
                                            <p:cTn id="106" dur="200" fill="hold"/>
                                            <p:tgtEl>
                                              <p:spTgt spid="28"/>
                                            </p:tgtEl>
                                          </p:cBhvr>
                                          <p:by x="110000" y="110000"/>
                                        </p:animScale>
                                      </p:childTnLst>
                                    </p:cTn>
                                  </p:par>
                                  <p:par>
                                    <p:cTn id="107" presetID="23" presetClass="entr" presetSubtype="16" fill="hold" grpId="0" nodeType="withEffect">
                                      <p:stCondLst>
                                        <p:cond delay="1000"/>
                                      </p:stCondLst>
                                      <p:childTnLst>
                                        <p:set>
                                          <p:cBhvr>
                                            <p:cTn id="108" dur="1" fill="hold">
                                              <p:stCondLst>
                                                <p:cond delay="0"/>
                                              </p:stCondLst>
                                            </p:cTn>
                                            <p:tgtEl>
                                              <p:spTgt spid="1619"/>
                                            </p:tgtEl>
                                            <p:attrNameLst>
                                              <p:attrName>style.visibility</p:attrName>
                                            </p:attrNameLst>
                                          </p:cBhvr>
                                          <p:to>
                                            <p:strVal val="visible"/>
                                          </p:to>
                                        </p:set>
                                        <p:anim calcmode="lin" valueType="num">
                                          <p:cBhvr>
                                            <p:cTn id="109" dur="250" fill="hold"/>
                                            <p:tgtEl>
                                              <p:spTgt spid="1619"/>
                                            </p:tgtEl>
                                            <p:attrNameLst>
                                              <p:attrName>ppt_w</p:attrName>
                                            </p:attrNameLst>
                                          </p:cBhvr>
                                          <p:tavLst>
                                            <p:tav tm="0">
                                              <p:val>
                                                <p:fltVal val="0"/>
                                              </p:val>
                                            </p:tav>
                                            <p:tav tm="100000">
                                              <p:val>
                                                <p:strVal val="#ppt_w"/>
                                              </p:val>
                                            </p:tav>
                                          </p:tavLst>
                                        </p:anim>
                                        <p:anim calcmode="lin" valueType="num">
                                          <p:cBhvr>
                                            <p:cTn id="110" dur="250" fill="hold"/>
                                            <p:tgtEl>
                                              <p:spTgt spid="1619"/>
                                            </p:tgtEl>
                                            <p:attrNameLst>
                                              <p:attrName>ppt_h</p:attrName>
                                            </p:attrNameLst>
                                          </p:cBhvr>
                                          <p:tavLst>
                                            <p:tav tm="0">
                                              <p:val>
                                                <p:fltVal val="0"/>
                                              </p:val>
                                            </p:tav>
                                            <p:tav tm="100000">
                                              <p:val>
                                                <p:strVal val="#ppt_h"/>
                                              </p:val>
                                            </p:tav>
                                          </p:tavLst>
                                        </p:anim>
                                      </p:childTnLst>
                                    </p:cTn>
                                  </p:par>
                                  <p:par>
                                    <p:cTn id="111" presetID="6" presetClass="emph" presetSubtype="0" accel="25000" decel="50000" autoRev="1" fill="hold" grpId="1" nodeType="withEffect">
                                      <p:stCondLst>
                                        <p:cond delay="1000"/>
                                      </p:stCondLst>
                                      <p:childTnLst>
                                        <p:animScale>
                                          <p:cBhvr>
                                            <p:cTn id="112" dur="200" fill="hold"/>
                                            <p:tgtEl>
                                              <p:spTgt spid="1619"/>
                                            </p:tgtEl>
                                          </p:cBhvr>
                                          <p:by x="110000" y="110000"/>
                                        </p:animScale>
                                      </p:childTnLst>
                                    </p:cTn>
                                  </p:par>
                                  <p:par>
                                    <p:cTn id="113" presetID="10" presetClass="entr" presetSubtype="0" fill="hold" nodeType="withEffect">
                                      <p:stCondLst>
                                        <p:cond delay="0"/>
                                      </p:stCondLst>
                                      <p:childTnLst>
                                        <p:set>
                                          <p:cBhvr>
                                            <p:cTn id="114" dur="1" fill="hold">
                                              <p:stCondLst>
                                                <p:cond delay="0"/>
                                              </p:stCondLst>
                                            </p:cTn>
                                            <p:tgtEl>
                                              <p:spTgt spid="1608"/>
                                            </p:tgtEl>
                                            <p:attrNameLst>
                                              <p:attrName>style.visibility</p:attrName>
                                            </p:attrNameLst>
                                          </p:cBhvr>
                                          <p:to>
                                            <p:strVal val="visible"/>
                                          </p:to>
                                        </p:set>
                                        <p:animEffect transition="in" filter="fade">
                                          <p:cBhvr>
                                            <p:cTn id="115" dur="500"/>
                                            <p:tgtEl>
                                              <p:spTgt spid="1608"/>
                                            </p:tgtEl>
                                          </p:cBhvr>
                                        </p:animEffect>
                                      </p:childTnLst>
                                    </p:cTn>
                                  </p:par>
                                  <p:par>
                                    <p:cTn id="116" presetID="64" presetClass="path" presetSubtype="0" decel="100000" fill="hold" nodeType="withEffect">
                                      <p:stCondLst>
                                        <p:cond delay="0"/>
                                      </p:stCondLst>
                                      <p:childTnLst>
                                        <p:animMotion origin="layout" path="M -1.04167E-6 0.06991 L -1.04167E-6 2.22222E-6 " pathEditMode="relative" rAng="0" ptsTypes="AA">
                                          <p:cBhvr>
                                            <p:cTn id="117" dur="500" fill="hold"/>
                                            <p:tgtEl>
                                              <p:spTgt spid="1608"/>
                                            </p:tgtEl>
                                            <p:attrNameLst>
                                              <p:attrName>ppt_x</p:attrName>
                                              <p:attrName>ppt_y</p:attrName>
                                            </p:attrNameLst>
                                          </p:cBhvr>
                                          <p:rCtr x="0" y="-3495"/>
                                        </p:animMotion>
                                      </p:childTnLst>
                                    </p:cTn>
                                  </p:par>
                                  <p:par>
                                    <p:cTn id="118" presetID="23" presetClass="entr" presetSubtype="16" fill="hold" nodeType="withEffect">
                                      <p:stCondLst>
                                        <p:cond delay="0"/>
                                      </p:stCondLst>
                                      <p:childTnLst>
                                        <p:set>
                                          <p:cBhvr>
                                            <p:cTn id="119" dur="1" fill="hold">
                                              <p:stCondLst>
                                                <p:cond delay="0"/>
                                              </p:stCondLst>
                                            </p:cTn>
                                            <p:tgtEl>
                                              <p:spTgt spid="1621"/>
                                            </p:tgtEl>
                                            <p:attrNameLst>
                                              <p:attrName>style.visibility</p:attrName>
                                            </p:attrNameLst>
                                          </p:cBhvr>
                                          <p:to>
                                            <p:strVal val="visible"/>
                                          </p:to>
                                        </p:set>
                                        <p:anim calcmode="lin" valueType="num">
                                          <p:cBhvr>
                                            <p:cTn id="120" dur="250" fill="hold"/>
                                            <p:tgtEl>
                                              <p:spTgt spid="1621"/>
                                            </p:tgtEl>
                                            <p:attrNameLst>
                                              <p:attrName>ppt_w</p:attrName>
                                            </p:attrNameLst>
                                          </p:cBhvr>
                                          <p:tavLst>
                                            <p:tav tm="0">
                                              <p:val>
                                                <p:fltVal val="0"/>
                                              </p:val>
                                            </p:tav>
                                            <p:tav tm="100000">
                                              <p:val>
                                                <p:strVal val="#ppt_w"/>
                                              </p:val>
                                            </p:tav>
                                          </p:tavLst>
                                        </p:anim>
                                        <p:anim calcmode="lin" valueType="num">
                                          <p:cBhvr>
                                            <p:cTn id="121" dur="250" fill="hold"/>
                                            <p:tgtEl>
                                              <p:spTgt spid="1621"/>
                                            </p:tgtEl>
                                            <p:attrNameLst>
                                              <p:attrName>ppt_h</p:attrName>
                                            </p:attrNameLst>
                                          </p:cBhvr>
                                          <p:tavLst>
                                            <p:tav tm="0">
                                              <p:val>
                                                <p:fltVal val="0"/>
                                              </p:val>
                                            </p:tav>
                                            <p:tav tm="100000">
                                              <p:val>
                                                <p:strVal val="#ppt_h"/>
                                              </p:val>
                                            </p:tav>
                                          </p:tavLst>
                                        </p:anim>
                                      </p:childTnLst>
                                    </p:cTn>
                                  </p:par>
                                  <p:par>
                                    <p:cTn id="122" presetID="6" presetClass="emph" presetSubtype="0" fill="hold" nodeType="withEffect" p14:presetBounceEnd="49500">
                                      <p:stCondLst>
                                        <p:cond delay="0"/>
                                      </p:stCondLst>
                                      <p:childTnLst>
                                        <p:animScale p14:bounceEnd="49500">
                                          <p:cBhvr>
                                            <p:cTn id="123" dur="1000" fill="hold"/>
                                            <p:tgtEl>
                                              <p:spTgt spid="1621"/>
                                            </p:tgtEl>
                                          </p:cBhvr>
                                          <p:by x="110000" y="110000"/>
                                        </p:animScale>
                                      </p:childTnLst>
                                    </p:cTn>
                                  </p:par>
                                  <p:par>
                                    <p:cTn id="124" presetID="8" presetClass="emph" presetSubtype="0" decel="100000" fill="hold" nodeType="withEffect">
                                      <p:stCondLst>
                                        <p:cond delay="0"/>
                                      </p:stCondLst>
                                      <p:childTnLst>
                                        <p:animRot by="21600000">
                                          <p:cBhvr>
                                            <p:cTn id="125" dur="500" fill="hold"/>
                                            <p:tgtEl>
                                              <p:spTgt spid="1621"/>
                                            </p:tgtEl>
                                            <p:attrNameLst>
                                              <p:attrName>r</p:attrName>
                                            </p:attrNameLst>
                                          </p:cBhvr>
                                        </p:animRot>
                                      </p:childTnLst>
                                    </p:cTn>
                                  </p:par>
                                  <p:par>
                                    <p:cTn id="126" presetID="6" presetClass="emph" presetSubtype="0" fill="hold" nodeType="withEffect">
                                      <p:stCondLst>
                                        <p:cond delay="0"/>
                                      </p:stCondLst>
                                      <p:childTnLst>
                                        <p:animScale>
                                          <p:cBhvr>
                                            <p:cTn id="127" dur="250" fill="hold"/>
                                            <p:tgtEl>
                                              <p:spTgt spid="1621"/>
                                            </p:tgtEl>
                                          </p:cBhvr>
                                          <p:by x="91000" y="91000"/>
                                        </p:animScale>
                                      </p:childTnLst>
                                    </p:cTn>
                                  </p:par>
                                  <p:par>
                                    <p:cTn id="128" presetID="23" presetClass="entr" presetSubtype="16" fill="hold" grpId="0" nodeType="withEffect">
                                      <p:stCondLst>
                                        <p:cond delay="1000"/>
                                      </p:stCondLst>
                                      <p:childTnLst>
                                        <p:set>
                                          <p:cBhvr>
                                            <p:cTn id="129" dur="1" fill="hold">
                                              <p:stCondLst>
                                                <p:cond delay="0"/>
                                              </p:stCondLst>
                                            </p:cTn>
                                            <p:tgtEl>
                                              <p:spTgt spid="1620"/>
                                            </p:tgtEl>
                                            <p:attrNameLst>
                                              <p:attrName>style.visibility</p:attrName>
                                            </p:attrNameLst>
                                          </p:cBhvr>
                                          <p:to>
                                            <p:strVal val="visible"/>
                                          </p:to>
                                        </p:set>
                                        <p:anim calcmode="lin" valueType="num">
                                          <p:cBhvr>
                                            <p:cTn id="130" dur="250" fill="hold"/>
                                            <p:tgtEl>
                                              <p:spTgt spid="1620"/>
                                            </p:tgtEl>
                                            <p:attrNameLst>
                                              <p:attrName>ppt_w</p:attrName>
                                            </p:attrNameLst>
                                          </p:cBhvr>
                                          <p:tavLst>
                                            <p:tav tm="0">
                                              <p:val>
                                                <p:fltVal val="0"/>
                                              </p:val>
                                            </p:tav>
                                            <p:tav tm="100000">
                                              <p:val>
                                                <p:strVal val="#ppt_w"/>
                                              </p:val>
                                            </p:tav>
                                          </p:tavLst>
                                        </p:anim>
                                        <p:anim calcmode="lin" valueType="num">
                                          <p:cBhvr>
                                            <p:cTn id="131" dur="250" fill="hold"/>
                                            <p:tgtEl>
                                              <p:spTgt spid="1620"/>
                                            </p:tgtEl>
                                            <p:attrNameLst>
                                              <p:attrName>ppt_h</p:attrName>
                                            </p:attrNameLst>
                                          </p:cBhvr>
                                          <p:tavLst>
                                            <p:tav tm="0">
                                              <p:val>
                                                <p:fltVal val="0"/>
                                              </p:val>
                                            </p:tav>
                                            <p:tav tm="100000">
                                              <p:val>
                                                <p:strVal val="#ppt_h"/>
                                              </p:val>
                                            </p:tav>
                                          </p:tavLst>
                                        </p:anim>
                                      </p:childTnLst>
                                    </p:cTn>
                                  </p:par>
                                  <p:par>
                                    <p:cTn id="132" presetID="6" presetClass="emph" presetSubtype="0" accel="25000" decel="50000" autoRev="1" fill="hold" grpId="1" nodeType="withEffect">
                                      <p:stCondLst>
                                        <p:cond delay="1000"/>
                                      </p:stCondLst>
                                      <p:childTnLst>
                                        <p:animScale>
                                          <p:cBhvr>
                                            <p:cTn id="133" dur="200" fill="hold"/>
                                            <p:tgtEl>
                                              <p:spTgt spid="1620"/>
                                            </p:tgtEl>
                                          </p:cBhvr>
                                          <p:by x="110000" y="110000"/>
                                        </p:animScale>
                                      </p:childTnLst>
                                    </p:cTn>
                                  </p:par>
                                  <p:par>
                                    <p:cTn id="134" presetID="23" presetClass="entr" presetSubtype="16" fill="hold" nodeType="withEffect">
                                      <p:stCondLst>
                                        <p:cond delay="1000"/>
                                      </p:stCondLst>
                                      <p:childTnLst>
                                        <p:set>
                                          <p:cBhvr>
                                            <p:cTn id="135" dur="1" fill="hold">
                                              <p:stCondLst>
                                                <p:cond delay="0"/>
                                              </p:stCondLst>
                                            </p:cTn>
                                            <p:tgtEl>
                                              <p:spTgt spid="1695"/>
                                            </p:tgtEl>
                                            <p:attrNameLst>
                                              <p:attrName>style.visibility</p:attrName>
                                            </p:attrNameLst>
                                          </p:cBhvr>
                                          <p:to>
                                            <p:strVal val="visible"/>
                                          </p:to>
                                        </p:set>
                                        <p:anim calcmode="lin" valueType="num">
                                          <p:cBhvr>
                                            <p:cTn id="136" dur="250" fill="hold"/>
                                            <p:tgtEl>
                                              <p:spTgt spid="1695"/>
                                            </p:tgtEl>
                                            <p:attrNameLst>
                                              <p:attrName>ppt_w</p:attrName>
                                            </p:attrNameLst>
                                          </p:cBhvr>
                                          <p:tavLst>
                                            <p:tav tm="0">
                                              <p:val>
                                                <p:fltVal val="0"/>
                                              </p:val>
                                            </p:tav>
                                            <p:tav tm="100000">
                                              <p:val>
                                                <p:strVal val="#ppt_w"/>
                                              </p:val>
                                            </p:tav>
                                          </p:tavLst>
                                        </p:anim>
                                        <p:anim calcmode="lin" valueType="num">
                                          <p:cBhvr>
                                            <p:cTn id="137" dur="250" fill="hold"/>
                                            <p:tgtEl>
                                              <p:spTgt spid="1695"/>
                                            </p:tgtEl>
                                            <p:attrNameLst>
                                              <p:attrName>ppt_h</p:attrName>
                                            </p:attrNameLst>
                                          </p:cBhvr>
                                          <p:tavLst>
                                            <p:tav tm="0">
                                              <p:val>
                                                <p:fltVal val="0"/>
                                              </p:val>
                                            </p:tav>
                                            <p:tav tm="100000">
                                              <p:val>
                                                <p:strVal val="#ppt_h"/>
                                              </p:val>
                                            </p:tav>
                                          </p:tavLst>
                                        </p:anim>
                                      </p:childTnLst>
                                    </p:cTn>
                                  </p:par>
                                  <p:par>
                                    <p:cTn id="138" presetID="6" presetClass="emph" presetSubtype="0" fill="hold" nodeType="withEffect" p14:presetBounceEnd="99000">
                                      <p:stCondLst>
                                        <p:cond delay="1000"/>
                                      </p:stCondLst>
                                      <p:childTnLst>
                                        <p:animScale p14:bounceEnd="99000">
                                          <p:cBhvr>
                                            <p:cTn id="139" dur="1000" fill="hold"/>
                                            <p:tgtEl>
                                              <p:spTgt spid="1695"/>
                                            </p:tgtEl>
                                          </p:cBhvr>
                                          <p:by x="110000" y="110000"/>
                                        </p:animScale>
                                      </p:childTnLst>
                                    </p:cTn>
                                  </p:par>
                                  <p:par>
                                    <p:cTn id="140" presetID="6" presetClass="emph" presetSubtype="0" fill="hold" nodeType="withEffect">
                                      <p:stCondLst>
                                        <p:cond delay="1000"/>
                                      </p:stCondLst>
                                      <p:childTnLst>
                                        <p:animScale>
                                          <p:cBhvr>
                                            <p:cTn id="141" dur="250" fill="hold"/>
                                            <p:tgtEl>
                                              <p:spTgt spid="1695"/>
                                            </p:tgtEl>
                                          </p:cBhvr>
                                          <p:by x="91000" y="91000"/>
                                        </p:animScale>
                                      </p:childTnLst>
                                    </p:cTn>
                                  </p:par>
                                  <p:par>
                                    <p:cTn id="142" presetID="23" presetClass="entr" presetSubtype="16" fill="hold" nodeType="withEffect">
                                      <p:stCondLst>
                                        <p:cond delay="1000"/>
                                      </p:stCondLst>
                                      <p:childTnLst>
                                        <p:set>
                                          <p:cBhvr>
                                            <p:cTn id="143" dur="1" fill="hold">
                                              <p:stCondLst>
                                                <p:cond delay="0"/>
                                              </p:stCondLst>
                                            </p:cTn>
                                            <p:tgtEl>
                                              <p:spTgt spid="1626"/>
                                            </p:tgtEl>
                                            <p:attrNameLst>
                                              <p:attrName>style.visibility</p:attrName>
                                            </p:attrNameLst>
                                          </p:cBhvr>
                                          <p:to>
                                            <p:strVal val="visible"/>
                                          </p:to>
                                        </p:set>
                                        <p:anim calcmode="lin" valueType="num">
                                          <p:cBhvr>
                                            <p:cTn id="144" dur="250" fill="hold"/>
                                            <p:tgtEl>
                                              <p:spTgt spid="1626"/>
                                            </p:tgtEl>
                                            <p:attrNameLst>
                                              <p:attrName>ppt_w</p:attrName>
                                            </p:attrNameLst>
                                          </p:cBhvr>
                                          <p:tavLst>
                                            <p:tav tm="0">
                                              <p:val>
                                                <p:fltVal val="0"/>
                                              </p:val>
                                            </p:tav>
                                            <p:tav tm="100000">
                                              <p:val>
                                                <p:strVal val="#ppt_w"/>
                                              </p:val>
                                            </p:tav>
                                          </p:tavLst>
                                        </p:anim>
                                        <p:anim calcmode="lin" valueType="num">
                                          <p:cBhvr>
                                            <p:cTn id="145" dur="250" fill="hold"/>
                                            <p:tgtEl>
                                              <p:spTgt spid="1626"/>
                                            </p:tgtEl>
                                            <p:attrNameLst>
                                              <p:attrName>ppt_h</p:attrName>
                                            </p:attrNameLst>
                                          </p:cBhvr>
                                          <p:tavLst>
                                            <p:tav tm="0">
                                              <p:val>
                                                <p:fltVal val="0"/>
                                              </p:val>
                                            </p:tav>
                                            <p:tav tm="100000">
                                              <p:val>
                                                <p:strVal val="#ppt_h"/>
                                              </p:val>
                                            </p:tav>
                                          </p:tavLst>
                                        </p:anim>
                                      </p:childTnLst>
                                    </p:cTn>
                                  </p:par>
                                  <p:par>
                                    <p:cTn id="146" presetID="6" presetClass="emph" presetSubtype="0" fill="hold" nodeType="withEffect" p14:presetBounceEnd="99000">
                                      <p:stCondLst>
                                        <p:cond delay="1000"/>
                                      </p:stCondLst>
                                      <p:childTnLst>
                                        <p:animScale p14:bounceEnd="99000">
                                          <p:cBhvr>
                                            <p:cTn id="147" dur="1000" fill="hold"/>
                                            <p:tgtEl>
                                              <p:spTgt spid="1626"/>
                                            </p:tgtEl>
                                          </p:cBhvr>
                                          <p:by x="110000" y="110000"/>
                                        </p:animScale>
                                      </p:childTnLst>
                                    </p:cTn>
                                  </p:par>
                                  <p:par>
                                    <p:cTn id="148" presetID="6" presetClass="emph" presetSubtype="0" fill="hold" nodeType="withEffect">
                                      <p:stCondLst>
                                        <p:cond delay="1000"/>
                                      </p:stCondLst>
                                      <p:childTnLst>
                                        <p:animScale>
                                          <p:cBhvr>
                                            <p:cTn id="149" dur="250" fill="hold"/>
                                            <p:tgtEl>
                                              <p:spTgt spid="1626"/>
                                            </p:tgtEl>
                                          </p:cBhvr>
                                          <p:by x="91000" y="91000"/>
                                        </p:animScale>
                                      </p:childTnLst>
                                    </p:cTn>
                                  </p:par>
                                  <p:par>
                                    <p:cTn id="150" presetID="23" presetClass="entr" presetSubtype="16" fill="hold" grpId="0" nodeType="withEffect">
                                      <p:stCondLst>
                                        <p:cond delay="0"/>
                                      </p:stCondLst>
                                      <p:childTnLst>
                                        <p:set>
                                          <p:cBhvr>
                                            <p:cTn id="151" dur="1" fill="hold">
                                              <p:stCondLst>
                                                <p:cond delay="0"/>
                                              </p:stCondLst>
                                            </p:cTn>
                                            <p:tgtEl>
                                              <p:spTgt spid="26"/>
                                            </p:tgtEl>
                                            <p:attrNameLst>
                                              <p:attrName>style.visibility</p:attrName>
                                            </p:attrNameLst>
                                          </p:cBhvr>
                                          <p:to>
                                            <p:strVal val="visible"/>
                                          </p:to>
                                        </p:set>
                                        <p:anim calcmode="lin" valueType="num">
                                          <p:cBhvr>
                                            <p:cTn id="152" dur="250" fill="hold"/>
                                            <p:tgtEl>
                                              <p:spTgt spid="26"/>
                                            </p:tgtEl>
                                            <p:attrNameLst>
                                              <p:attrName>ppt_w</p:attrName>
                                            </p:attrNameLst>
                                          </p:cBhvr>
                                          <p:tavLst>
                                            <p:tav tm="0">
                                              <p:val>
                                                <p:fltVal val="0"/>
                                              </p:val>
                                            </p:tav>
                                            <p:tav tm="100000">
                                              <p:val>
                                                <p:strVal val="#ppt_w"/>
                                              </p:val>
                                            </p:tav>
                                          </p:tavLst>
                                        </p:anim>
                                        <p:anim calcmode="lin" valueType="num">
                                          <p:cBhvr>
                                            <p:cTn id="153" dur="250" fill="hold"/>
                                            <p:tgtEl>
                                              <p:spTgt spid="26"/>
                                            </p:tgtEl>
                                            <p:attrNameLst>
                                              <p:attrName>ppt_h</p:attrName>
                                            </p:attrNameLst>
                                          </p:cBhvr>
                                          <p:tavLst>
                                            <p:tav tm="0">
                                              <p:val>
                                                <p:fltVal val="0"/>
                                              </p:val>
                                            </p:tav>
                                            <p:tav tm="100000">
                                              <p:val>
                                                <p:strVal val="#ppt_h"/>
                                              </p:val>
                                            </p:tav>
                                          </p:tavLst>
                                        </p:anim>
                                      </p:childTnLst>
                                    </p:cTn>
                                  </p:par>
                                  <p:par>
                                    <p:cTn id="154" presetID="6" presetClass="emph" presetSubtype="0" accel="25000" decel="50000" autoRev="1" fill="hold" grpId="1" nodeType="withEffect">
                                      <p:stCondLst>
                                        <p:cond delay="0"/>
                                      </p:stCondLst>
                                      <p:childTnLst>
                                        <p:animScale>
                                          <p:cBhvr>
                                            <p:cTn id="155" dur="200" fill="hold"/>
                                            <p:tgtEl>
                                              <p:spTgt spid="26"/>
                                            </p:tgtEl>
                                          </p:cBhvr>
                                          <p:by x="110000" y="110000"/>
                                        </p:animScale>
                                      </p:childTnLst>
                                    </p:cTn>
                                  </p:par>
                                  <p:par>
                                    <p:cTn id="156" presetID="23" presetClass="entr" presetSubtype="16" fill="hold" grpId="0" nodeType="withEffect">
                                      <p:stCondLst>
                                        <p:cond delay="1500"/>
                                      </p:stCondLst>
                                      <p:childTnLst>
                                        <p:set>
                                          <p:cBhvr>
                                            <p:cTn id="157" dur="1" fill="hold">
                                              <p:stCondLst>
                                                <p:cond delay="0"/>
                                              </p:stCondLst>
                                            </p:cTn>
                                            <p:tgtEl>
                                              <p:spTgt spid="25"/>
                                            </p:tgtEl>
                                            <p:attrNameLst>
                                              <p:attrName>style.visibility</p:attrName>
                                            </p:attrNameLst>
                                          </p:cBhvr>
                                          <p:to>
                                            <p:strVal val="visible"/>
                                          </p:to>
                                        </p:set>
                                        <p:anim calcmode="lin" valueType="num">
                                          <p:cBhvr>
                                            <p:cTn id="158" dur="250" fill="hold"/>
                                            <p:tgtEl>
                                              <p:spTgt spid="25"/>
                                            </p:tgtEl>
                                            <p:attrNameLst>
                                              <p:attrName>ppt_w</p:attrName>
                                            </p:attrNameLst>
                                          </p:cBhvr>
                                          <p:tavLst>
                                            <p:tav tm="0">
                                              <p:val>
                                                <p:fltVal val="0"/>
                                              </p:val>
                                            </p:tav>
                                            <p:tav tm="100000">
                                              <p:val>
                                                <p:strVal val="#ppt_w"/>
                                              </p:val>
                                            </p:tav>
                                          </p:tavLst>
                                        </p:anim>
                                        <p:anim calcmode="lin" valueType="num">
                                          <p:cBhvr>
                                            <p:cTn id="159" dur="250" fill="hold"/>
                                            <p:tgtEl>
                                              <p:spTgt spid="25"/>
                                            </p:tgtEl>
                                            <p:attrNameLst>
                                              <p:attrName>ppt_h</p:attrName>
                                            </p:attrNameLst>
                                          </p:cBhvr>
                                          <p:tavLst>
                                            <p:tav tm="0">
                                              <p:val>
                                                <p:fltVal val="0"/>
                                              </p:val>
                                            </p:tav>
                                            <p:tav tm="100000">
                                              <p:val>
                                                <p:strVal val="#ppt_h"/>
                                              </p:val>
                                            </p:tav>
                                          </p:tavLst>
                                        </p:anim>
                                      </p:childTnLst>
                                    </p:cTn>
                                  </p:par>
                                  <p:par>
                                    <p:cTn id="160" presetID="6" presetClass="emph" presetSubtype="0" accel="25000" decel="50000" autoRev="1" fill="hold" grpId="1" nodeType="withEffect">
                                      <p:stCondLst>
                                        <p:cond delay="1500"/>
                                      </p:stCondLst>
                                      <p:childTnLst>
                                        <p:animScale>
                                          <p:cBhvr>
                                            <p:cTn id="161" dur="200" fill="hold"/>
                                            <p:tgtEl>
                                              <p:spTgt spid="25"/>
                                            </p:tgtEl>
                                          </p:cBhvr>
                                          <p:by x="110000" y="110000"/>
                                        </p:animScale>
                                      </p:childTnLst>
                                    </p:cTn>
                                  </p:par>
                                  <p:par>
                                    <p:cTn id="162" presetID="10" presetClass="entr" presetSubtype="0" fill="hold" grpId="0" nodeType="withEffect">
                                      <p:stCondLst>
                                        <p:cond delay="1500"/>
                                      </p:stCondLst>
                                      <p:childTnLst>
                                        <p:set>
                                          <p:cBhvr>
                                            <p:cTn id="163" dur="1" fill="hold">
                                              <p:stCondLst>
                                                <p:cond delay="0"/>
                                              </p:stCondLst>
                                            </p:cTn>
                                            <p:tgtEl>
                                              <p:spTgt spid="1614"/>
                                            </p:tgtEl>
                                            <p:attrNameLst>
                                              <p:attrName>style.visibility</p:attrName>
                                            </p:attrNameLst>
                                          </p:cBhvr>
                                          <p:to>
                                            <p:strVal val="visible"/>
                                          </p:to>
                                        </p:set>
                                        <p:animEffect transition="in" filter="fade">
                                          <p:cBhvr>
                                            <p:cTn id="164" dur="500"/>
                                            <p:tgtEl>
                                              <p:spTgt spid="1614"/>
                                            </p:tgtEl>
                                          </p:cBhvr>
                                        </p:animEffect>
                                      </p:childTnLst>
                                    </p:cTn>
                                  </p:par>
                                  <p:par>
                                    <p:cTn id="165" presetID="64" presetClass="path" presetSubtype="0" decel="100000" fill="hold" grpId="1" nodeType="withEffect">
                                      <p:stCondLst>
                                        <p:cond delay="1500"/>
                                      </p:stCondLst>
                                      <p:childTnLst>
                                        <p:animMotion origin="layout" path="M 1.25E-6 0.06991 L 1.25E-6 -4.44444E-6 " pathEditMode="relative" rAng="0" ptsTypes="AA">
                                          <p:cBhvr>
                                            <p:cTn id="166" dur="500" fill="hold"/>
                                            <p:tgtEl>
                                              <p:spTgt spid="1614"/>
                                            </p:tgtEl>
                                            <p:attrNameLst>
                                              <p:attrName>ppt_x</p:attrName>
                                              <p:attrName>ppt_y</p:attrName>
                                            </p:attrNameLst>
                                          </p:cBhvr>
                                          <p:rCtr x="0" y="-3495"/>
                                        </p:animMotion>
                                      </p:childTnLst>
                                    </p:cTn>
                                  </p:par>
                                  <p:par>
                                    <p:cTn id="167" presetID="23" presetClass="entr" presetSubtype="16" fill="hold" nodeType="withEffect">
                                      <p:stCondLst>
                                        <p:cond delay="1500"/>
                                      </p:stCondLst>
                                      <p:childTnLst>
                                        <p:set>
                                          <p:cBhvr>
                                            <p:cTn id="168" dur="1" fill="hold">
                                              <p:stCondLst>
                                                <p:cond delay="0"/>
                                              </p:stCondLst>
                                            </p:cTn>
                                            <p:tgtEl>
                                              <p:spTgt spid="65"/>
                                            </p:tgtEl>
                                            <p:attrNameLst>
                                              <p:attrName>style.visibility</p:attrName>
                                            </p:attrNameLst>
                                          </p:cBhvr>
                                          <p:to>
                                            <p:strVal val="visible"/>
                                          </p:to>
                                        </p:set>
                                        <p:anim calcmode="lin" valueType="num">
                                          <p:cBhvr>
                                            <p:cTn id="169" dur="250" fill="hold"/>
                                            <p:tgtEl>
                                              <p:spTgt spid="65"/>
                                            </p:tgtEl>
                                            <p:attrNameLst>
                                              <p:attrName>ppt_w</p:attrName>
                                            </p:attrNameLst>
                                          </p:cBhvr>
                                          <p:tavLst>
                                            <p:tav tm="0">
                                              <p:val>
                                                <p:fltVal val="0"/>
                                              </p:val>
                                            </p:tav>
                                            <p:tav tm="100000">
                                              <p:val>
                                                <p:strVal val="#ppt_w"/>
                                              </p:val>
                                            </p:tav>
                                          </p:tavLst>
                                        </p:anim>
                                        <p:anim calcmode="lin" valueType="num">
                                          <p:cBhvr>
                                            <p:cTn id="170" dur="250" fill="hold"/>
                                            <p:tgtEl>
                                              <p:spTgt spid="65"/>
                                            </p:tgtEl>
                                            <p:attrNameLst>
                                              <p:attrName>ppt_h</p:attrName>
                                            </p:attrNameLst>
                                          </p:cBhvr>
                                          <p:tavLst>
                                            <p:tav tm="0">
                                              <p:val>
                                                <p:fltVal val="0"/>
                                              </p:val>
                                            </p:tav>
                                            <p:tav tm="100000">
                                              <p:val>
                                                <p:strVal val="#ppt_h"/>
                                              </p:val>
                                            </p:tav>
                                          </p:tavLst>
                                        </p:anim>
                                      </p:childTnLst>
                                    </p:cTn>
                                  </p:par>
                                  <p:par>
                                    <p:cTn id="171" presetID="6" presetClass="emph" presetSubtype="0" fill="hold" nodeType="withEffect" p14:presetBounceEnd="99000">
                                      <p:stCondLst>
                                        <p:cond delay="1500"/>
                                      </p:stCondLst>
                                      <p:childTnLst>
                                        <p:animScale p14:bounceEnd="99000">
                                          <p:cBhvr>
                                            <p:cTn id="172" dur="1000" fill="hold"/>
                                            <p:tgtEl>
                                              <p:spTgt spid="65"/>
                                            </p:tgtEl>
                                          </p:cBhvr>
                                          <p:by x="110000" y="110000"/>
                                        </p:animScale>
                                      </p:childTnLst>
                                    </p:cTn>
                                  </p:par>
                                  <p:par>
                                    <p:cTn id="173" presetID="6" presetClass="emph" presetSubtype="0" fill="hold" nodeType="withEffect">
                                      <p:stCondLst>
                                        <p:cond delay="1500"/>
                                      </p:stCondLst>
                                      <p:childTnLst>
                                        <p:animScale>
                                          <p:cBhvr>
                                            <p:cTn id="174" dur="250" fill="hold"/>
                                            <p:tgtEl>
                                              <p:spTgt spid="65"/>
                                            </p:tgtEl>
                                          </p:cBhvr>
                                          <p:by x="91000" y="91000"/>
                                        </p:animScale>
                                      </p:childTnLst>
                                    </p:cTn>
                                  </p:par>
                                  <p:par>
                                    <p:cTn id="175" presetID="23" presetClass="entr" presetSubtype="16" fill="hold" grpId="0" nodeType="withEffect">
                                      <p:stCondLst>
                                        <p:cond delay="1500"/>
                                      </p:stCondLst>
                                      <p:childTnLst>
                                        <p:set>
                                          <p:cBhvr>
                                            <p:cTn id="176" dur="1" fill="hold">
                                              <p:stCondLst>
                                                <p:cond delay="0"/>
                                              </p:stCondLst>
                                            </p:cTn>
                                            <p:tgtEl>
                                              <p:spTgt spid="19"/>
                                            </p:tgtEl>
                                            <p:attrNameLst>
                                              <p:attrName>style.visibility</p:attrName>
                                            </p:attrNameLst>
                                          </p:cBhvr>
                                          <p:to>
                                            <p:strVal val="visible"/>
                                          </p:to>
                                        </p:set>
                                        <p:anim calcmode="lin" valueType="num">
                                          <p:cBhvr>
                                            <p:cTn id="177" dur="250" fill="hold"/>
                                            <p:tgtEl>
                                              <p:spTgt spid="19"/>
                                            </p:tgtEl>
                                            <p:attrNameLst>
                                              <p:attrName>ppt_w</p:attrName>
                                            </p:attrNameLst>
                                          </p:cBhvr>
                                          <p:tavLst>
                                            <p:tav tm="0">
                                              <p:val>
                                                <p:fltVal val="0"/>
                                              </p:val>
                                            </p:tav>
                                            <p:tav tm="100000">
                                              <p:val>
                                                <p:strVal val="#ppt_w"/>
                                              </p:val>
                                            </p:tav>
                                          </p:tavLst>
                                        </p:anim>
                                        <p:anim calcmode="lin" valueType="num">
                                          <p:cBhvr>
                                            <p:cTn id="178" dur="250" fill="hold"/>
                                            <p:tgtEl>
                                              <p:spTgt spid="19"/>
                                            </p:tgtEl>
                                            <p:attrNameLst>
                                              <p:attrName>ppt_h</p:attrName>
                                            </p:attrNameLst>
                                          </p:cBhvr>
                                          <p:tavLst>
                                            <p:tav tm="0">
                                              <p:val>
                                                <p:fltVal val="0"/>
                                              </p:val>
                                            </p:tav>
                                            <p:tav tm="100000">
                                              <p:val>
                                                <p:strVal val="#ppt_h"/>
                                              </p:val>
                                            </p:tav>
                                          </p:tavLst>
                                        </p:anim>
                                      </p:childTnLst>
                                    </p:cTn>
                                  </p:par>
                                  <p:par>
                                    <p:cTn id="179" presetID="6" presetClass="emph" presetSubtype="0" accel="25000" decel="50000" autoRev="1" fill="hold" grpId="1" nodeType="withEffect">
                                      <p:stCondLst>
                                        <p:cond delay="1500"/>
                                      </p:stCondLst>
                                      <p:childTnLst>
                                        <p:animScale>
                                          <p:cBhvr>
                                            <p:cTn id="180" dur="200" fill="hold"/>
                                            <p:tgtEl>
                                              <p:spTgt spid="19"/>
                                            </p:tgtEl>
                                          </p:cBhvr>
                                          <p:by x="110000" y="110000"/>
                                        </p:animScale>
                                      </p:childTnLst>
                                    </p:cTn>
                                  </p:par>
                                  <p:par>
                                    <p:cTn id="181" presetID="23" presetClass="entr" presetSubtype="16" fill="hold" grpId="0" nodeType="withEffect">
                                      <p:stCondLst>
                                        <p:cond delay="0"/>
                                      </p:stCondLst>
                                      <p:childTnLst>
                                        <p:set>
                                          <p:cBhvr>
                                            <p:cTn id="182" dur="1" fill="hold">
                                              <p:stCondLst>
                                                <p:cond delay="0"/>
                                              </p:stCondLst>
                                            </p:cTn>
                                            <p:tgtEl>
                                              <p:spTgt spid="27"/>
                                            </p:tgtEl>
                                            <p:attrNameLst>
                                              <p:attrName>style.visibility</p:attrName>
                                            </p:attrNameLst>
                                          </p:cBhvr>
                                          <p:to>
                                            <p:strVal val="visible"/>
                                          </p:to>
                                        </p:set>
                                        <p:anim calcmode="lin" valueType="num">
                                          <p:cBhvr>
                                            <p:cTn id="183" dur="250" fill="hold"/>
                                            <p:tgtEl>
                                              <p:spTgt spid="27"/>
                                            </p:tgtEl>
                                            <p:attrNameLst>
                                              <p:attrName>ppt_w</p:attrName>
                                            </p:attrNameLst>
                                          </p:cBhvr>
                                          <p:tavLst>
                                            <p:tav tm="0">
                                              <p:val>
                                                <p:fltVal val="0"/>
                                              </p:val>
                                            </p:tav>
                                            <p:tav tm="100000">
                                              <p:val>
                                                <p:strVal val="#ppt_w"/>
                                              </p:val>
                                            </p:tav>
                                          </p:tavLst>
                                        </p:anim>
                                        <p:anim calcmode="lin" valueType="num">
                                          <p:cBhvr>
                                            <p:cTn id="184" dur="250" fill="hold"/>
                                            <p:tgtEl>
                                              <p:spTgt spid="27"/>
                                            </p:tgtEl>
                                            <p:attrNameLst>
                                              <p:attrName>ppt_h</p:attrName>
                                            </p:attrNameLst>
                                          </p:cBhvr>
                                          <p:tavLst>
                                            <p:tav tm="0">
                                              <p:val>
                                                <p:fltVal val="0"/>
                                              </p:val>
                                            </p:tav>
                                            <p:tav tm="100000">
                                              <p:val>
                                                <p:strVal val="#ppt_h"/>
                                              </p:val>
                                            </p:tav>
                                          </p:tavLst>
                                        </p:anim>
                                      </p:childTnLst>
                                    </p:cTn>
                                  </p:par>
                                  <p:par>
                                    <p:cTn id="185" presetID="6" presetClass="emph" presetSubtype="0" accel="25000" decel="50000" autoRev="1" fill="hold" grpId="1" nodeType="withEffect">
                                      <p:stCondLst>
                                        <p:cond delay="0"/>
                                      </p:stCondLst>
                                      <p:childTnLst>
                                        <p:animScale>
                                          <p:cBhvr>
                                            <p:cTn id="186" dur="200" fill="hold"/>
                                            <p:tgtEl>
                                              <p:spTgt spid="2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6" grpId="3" animBg="1"/>
          <p:bldP spid="7" grpId="0" animBg="1"/>
          <p:bldP spid="7" grpId="1" animBg="1"/>
          <p:bldP spid="7" grpId="2" animBg="1"/>
          <p:bldP spid="7" grpId="3" animBg="1"/>
          <p:bldP spid="11" grpId="0" animBg="1"/>
          <p:bldP spid="11" grpId="1" animBg="1"/>
          <p:bldP spid="11" grpId="2" animBg="1"/>
          <p:bldP spid="11" grpId="3" animBg="1"/>
          <p:bldP spid="12" grpId="0" animBg="1"/>
          <p:bldP spid="17" grpId="0"/>
          <p:bldP spid="17" grpId="1"/>
          <p:bldP spid="18" grpId="0" animBg="1"/>
          <p:bldP spid="19" grpId="0" animBg="1"/>
          <p:bldP spid="19"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1614" grpId="0" animBg="1"/>
          <p:bldP spid="1614" grpId="1" animBg="1"/>
          <p:bldP spid="1618" grpId="0" animBg="1"/>
          <p:bldP spid="1618" grpId="1" animBg="1"/>
          <p:bldP spid="1619" grpId="0" animBg="1"/>
          <p:bldP spid="1619" grpId="1" animBg="1"/>
          <p:bldP spid="1620" grpId="0" animBg="1"/>
          <p:bldP spid="1620"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 calcmode="lin" valueType="num">
                                          <p:cBhvr>
                                            <p:cTn id="7" dur="250" fill="hold"/>
                                            <p:tgtEl>
                                              <p:spTgt spid="11"/>
                                            </p:tgtEl>
                                            <p:attrNameLst>
                                              <p:attrName>ppt_w</p:attrName>
                                            </p:attrNameLst>
                                          </p:cBhvr>
                                          <p:tavLst>
                                            <p:tav tm="0">
                                              <p:val>
                                                <p:fltVal val="0"/>
                                              </p:val>
                                            </p:tav>
                                            <p:tav tm="100000">
                                              <p:val>
                                                <p:strVal val="#ppt_w"/>
                                              </p:val>
                                            </p:tav>
                                          </p:tavLst>
                                        </p:anim>
                                        <p:anim calcmode="lin" valueType="num">
                                          <p:cBhvr>
                                            <p:cTn id="8" dur="250" fill="hold"/>
                                            <p:tgtEl>
                                              <p:spTgt spid="11"/>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stCondLst>
                                        <p:cond delay="500"/>
                                      </p:stCondLst>
                                      <p:childTnLst>
                                        <p:animScale>
                                          <p:cBhvr>
                                            <p:cTn id="10" dur="1000" fill="hold"/>
                                            <p:tgtEl>
                                              <p:spTgt spid="11"/>
                                            </p:tgtEl>
                                          </p:cBhvr>
                                          <p:by x="110000" y="110000"/>
                                        </p:animScale>
                                      </p:childTnLst>
                                    </p:cTn>
                                  </p:par>
                                  <p:par>
                                    <p:cTn id="11" presetID="23" presetClass="entr" presetSubtype="16" fill="hold" grpId="0" nodeType="withEffect">
                                      <p:stCondLst>
                                        <p:cond delay="500"/>
                                      </p:stCondLst>
                                      <p:childTnLst>
                                        <p:set>
                                          <p:cBhvr>
                                            <p:cTn id="12" dur="1" fill="hold">
                                              <p:stCondLst>
                                                <p:cond delay="0"/>
                                              </p:stCondLst>
                                            </p:cTn>
                                            <p:tgtEl>
                                              <p:spTgt spid="6"/>
                                            </p:tgtEl>
                                            <p:attrNameLst>
                                              <p:attrName>style.visibility</p:attrName>
                                            </p:attrNameLst>
                                          </p:cBhvr>
                                          <p:to>
                                            <p:strVal val="visible"/>
                                          </p:to>
                                        </p:set>
                                        <p:anim calcmode="lin" valueType="num">
                                          <p:cBhvr>
                                            <p:cTn id="13" dur="250" fill="hold"/>
                                            <p:tgtEl>
                                              <p:spTgt spid="6"/>
                                            </p:tgtEl>
                                            <p:attrNameLst>
                                              <p:attrName>ppt_w</p:attrName>
                                            </p:attrNameLst>
                                          </p:cBhvr>
                                          <p:tavLst>
                                            <p:tav tm="0">
                                              <p:val>
                                                <p:fltVal val="0"/>
                                              </p:val>
                                            </p:tav>
                                            <p:tav tm="100000">
                                              <p:val>
                                                <p:strVal val="#ppt_w"/>
                                              </p:val>
                                            </p:tav>
                                          </p:tavLst>
                                        </p:anim>
                                        <p:anim calcmode="lin" valueType="num">
                                          <p:cBhvr>
                                            <p:cTn id="14" dur="250" fill="hold"/>
                                            <p:tgtEl>
                                              <p:spTgt spid="6"/>
                                            </p:tgtEl>
                                            <p:attrNameLst>
                                              <p:attrName>ppt_h</p:attrName>
                                            </p:attrNameLst>
                                          </p:cBhvr>
                                          <p:tavLst>
                                            <p:tav tm="0">
                                              <p:val>
                                                <p:fltVal val="0"/>
                                              </p:val>
                                            </p:tav>
                                            <p:tav tm="100000">
                                              <p:val>
                                                <p:strVal val="#ppt_h"/>
                                              </p:val>
                                            </p:tav>
                                          </p:tavLst>
                                        </p:anim>
                                      </p:childTnLst>
                                    </p:cTn>
                                  </p:par>
                                  <p:par>
                                    <p:cTn id="15" presetID="6" presetClass="emph" presetSubtype="0" fill="hold" grpId="1" nodeType="withEffect">
                                      <p:stCondLst>
                                        <p:cond delay="500"/>
                                      </p:stCondLst>
                                      <p:childTnLst>
                                        <p:animScale>
                                          <p:cBhvr>
                                            <p:cTn id="16" dur="1000" fill="hold"/>
                                            <p:tgtEl>
                                              <p:spTgt spid="6"/>
                                            </p:tgtEl>
                                          </p:cBhvr>
                                          <p:by x="110000" y="110000"/>
                                        </p:animScale>
                                      </p:childTnLst>
                                    </p:cTn>
                                  </p:par>
                                  <p:par>
                                    <p:cTn id="17" presetID="8" presetClass="emph" presetSubtype="0" decel="100000" fill="hold" grpId="2" nodeType="withEffect">
                                      <p:stCondLst>
                                        <p:cond delay="500"/>
                                      </p:stCondLst>
                                      <p:childTnLst>
                                        <p:animRot by="21600000">
                                          <p:cBhvr>
                                            <p:cTn id="18" dur="500" fill="hold"/>
                                            <p:tgtEl>
                                              <p:spTgt spid="6"/>
                                            </p:tgtEl>
                                            <p:attrNameLst>
                                              <p:attrName>r</p:attrName>
                                            </p:attrNameLst>
                                          </p:cBhvr>
                                        </p:animRot>
                                      </p:childTnLst>
                                    </p:cTn>
                                  </p:par>
                                  <p:par>
                                    <p:cTn id="19" presetID="6" presetClass="emph" presetSubtype="0" fill="hold" grpId="3" nodeType="withEffect">
                                      <p:stCondLst>
                                        <p:cond delay="500"/>
                                      </p:stCondLst>
                                      <p:childTnLst>
                                        <p:animScale>
                                          <p:cBhvr>
                                            <p:cTn id="20" dur="250" fill="hold"/>
                                            <p:tgtEl>
                                              <p:spTgt spid="6"/>
                                            </p:tgtEl>
                                          </p:cBhvr>
                                          <p:by x="91000" y="91000"/>
                                        </p:animScale>
                                      </p:childTnLst>
                                    </p:cTn>
                                  </p:par>
                                  <p:par>
                                    <p:cTn id="21" presetID="8" presetClass="emph" presetSubtype="0" decel="100000" fill="hold" grpId="2" nodeType="withEffect">
                                      <p:stCondLst>
                                        <p:cond delay="500"/>
                                      </p:stCondLst>
                                      <p:childTnLst>
                                        <p:animRot by="21600000">
                                          <p:cBhvr>
                                            <p:cTn id="22" dur="500" fill="hold"/>
                                            <p:tgtEl>
                                              <p:spTgt spid="11"/>
                                            </p:tgtEl>
                                            <p:attrNameLst>
                                              <p:attrName>r</p:attrName>
                                            </p:attrNameLst>
                                          </p:cBhvr>
                                        </p:animRot>
                                      </p:childTnLst>
                                    </p:cTn>
                                  </p:par>
                                  <p:par>
                                    <p:cTn id="23" presetID="6" presetClass="emph" presetSubtype="0" fill="hold" grpId="3" nodeType="withEffect">
                                      <p:stCondLst>
                                        <p:cond delay="500"/>
                                      </p:stCondLst>
                                      <p:childTnLst>
                                        <p:animScale>
                                          <p:cBhvr>
                                            <p:cTn id="24" dur="250" fill="hold"/>
                                            <p:tgtEl>
                                              <p:spTgt spid="11"/>
                                            </p:tgtEl>
                                          </p:cBhvr>
                                          <p:by x="91000" y="91000"/>
                                        </p:animScale>
                                      </p:childTnLst>
                                    </p:cTn>
                                  </p:par>
                                  <p:par>
                                    <p:cTn id="25" presetID="23" presetClass="entr" presetSubtype="16" fill="hold" nodeType="withEffect">
                                      <p:stCondLst>
                                        <p:cond delay="500"/>
                                      </p:stCondLst>
                                      <p:childTnLst>
                                        <p:set>
                                          <p:cBhvr>
                                            <p:cTn id="26" dur="1" fill="hold">
                                              <p:stCondLst>
                                                <p:cond delay="0"/>
                                              </p:stCondLst>
                                            </p:cTn>
                                            <p:tgtEl>
                                              <p:spTgt spid="8"/>
                                            </p:tgtEl>
                                            <p:attrNameLst>
                                              <p:attrName>style.visibility</p:attrName>
                                            </p:attrNameLst>
                                          </p:cBhvr>
                                          <p:to>
                                            <p:strVal val="visible"/>
                                          </p:to>
                                        </p:set>
                                        <p:anim calcmode="lin" valueType="num">
                                          <p:cBhvr>
                                            <p:cTn id="27" dur="250" fill="hold"/>
                                            <p:tgtEl>
                                              <p:spTgt spid="8"/>
                                            </p:tgtEl>
                                            <p:attrNameLst>
                                              <p:attrName>ppt_w</p:attrName>
                                            </p:attrNameLst>
                                          </p:cBhvr>
                                          <p:tavLst>
                                            <p:tav tm="0">
                                              <p:val>
                                                <p:fltVal val="0"/>
                                              </p:val>
                                            </p:tav>
                                            <p:tav tm="100000">
                                              <p:val>
                                                <p:strVal val="#ppt_w"/>
                                              </p:val>
                                            </p:tav>
                                          </p:tavLst>
                                        </p:anim>
                                        <p:anim calcmode="lin" valueType="num">
                                          <p:cBhvr>
                                            <p:cTn id="28" dur="250" fill="hold"/>
                                            <p:tgtEl>
                                              <p:spTgt spid="8"/>
                                            </p:tgtEl>
                                            <p:attrNameLst>
                                              <p:attrName>ppt_h</p:attrName>
                                            </p:attrNameLst>
                                          </p:cBhvr>
                                          <p:tavLst>
                                            <p:tav tm="0">
                                              <p:val>
                                                <p:fltVal val="0"/>
                                              </p:val>
                                            </p:tav>
                                            <p:tav tm="100000">
                                              <p:val>
                                                <p:strVal val="#ppt_h"/>
                                              </p:val>
                                            </p:tav>
                                          </p:tavLst>
                                        </p:anim>
                                      </p:childTnLst>
                                    </p:cTn>
                                  </p:par>
                                  <p:par>
                                    <p:cTn id="29" presetID="6" presetClass="emph" presetSubtype="0" fill="hold" nodeType="withEffect">
                                      <p:stCondLst>
                                        <p:cond delay="500"/>
                                      </p:stCondLst>
                                      <p:childTnLst>
                                        <p:animScale>
                                          <p:cBhvr>
                                            <p:cTn id="30" dur="1000" fill="hold"/>
                                            <p:tgtEl>
                                              <p:spTgt spid="8"/>
                                            </p:tgtEl>
                                          </p:cBhvr>
                                          <p:by x="110000" y="110000"/>
                                        </p:animScale>
                                      </p:childTnLst>
                                    </p:cTn>
                                  </p:par>
                                  <p:par>
                                    <p:cTn id="31" presetID="8" presetClass="emph" presetSubtype="0" decel="100000" fill="hold" nodeType="withEffect">
                                      <p:stCondLst>
                                        <p:cond delay="500"/>
                                      </p:stCondLst>
                                      <p:childTnLst>
                                        <p:animRot by="21600000">
                                          <p:cBhvr>
                                            <p:cTn id="32" dur="500" fill="hold"/>
                                            <p:tgtEl>
                                              <p:spTgt spid="8"/>
                                            </p:tgtEl>
                                            <p:attrNameLst>
                                              <p:attrName>r</p:attrName>
                                            </p:attrNameLst>
                                          </p:cBhvr>
                                        </p:animRot>
                                      </p:childTnLst>
                                    </p:cTn>
                                  </p:par>
                                  <p:par>
                                    <p:cTn id="33" presetID="6" presetClass="emph" presetSubtype="0" fill="hold" nodeType="withEffect">
                                      <p:stCondLst>
                                        <p:cond delay="500"/>
                                      </p:stCondLst>
                                      <p:childTnLst>
                                        <p:animScale>
                                          <p:cBhvr>
                                            <p:cTn id="34" dur="250" fill="hold"/>
                                            <p:tgtEl>
                                              <p:spTgt spid="8"/>
                                            </p:tgtEl>
                                          </p:cBhvr>
                                          <p:by x="91000" y="91000"/>
                                        </p:animScale>
                                      </p:childTnLst>
                                    </p:cTn>
                                  </p:par>
                                  <p:par>
                                    <p:cTn id="35" presetID="23" presetClass="entr" presetSubtype="16" fill="hold" grpId="0" nodeType="withEffect">
                                      <p:stCondLst>
                                        <p:cond delay="500"/>
                                      </p:stCondLst>
                                      <p:childTnLst>
                                        <p:set>
                                          <p:cBhvr>
                                            <p:cTn id="36" dur="1" fill="hold">
                                              <p:stCondLst>
                                                <p:cond delay="0"/>
                                              </p:stCondLst>
                                            </p:cTn>
                                            <p:tgtEl>
                                              <p:spTgt spid="7"/>
                                            </p:tgtEl>
                                            <p:attrNameLst>
                                              <p:attrName>style.visibility</p:attrName>
                                            </p:attrNameLst>
                                          </p:cBhvr>
                                          <p:to>
                                            <p:strVal val="visible"/>
                                          </p:to>
                                        </p:set>
                                        <p:anim calcmode="lin" valueType="num">
                                          <p:cBhvr>
                                            <p:cTn id="37" dur="250" fill="hold"/>
                                            <p:tgtEl>
                                              <p:spTgt spid="7"/>
                                            </p:tgtEl>
                                            <p:attrNameLst>
                                              <p:attrName>ppt_w</p:attrName>
                                            </p:attrNameLst>
                                          </p:cBhvr>
                                          <p:tavLst>
                                            <p:tav tm="0">
                                              <p:val>
                                                <p:fltVal val="0"/>
                                              </p:val>
                                            </p:tav>
                                            <p:tav tm="100000">
                                              <p:val>
                                                <p:strVal val="#ppt_w"/>
                                              </p:val>
                                            </p:tav>
                                          </p:tavLst>
                                        </p:anim>
                                        <p:anim calcmode="lin" valueType="num">
                                          <p:cBhvr>
                                            <p:cTn id="38" dur="250" fill="hold"/>
                                            <p:tgtEl>
                                              <p:spTgt spid="7"/>
                                            </p:tgtEl>
                                            <p:attrNameLst>
                                              <p:attrName>ppt_h</p:attrName>
                                            </p:attrNameLst>
                                          </p:cBhvr>
                                          <p:tavLst>
                                            <p:tav tm="0">
                                              <p:val>
                                                <p:fltVal val="0"/>
                                              </p:val>
                                            </p:tav>
                                            <p:tav tm="100000">
                                              <p:val>
                                                <p:strVal val="#ppt_h"/>
                                              </p:val>
                                            </p:tav>
                                          </p:tavLst>
                                        </p:anim>
                                      </p:childTnLst>
                                    </p:cTn>
                                  </p:par>
                                  <p:par>
                                    <p:cTn id="39" presetID="6" presetClass="emph" presetSubtype="0" fill="hold" grpId="1" nodeType="withEffect">
                                      <p:stCondLst>
                                        <p:cond delay="500"/>
                                      </p:stCondLst>
                                      <p:childTnLst>
                                        <p:animScale>
                                          <p:cBhvr>
                                            <p:cTn id="40" dur="1000" fill="hold"/>
                                            <p:tgtEl>
                                              <p:spTgt spid="7"/>
                                            </p:tgtEl>
                                          </p:cBhvr>
                                          <p:by x="110000" y="110000"/>
                                        </p:animScale>
                                      </p:childTnLst>
                                    </p:cTn>
                                  </p:par>
                                  <p:par>
                                    <p:cTn id="41" presetID="8" presetClass="emph" presetSubtype="0" decel="100000" fill="hold" grpId="2" nodeType="withEffect">
                                      <p:stCondLst>
                                        <p:cond delay="500"/>
                                      </p:stCondLst>
                                      <p:childTnLst>
                                        <p:animRot by="21600000">
                                          <p:cBhvr>
                                            <p:cTn id="42" dur="500" fill="hold"/>
                                            <p:tgtEl>
                                              <p:spTgt spid="7"/>
                                            </p:tgtEl>
                                            <p:attrNameLst>
                                              <p:attrName>r</p:attrName>
                                            </p:attrNameLst>
                                          </p:cBhvr>
                                        </p:animRot>
                                      </p:childTnLst>
                                    </p:cTn>
                                  </p:par>
                                  <p:par>
                                    <p:cTn id="43" presetID="6" presetClass="emph" presetSubtype="0" fill="hold" grpId="3" nodeType="withEffect">
                                      <p:stCondLst>
                                        <p:cond delay="500"/>
                                      </p:stCondLst>
                                      <p:childTnLst>
                                        <p:animScale>
                                          <p:cBhvr>
                                            <p:cTn id="44" dur="250" fill="hold"/>
                                            <p:tgtEl>
                                              <p:spTgt spid="7"/>
                                            </p:tgtEl>
                                          </p:cBhvr>
                                          <p:by x="91000" y="91000"/>
                                        </p:animScale>
                                      </p:childTnLst>
                                    </p:cTn>
                                  </p:par>
                                  <p:par>
                                    <p:cTn id="45" presetID="2" presetClass="entr" presetSubtype="4" decel="100000" fill="hold" nodeType="withEffect">
                                      <p:stCondLst>
                                        <p:cond delay="50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1000" fill="hold"/>
                                            <p:tgtEl>
                                              <p:spTgt spid="13"/>
                                            </p:tgtEl>
                                            <p:attrNameLst>
                                              <p:attrName>ppt_x</p:attrName>
                                            </p:attrNameLst>
                                          </p:cBhvr>
                                          <p:tavLst>
                                            <p:tav tm="0">
                                              <p:val>
                                                <p:strVal val="#ppt_x"/>
                                              </p:val>
                                            </p:tav>
                                            <p:tav tm="100000">
                                              <p:val>
                                                <p:strVal val="#ppt_x"/>
                                              </p:val>
                                            </p:tav>
                                          </p:tavLst>
                                        </p:anim>
                                        <p:anim calcmode="lin" valueType="num">
                                          <p:cBhvr additive="base">
                                            <p:cTn id="48" dur="1000" fill="hold"/>
                                            <p:tgtEl>
                                              <p:spTgt spid="13"/>
                                            </p:tgtEl>
                                            <p:attrNameLst>
                                              <p:attrName>ppt_y</p:attrName>
                                            </p:attrNameLst>
                                          </p:cBhvr>
                                          <p:tavLst>
                                            <p:tav tm="0">
                                              <p:val>
                                                <p:strVal val="1+#ppt_h/2"/>
                                              </p:val>
                                            </p:tav>
                                            <p:tav tm="100000">
                                              <p:val>
                                                <p:strVal val="#ppt_y"/>
                                              </p:val>
                                            </p:tav>
                                          </p:tavLst>
                                        </p:anim>
                                      </p:childTnLst>
                                    </p:cTn>
                                  </p:par>
                                </p:childTnLst>
                              </p:cTn>
                            </p:par>
                            <p:par>
                              <p:cTn id="49" fill="hold">
                                <p:stCondLst>
                                  <p:cond delay="1500"/>
                                </p:stCondLst>
                                <p:childTnLst>
                                  <p:par>
                                    <p:cTn id="50" presetID="23" presetClass="entr" presetSubtype="16" fill="hold" nodeType="afterEffect">
                                      <p:stCondLst>
                                        <p:cond delay="0"/>
                                      </p:stCondLst>
                                      <p:childTnLst>
                                        <p:set>
                                          <p:cBhvr>
                                            <p:cTn id="51" dur="1" fill="hold">
                                              <p:stCondLst>
                                                <p:cond delay="0"/>
                                              </p:stCondLst>
                                            </p:cTn>
                                            <p:tgtEl>
                                              <p:spTgt spid="30"/>
                                            </p:tgtEl>
                                            <p:attrNameLst>
                                              <p:attrName>style.visibility</p:attrName>
                                            </p:attrNameLst>
                                          </p:cBhvr>
                                          <p:to>
                                            <p:strVal val="visible"/>
                                          </p:to>
                                        </p:set>
                                        <p:anim calcmode="lin" valueType="num">
                                          <p:cBhvr>
                                            <p:cTn id="52" dur="250" fill="hold"/>
                                            <p:tgtEl>
                                              <p:spTgt spid="30"/>
                                            </p:tgtEl>
                                            <p:attrNameLst>
                                              <p:attrName>ppt_w</p:attrName>
                                            </p:attrNameLst>
                                          </p:cBhvr>
                                          <p:tavLst>
                                            <p:tav tm="0">
                                              <p:val>
                                                <p:fltVal val="0"/>
                                              </p:val>
                                            </p:tav>
                                            <p:tav tm="100000">
                                              <p:val>
                                                <p:strVal val="#ppt_w"/>
                                              </p:val>
                                            </p:tav>
                                          </p:tavLst>
                                        </p:anim>
                                        <p:anim calcmode="lin" valueType="num">
                                          <p:cBhvr>
                                            <p:cTn id="53" dur="250" fill="hold"/>
                                            <p:tgtEl>
                                              <p:spTgt spid="30"/>
                                            </p:tgtEl>
                                            <p:attrNameLst>
                                              <p:attrName>ppt_h</p:attrName>
                                            </p:attrNameLst>
                                          </p:cBhvr>
                                          <p:tavLst>
                                            <p:tav tm="0">
                                              <p:val>
                                                <p:fltVal val="0"/>
                                              </p:val>
                                            </p:tav>
                                            <p:tav tm="100000">
                                              <p:val>
                                                <p:strVal val="#ppt_h"/>
                                              </p:val>
                                            </p:tav>
                                          </p:tavLst>
                                        </p:anim>
                                      </p:childTnLst>
                                    </p:cTn>
                                  </p:par>
                                  <p:par>
                                    <p:cTn id="54" presetID="6" presetClass="emph" presetSubtype="0" fill="hold" nodeType="withEffect">
                                      <p:stCondLst>
                                        <p:cond delay="0"/>
                                      </p:stCondLst>
                                      <p:childTnLst>
                                        <p:animScale>
                                          <p:cBhvr>
                                            <p:cTn id="55" dur="1000" fill="hold"/>
                                            <p:tgtEl>
                                              <p:spTgt spid="30"/>
                                            </p:tgtEl>
                                          </p:cBhvr>
                                          <p:by x="110000" y="110000"/>
                                        </p:animScale>
                                      </p:childTnLst>
                                    </p:cTn>
                                  </p:par>
                                  <p:par>
                                    <p:cTn id="56" presetID="8" presetClass="emph" presetSubtype="0" decel="100000" fill="hold" nodeType="withEffect">
                                      <p:stCondLst>
                                        <p:cond delay="0"/>
                                      </p:stCondLst>
                                      <p:childTnLst>
                                        <p:animRot by="21600000">
                                          <p:cBhvr>
                                            <p:cTn id="57" dur="500" fill="hold"/>
                                            <p:tgtEl>
                                              <p:spTgt spid="30"/>
                                            </p:tgtEl>
                                            <p:attrNameLst>
                                              <p:attrName>r</p:attrName>
                                            </p:attrNameLst>
                                          </p:cBhvr>
                                        </p:animRot>
                                      </p:childTnLst>
                                    </p:cTn>
                                  </p:par>
                                  <p:par>
                                    <p:cTn id="58" presetID="6" presetClass="emph" presetSubtype="0" fill="hold" nodeType="withEffect">
                                      <p:stCondLst>
                                        <p:cond delay="0"/>
                                      </p:stCondLst>
                                      <p:childTnLst>
                                        <p:animScale>
                                          <p:cBhvr>
                                            <p:cTn id="59" dur="250" fill="hold"/>
                                            <p:tgtEl>
                                              <p:spTgt spid="30"/>
                                            </p:tgtEl>
                                          </p:cBhvr>
                                          <p:by x="91000" y="91000"/>
                                        </p:animScale>
                                      </p:childTnLst>
                                    </p:cTn>
                                  </p:par>
                                  <p:par>
                                    <p:cTn id="60" presetID="10" presetClass="entr" presetSubtype="0" fill="hold" nodeType="with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250"/>
                                            <p:tgtEl>
                                              <p:spTgt spid="34"/>
                                            </p:tgtEl>
                                          </p:cBhvr>
                                        </p:animEffect>
                                      </p:childTnLst>
                                    </p:cTn>
                                  </p:par>
                                  <p:par>
                                    <p:cTn id="63" presetID="42" presetClass="path" presetSubtype="0" decel="100000" fill="hold" nodeType="withEffect">
                                      <p:stCondLst>
                                        <p:cond delay="0"/>
                                      </p:stCondLst>
                                      <p:childTnLst>
                                        <p:animMotion origin="layout" path="M -4.58333E-6 -0.03472 L -4.58333E-6 -4.81481E-6 " pathEditMode="relative" rAng="0" ptsTypes="AA">
                                          <p:cBhvr>
                                            <p:cTn id="64" dur="500" fill="hold"/>
                                            <p:tgtEl>
                                              <p:spTgt spid="34"/>
                                            </p:tgtEl>
                                            <p:attrNameLst>
                                              <p:attrName>ppt_x</p:attrName>
                                              <p:attrName>ppt_y</p:attrName>
                                            </p:attrNameLst>
                                          </p:cBhvr>
                                          <p:rCtr x="0" y="1736"/>
                                        </p:animMotion>
                                      </p:childTnLst>
                                    </p:cTn>
                                  </p:par>
                                  <p:par>
                                    <p:cTn id="65" presetID="23" presetClass="entr" presetSubtype="16" fill="hold" grpId="0" nodeType="withEffect">
                                      <p:stCondLst>
                                        <p:cond delay="0"/>
                                      </p:stCondLst>
                                      <p:childTnLst>
                                        <p:set>
                                          <p:cBhvr>
                                            <p:cTn id="66" dur="1" fill="hold">
                                              <p:stCondLst>
                                                <p:cond delay="0"/>
                                              </p:stCondLst>
                                            </p:cTn>
                                            <p:tgtEl>
                                              <p:spTgt spid="1618"/>
                                            </p:tgtEl>
                                            <p:attrNameLst>
                                              <p:attrName>style.visibility</p:attrName>
                                            </p:attrNameLst>
                                          </p:cBhvr>
                                          <p:to>
                                            <p:strVal val="visible"/>
                                          </p:to>
                                        </p:set>
                                        <p:anim calcmode="lin" valueType="num">
                                          <p:cBhvr>
                                            <p:cTn id="67" dur="250" fill="hold"/>
                                            <p:tgtEl>
                                              <p:spTgt spid="1618"/>
                                            </p:tgtEl>
                                            <p:attrNameLst>
                                              <p:attrName>ppt_w</p:attrName>
                                            </p:attrNameLst>
                                          </p:cBhvr>
                                          <p:tavLst>
                                            <p:tav tm="0">
                                              <p:val>
                                                <p:fltVal val="0"/>
                                              </p:val>
                                            </p:tav>
                                            <p:tav tm="100000">
                                              <p:val>
                                                <p:strVal val="#ppt_w"/>
                                              </p:val>
                                            </p:tav>
                                          </p:tavLst>
                                        </p:anim>
                                        <p:anim calcmode="lin" valueType="num">
                                          <p:cBhvr>
                                            <p:cTn id="68" dur="250" fill="hold"/>
                                            <p:tgtEl>
                                              <p:spTgt spid="1618"/>
                                            </p:tgtEl>
                                            <p:attrNameLst>
                                              <p:attrName>ppt_h</p:attrName>
                                            </p:attrNameLst>
                                          </p:cBhvr>
                                          <p:tavLst>
                                            <p:tav tm="0">
                                              <p:val>
                                                <p:fltVal val="0"/>
                                              </p:val>
                                            </p:tav>
                                            <p:tav tm="100000">
                                              <p:val>
                                                <p:strVal val="#ppt_h"/>
                                              </p:val>
                                            </p:tav>
                                          </p:tavLst>
                                        </p:anim>
                                      </p:childTnLst>
                                    </p:cTn>
                                  </p:par>
                                  <p:par>
                                    <p:cTn id="69" presetID="6" presetClass="emph" presetSubtype="0" accel="25000" decel="50000" autoRev="1" fill="hold" grpId="1" nodeType="withEffect">
                                      <p:stCondLst>
                                        <p:cond delay="150"/>
                                      </p:stCondLst>
                                      <p:childTnLst>
                                        <p:animScale>
                                          <p:cBhvr>
                                            <p:cTn id="70" dur="200" fill="hold"/>
                                            <p:tgtEl>
                                              <p:spTgt spid="1618"/>
                                            </p:tgtEl>
                                          </p:cBhvr>
                                          <p:by x="110000" y="110000"/>
                                        </p:animScale>
                                      </p:childTnLst>
                                    </p:cTn>
                                  </p:par>
                                </p:childTnLst>
                              </p:cTn>
                            </p:par>
                            <p:par>
                              <p:cTn id="71" fill="hold">
                                <p:stCondLst>
                                  <p:cond delay="2500"/>
                                </p:stCondLst>
                                <p:childTnLst>
                                  <p:par>
                                    <p:cTn id="72" presetID="10" presetClass="entr" presetSubtype="0" fill="hold" grpId="0" nodeType="afterEffect">
                                      <p:stCondLst>
                                        <p:cond delay="0"/>
                                      </p:stCondLst>
                                      <p:childTnLst>
                                        <p:set>
                                          <p:cBhvr>
                                            <p:cTn id="73" dur="1" fill="hold">
                                              <p:stCondLst>
                                                <p:cond delay="0"/>
                                              </p:stCondLst>
                                            </p:cTn>
                                            <p:tgtEl>
                                              <p:spTgt spid="17"/>
                                            </p:tgtEl>
                                            <p:attrNameLst>
                                              <p:attrName>style.visibility</p:attrName>
                                            </p:attrNameLst>
                                          </p:cBhvr>
                                          <p:to>
                                            <p:strVal val="visible"/>
                                          </p:to>
                                        </p:set>
                                        <p:animEffect transition="in" filter="fade">
                                          <p:cBhvr>
                                            <p:cTn id="74" dur="250"/>
                                            <p:tgtEl>
                                              <p:spTgt spid="17"/>
                                            </p:tgtEl>
                                          </p:cBhvr>
                                        </p:animEffect>
                                      </p:childTnLst>
                                    </p:cTn>
                                  </p:par>
                                  <p:par>
                                    <p:cTn id="75" presetID="42" presetClass="path" presetSubtype="0" decel="100000" fill="hold" grpId="1" nodeType="withEffect">
                                      <p:stCondLst>
                                        <p:cond delay="0"/>
                                      </p:stCondLst>
                                      <p:childTnLst>
                                        <p:animMotion origin="layout" path="M 0 -0.03472 L 0 -2.59259E-6 " pathEditMode="relative" rAng="0" ptsTypes="AA">
                                          <p:cBhvr>
                                            <p:cTn id="76" dur="500" fill="hold"/>
                                            <p:tgtEl>
                                              <p:spTgt spid="17"/>
                                            </p:tgtEl>
                                            <p:attrNameLst>
                                              <p:attrName>ppt_x</p:attrName>
                                              <p:attrName>ppt_y</p:attrName>
                                            </p:attrNameLst>
                                          </p:cBhvr>
                                          <p:rCtr x="0" y="1736"/>
                                        </p:animMotion>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18"/>
                                            </p:tgtEl>
                                            <p:attrNameLst>
                                              <p:attrName>style.visibility</p:attrName>
                                            </p:attrNameLst>
                                          </p:cBhvr>
                                          <p:to>
                                            <p:strVal val="visible"/>
                                          </p:to>
                                        </p:set>
                                        <p:animEffect transition="in" filter="fade">
                                          <p:cBhvr>
                                            <p:cTn id="81" dur="500"/>
                                            <p:tgtEl>
                                              <p:spTgt spid="1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2"/>
                                            </p:tgtEl>
                                            <p:attrNameLst>
                                              <p:attrName>style.visibility</p:attrName>
                                            </p:attrNameLst>
                                          </p:cBhvr>
                                          <p:to>
                                            <p:strVal val="visible"/>
                                          </p:to>
                                        </p:set>
                                        <p:animEffect transition="in" filter="fade">
                                          <p:cBhvr>
                                            <p:cTn id="84" dur="500"/>
                                            <p:tgtEl>
                                              <p:spTgt spid="12"/>
                                            </p:tgtEl>
                                          </p:cBhvr>
                                        </p:animEffect>
                                      </p:childTnLst>
                                    </p:cTn>
                                  </p:par>
                                  <p:par>
                                    <p:cTn id="85" presetID="23" presetClass="entr" presetSubtype="16" fill="hold" grpId="0" nodeType="withEffect">
                                      <p:stCondLst>
                                        <p:cond delay="500"/>
                                      </p:stCondLst>
                                      <p:childTnLst>
                                        <p:set>
                                          <p:cBhvr>
                                            <p:cTn id="86" dur="1" fill="hold">
                                              <p:stCondLst>
                                                <p:cond delay="0"/>
                                              </p:stCondLst>
                                            </p:cTn>
                                            <p:tgtEl>
                                              <p:spTgt spid="29"/>
                                            </p:tgtEl>
                                            <p:attrNameLst>
                                              <p:attrName>style.visibility</p:attrName>
                                            </p:attrNameLst>
                                          </p:cBhvr>
                                          <p:to>
                                            <p:strVal val="visible"/>
                                          </p:to>
                                        </p:set>
                                        <p:anim calcmode="lin" valueType="num">
                                          <p:cBhvr>
                                            <p:cTn id="87" dur="250" fill="hold"/>
                                            <p:tgtEl>
                                              <p:spTgt spid="29"/>
                                            </p:tgtEl>
                                            <p:attrNameLst>
                                              <p:attrName>ppt_w</p:attrName>
                                            </p:attrNameLst>
                                          </p:cBhvr>
                                          <p:tavLst>
                                            <p:tav tm="0">
                                              <p:val>
                                                <p:fltVal val="0"/>
                                              </p:val>
                                            </p:tav>
                                            <p:tav tm="100000">
                                              <p:val>
                                                <p:strVal val="#ppt_w"/>
                                              </p:val>
                                            </p:tav>
                                          </p:tavLst>
                                        </p:anim>
                                        <p:anim calcmode="lin" valueType="num">
                                          <p:cBhvr>
                                            <p:cTn id="88" dur="250" fill="hold"/>
                                            <p:tgtEl>
                                              <p:spTgt spid="29"/>
                                            </p:tgtEl>
                                            <p:attrNameLst>
                                              <p:attrName>ppt_h</p:attrName>
                                            </p:attrNameLst>
                                          </p:cBhvr>
                                          <p:tavLst>
                                            <p:tav tm="0">
                                              <p:val>
                                                <p:fltVal val="0"/>
                                              </p:val>
                                            </p:tav>
                                            <p:tav tm="100000">
                                              <p:val>
                                                <p:strVal val="#ppt_h"/>
                                              </p:val>
                                            </p:tav>
                                          </p:tavLst>
                                        </p:anim>
                                      </p:childTnLst>
                                    </p:cTn>
                                  </p:par>
                                  <p:par>
                                    <p:cTn id="89" presetID="6" presetClass="emph" presetSubtype="0" accel="25000" decel="50000" autoRev="1" fill="hold" grpId="1" nodeType="withEffect">
                                      <p:stCondLst>
                                        <p:cond delay="500"/>
                                      </p:stCondLst>
                                      <p:childTnLst>
                                        <p:animScale>
                                          <p:cBhvr>
                                            <p:cTn id="90" dur="200" fill="hold"/>
                                            <p:tgtEl>
                                              <p:spTgt spid="29"/>
                                            </p:tgtEl>
                                          </p:cBhvr>
                                          <p:by x="110000" y="110000"/>
                                        </p:animScale>
                                      </p:childTnLst>
                                    </p:cTn>
                                  </p:par>
                                  <p:par>
                                    <p:cTn id="91" presetID="10" presetClass="entr" presetSubtype="0" fill="hold" nodeType="withEffect">
                                      <p:stCondLst>
                                        <p:cond delay="500"/>
                                      </p:stCondLst>
                                      <p:childTnLst>
                                        <p:set>
                                          <p:cBhvr>
                                            <p:cTn id="92" dur="1" fill="hold">
                                              <p:stCondLst>
                                                <p:cond delay="0"/>
                                              </p:stCondLst>
                                            </p:cTn>
                                            <p:tgtEl>
                                              <p:spTgt spid="266"/>
                                            </p:tgtEl>
                                            <p:attrNameLst>
                                              <p:attrName>style.visibility</p:attrName>
                                            </p:attrNameLst>
                                          </p:cBhvr>
                                          <p:to>
                                            <p:strVal val="visible"/>
                                          </p:to>
                                        </p:set>
                                        <p:animEffect transition="in" filter="fade">
                                          <p:cBhvr>
                                            <p:cTn id="93" dur="500"/>
                                            <p:tgtEl>
                                              <p:spTgt spid="266"/>
                                            </p:tgtEl>
                                          </p:cBhvr>
                                        </p:animEffect>
                                      </p:childTnLst>
                                    </p:cTn>
                                  </p:par>
                                  <p:par>
                                    <p:cTn id="94" presetID="64" presetClass="path" presetSubtype="0" decel="100000" fill="hold" nodeType="withEffect">
                                      <p:stCondLst>
                                        <p:cond delay="500"/>
                                      </p:stCondLst>
                                      <p:childTnLst>
                                        <p:animMotion origin="layout" path="M -1.66667E-6 0.0699 L -1.66667E-6 4.44444E-6 " pathEditMode="relative" rAng="0" ptsTypes="AA">
                                          <p:cBhvr>
                                            <p:cTn id="95" dur="500" fill="hold"/>
                                            <p:tgtEl>
                                              <p:spTgt spid="266"/>
                                            </p:tgtEl>
                                            <p:attrNameLst>
                                              <p:attrName>ppt_x</p:attrName>
                                              <p:attrName>ppt_y</p:attrName>
                                            </p:attrNameLst>
                                          </p:cBhvr>
                                          <p:rCtr x="0" y="-3495"/>
                                        </p:animMotion>
                                      </p:childTnLst>
                                    </p:cTn>
                                  </p:par>
                                  <p:par>
                                    <p:cTn id="96" presetID="10" presetClass="entr" presetSubtype="0" fill="hold" nodeType="withEffect">
                                      <p:stCondLst>
                                        <p:cond delay="500"/>
                                      </p:stCondLst>
                                      <p:childTnLst>
                                        <p:set>
                                          <p:cBhvr>
                                            <p:cTn id="97" dur="1" fill="hold">
                                              <p:stCondLst>
                                                <p:cond delay="0"/>
                                              </p:stCondLst>
                                            </p:cTn>
                                            <p:tgtEl>
                                              <p:spTgt spid="37"/>
                                            </p:tgtEl>
                                            <p:attrNameLst>
                                              <p:attrName>style.visibility</p:attrName>
                                            </p:attrNameLst>
                                          </p:cBhvr>
                                          <p:to>
                                            <p:strVal val="visible"/>
                                          </p:to>
                                        </p:set>
                                        <p:animEffect transition="in" filter="fade">
                                          <p:cBhvr>
                                            <p:cTn id="98" dur="500"/>
                                            <p:tgtEl>
                                              <p:spTgt spid="37"/>
                                            </p:tgtEl>
                                          </p:cBhvr>
                                        </p:animEffect>
                                      </p:childTnLst>
                                    </p:cTn>
                                  </p:par>
                                  <p:par>
                                    <p:cTn id="99" presetID="64" presetClass="path" presetSubtype="0" decel="100000" fill="hold" nodeType="withEffect">
                                      <p:stCondLst>
                                        <p:cond delay="500"/>
                                      </p:stCondLst>
                                      <p:childTnLst>
                                        <p:animMotion origin="layout" path="M 1.11022E-16 0.06991 L 1.11022E-16 7.40741E-7 " pathEditMode="relative" rAng="0" ptsTypes="AA">
                                          <p:cBhvr>
                                            <p:cTn id="100" dur="500" fill="hold"/>
                                            <p:tgtEl>
                                              <p:spTgt spid="37"/>
                                            </p:tgtEl>
                                            <p:attrNameLst>
                                              <p:attrName>ppt_x</p:attrName>
                                              <p:attrName>ppt_y</p:attrName>
                                            </p:attrNameLst>
                                          </p:cBhvr>
                                          <p:rCtr x="0" y="-3495"/>
                                        </p:animMotion>
                                      </p:childTnLst>
                                    </p:cTn>
                                  </p:par>
                                  <p:par>
                                    <p:cTn id="101" presetID="23" presetClass="entr" presetSubtype="16" fill="hold" grpId="0" nodeType="withEffect">
                                      <p:stCondLst>
                                        <p:cond delay="500"/>
                                      </p:stCondLst>
                                      <p:childTnLst>
                                        <p:set>
                                          <p:cBhvr>
                                            <p:cTn id="102" dur="1" fill="hold">
                                              <p:stCondLst>
                                                <p:cond delay="0"/>
                                              </p:stCondLst>
                                            </p:cTn>
                                            <p:tgtEl>
                                              <p:spTgt spid="28"/>
                                            </p:tgtEl>
                                            <p:attrNameLst>
                                              <p:attrName>style.visibility</p:attrName>
                                            </p:attrNameLst>
                                          </p:cBhvr>
                                          <p:to>
                                            <p:strVal val="visible"/>
                                          </p:to>
                                        </p:set>
                                        <p:anim calcmode="lin" valueType="num">
                                          <p:cBhvr>
                                            <p:cTn id="103" dur="250" fill="hold"/>
                                            <p:tgtEl>
                                              <p:spTgt spid="28"/>
                                            </p:tgtEl>
                                            <p:attrNameLst>
                                              <p:attrName>ppt_w</p:attrName>
                                            </p:attrNameLst>
                                          </p:cBhvr>
                                          <p:tavLst>
                                            <p:tav tm="0">
                                              <p:val>
                                                <p:fltVal val="0"/>
                                              </p:val>
                                            </p:tav>
                                            <p:tav tm="100000">
                                              <p:val>
                                                <p:strVal val="#ppt_w"/>
                                              </p:val>
                                            </p:tav>
                                          </p:tavLst>
                                        </p:anim>
                                        <p:anim calcmode="lin" valueType="num">
                                          <p:cBhvr>
                                            <p:cTn id="104" dur="250" fill="hold"/>
                                            <p:tgtEl>
                                              <p:spTgt spid="28"/>
                                            </p:tgtEl>
                                            <p:attrNameLst>
                                              <p:attrName>ppt_h</p:attrName>
                                            </p:attrNameLst>
                                          </p:cBhvr>
                                          <p:tavLst>
                                            <p:tav tm="0">
                                              <p:val>
                                                <p:fltVal val="0"/>
                                              </p:val>
                                            </p:tav>
                                            <p:tav tm="100000">
                                              <p:val>
                                                <p:strVal val="#ppt_h"/>
                                              </p:val>
                                            </p:tav>
                                          </p:tavLst>
                                        </p:anim>
                                      </p:childTnLst>
                                    </p:cTn>
                                  </p:par>
                                  <p:par>
                                    <p:cTn id="105" presetID="6" presetClass="emph" presetSubtype="0" accel="25000" decel="50000" autoRev="1" fill="hold" grpId="1" nodeType="withEffect">
                                      <p:stCondLst>
                                        <p:cond delay="500"/>
                                      </p:stCondLst>
                                      <p:childTnLst>
                                        <p:animScale>
                                          <p:cBhvr>
                                            <p:cTn id="106" dur="200" fill="hold"/>
                                            <p:tgtEl>
                                              <p:spTgt spid="28"/>
                                            </p:tgtEl>
                                          </p:cBhvr>
                                          <p:by x="110000" y="110000"/>
                                        </p:animScale>
                                      </p:childTnLst>
                                    </p:cTn>
                                  </p:par>
                                  <p:par>
                                    <p:cTn id="107" presetID="23" presetClass="entr" presetSubtype="16" fill="hold" grpId="0" nodeType="withEffect">
                                      <p:stCondLst>
                                        <p:cond delay="1000"/>
                                      </p:stCondLst>
                                      <p:childTnLst>
                                        <p:set>
                                          <p:cBhvr>
                                            <p:cTn id="108" dur="1" fill="hold">
                                              <p:stCondLst>
                                                <p:cond delay="0"/>
                                              </p:stCondLst>
                                            </p:cTn>
                                            <p:tgtEl>
                                              <p:spTgt spid="1619"/>
                                            </p:tgtEl>
                                            <p:attrNameLst>
                                              <p:attrName>style.visibility</p:attrName>
                                            </p:attrNameLst>
                                          </p:cBhvr>
                                          <p:to>
                                            <p:strVal val="visible"/>
                                          </p:to>
                                        </p:set>
                                        <p:anim calcmode="lin" valueType="num">
                                          <p:cBhvr>
                                            <p:cTn id="109" dur="250" fill="hold"/>
                                            <p:tgtEl>
                                              <p:spTgt spid="1619"/>
                                            </p:tgtEl>
                                            <p:attrNameLst>
                                              <p:attrName>ppt_w</p:attrName>
                                            </p:attrNameLst>
                                          </p:cBhvr>
                                          <p:tavLst>
                                            <p:tav tm="0">
                                              <p:val>
                                                <p:fltVal val="0"/>
                                              </p:val>
                                            </p:tav>
                                            <p:tav tm="100000">
                                              <p:val>
                                                <p:strVal val="#ppt_w"/>
                                              </p:val>
                                            </p:tav>
                                          </p:tavLst>
                                        </p:anim>
                                        <p:anim calcmode="lin" valueType="num">
                                          <p:cBhvr>
                                            <p:cTn id="110" dur="250" fill="hold"/>
                                            <p:tgtEl>
                                              <p:spTgt spid="1619"/>
                                            </p:tgtEl>
                                            <p:attrNameLst>
                                              <p:attrName>ppt_h</p:attrName>
                                            </p:attrNameLst>
                                          </p:cBhvr>
                                          <p:tavLst>
                                            <p:tav tm="0">
                                              <p:val>
                                                <p:fltVal val="0"/>
                                              </p:val>
                                            </p:tav>
                                            <p:tav tm="100000">
                                              <p:val>
                                                <p:strVal val="#ppt_h"/>
                                              </p:val>
                                            </p:tav>
                                          </p:tavLst>
                                        </p:anim>
                                      </p:childTnLst>
                                    </p:cTn>
                                  </p:par>
                                  <p:par>
                                    <p:cTn id="111" presetID="6" presetClass="emph" presetSubtype="0" accel="25000" decel="50000" autoRev="1" fill="hold" grpId="1" nodeType="withEffect">
                                      <p:stCondLst>
                                        <p:cond delay="1000"/>
                                      </p:stCondLst>
                                      <p:childTnLst>
                                        <p:animScale>
                                          <p:cBhvr>
                                            <p:cTn id="112" dur="200" fill="hold"/>
                                            <p:tgtEl>
                                              <p:spTgt spid="1619"/>
                                            </p:tgtEl>
                                          </p:cBhvr>
                                          <p:by x="110000" y="110000"/>
                                        </p:animScale>
                                      </p:childTnLst>
                                    </p:cTn>
                                  </p:par>
                                  <p:par>
                                    <p:cTn id="113" presetID="10" presetClass="entr" presetSubtype="0" fill="hold" nodeType="withEffect">
                                      <p:stCondLst>
                                        <p:cond delay="0"/>
                                      </p:stCondLst>
                                      <p:childTnLst>
                                        <p:set>
                                          <p:cBhvr>
                                            <p:cTn id="114" dur="1" fill="hold">
                                              <p:stCondLst>
                                                <p:cond delay="0"/>
                                              </p:stCondLst>
                                            </p:cTn>
                                            <p:tgtEl>
                                              <p:spTgt spid="1608"/>
                                            </p:tgtEl>
                                            <p:attrNameLst>
                                              <p:attrName>style.visibility</p:attrName>
                                            </p:attrNameLst>
                                          </p:cBhvr>
                                          <p:to>
                                            <p:strVal val="visible"/>
                                          </p:to>
                                        </p:set>
                                        <p:animEffect transition="in" filter="fade">
                                          <p:cBhvr>
                                            <p:cTn id="115" dur="500"/>
                                            <p:tgtEl>
                                              <p:spTgt spid="1608"/>
                                            </p:tgtEl>
                                          </p:cBhvr>
                                        </p:animEffect>
                                      </p:childTnLst>
                                    </p:cTn>
                                  </p:par>
                                  <p:par>
                                    <p:cTn id="116" presetID="64" presetClass="path" presetSubtype="0" decel="100000" fill="hold" nodeType="withEffect">
                                      <p:stCondLst>
                                        <p:cond delay="0"/>
                                      </p:stCondLst>
                                      <p:childTnLst>
                                        <p:animMotion origin="layout" path="M -1.04167E-6 0.06991 L -1.04167E-6 2.22222E-6 " pathEditMode="relative" rAng="0" ptsTypes="AA">
                                          <p:cBhvr>
                                            <p:cTn id="117" dur="500" fill="hold"/>
                                            <p:tgtEl>
                                              <p:spTgt spid="1608"/>
                                            </p:tgtEl>
                                            <p:attrNameLst>
                                              <p:attrName>ppt_x</p:attrName>
                                              <p:attrName>ppt_y</p:attrName>
                                            </p:attrNameLst>
                                          </p:cBhvr>
                                          <p:rCtr x="0" y="-3495"/>
                                        </p:animMotion>
                                      </p:childTnLst>
                                    </p:cTn>
                                  </p:par>
                                  <p:par>
                                    <p:cTn id="118" presetID="23" presetClass="entr" presetSubtype="16" fill="hold" nodeType="withEffect">
                                      <p:stCondLst>
                                        <p:cond delay="0"/>
                                      </p:stCondLst>
                                      <p:childTnLst>
                                        <p:set>
                                          <p:cBhvr>
                                            <p:cTn id="119" dur="1" fill="hold">
                                              <p:stCondLst>
                                                <p:cond delay="0"/>
                                              </p:stCondLst>
                                            </p:cTn>
                                            <p:tgtEl>
                                              <p:spTgt spid="1621"/>
                                            </p:tgtEl>
                                            <p:attrNameLst>
                                              <p:attrName>style.visibility</p:attrName>
                                            </p:attrNameLst>
                                          </p:cBhvr>
                                          <p:to>
                                            <p:strVal val="visible"/>
                                          </p:to>
                                        </p:set>
                                        <p:anim calcmode="lin" valueType="num">
                                          <p:cBhvr>
                                            <p:cTn id="120" dur="250" fill="hold"/>
                                            <p:tgtEl>
                                              <p:spTgt spid="1621"/>
                                            </p:tgtEl>
                                            <p:attrNameLst>
                                              <p:attrName>ppt_w</p:attrName>
                                            </p:attrNameLst>
                                          </p:cBhvr>
                                          <p:tavLst>
                                            <p:tav tm="0">
                                              <p:val>
                                                <p:fltVal val="0"/>
                                              </p:val>
                                            </p:tav>
                                            <p:tav tm="100000">
                                              <p:val>
                                                <p:strVal val="#ppt_w"/>
                                              </p:val>
                                            </p:tav>
                                          </p:tavLst>
                                        </p:anim>
                                        <p:anim calcmode="lin" valueType="num">
                                          <p:cBhvr>
                                            <p:cTn id="121" dur="250" fill="hold"/>
                                            <p:tgtEl>
                                              <p:spTgt spid="1621"/>
                                            </p:tgtEl>
                                            <p:attrNameLst>
                                              <p:attrName>ppt_h</p:attrName>
                                            </p:attrNameLst>
                                          </p:cBhvr>
                                          <p:tavLst>
                                            <p:tav tm="0">
                                              <p:val>
                                                <p:fltVal val="0"/>
                                              </p:val>
                                            </p:tav>
                                            <p:tav tm="100000">
                                              <p:val>
                                                <p:strVal val="#ppt_h"/>
                                              </p:val>
                                            </p:tav>
                                          </p:tavLst>
                                        </p:anim>
                                      </p:childTnLst>
                                    </p:cTn>
                                  </p:par>
                                  <p:par>
                                    <p:cTn id="122" presetID="6" presetClass="emph" presetSubtype="0" fill="hold" nodeType="withEffect">
                                      <p:stCondLst>
                                        <p:cond delay="0"/>
                                      </p:stCondLst>
                                      <p:childTnLst>
                                        <p:animScale>
                                          <p:cBhvr>
                                            <p:cTn id="123" dur="1000" fill="hold"/>
                                            <p:tgtEl>
                                              <p:spTgt spid="1621"/>
                                            </p:tgtEl>
                                          </p:cBhvr>
                                          <p:by x="110000" y="110000"/>
                                        </p:animScale>
                                      </p:childTnLst>
                                    </p:cTn>
                                  </p:par>
                                  <p:par>
                                    <p:cTn id="124" presetID="8" presetClass="emph" presetSubtype="0" decel="100000" fill="hold" nodeType="withEffect">
                                      <p:stCondLst>
                                        <p:cond delay="0"/>
                                      </p:stCondLst>
                                      <p:childTnLst>
                                        <p:animRot by="21600000">
                                          <p:cBhvr>
                                            <p:cTn id="125" dur="500" fill="hold"/>
                                            <p:tgtEl>
                                              <p:spTgt spid="1621"/>
                                            </p:tgtEl>
                                            <p:attrNameLst>
                                              <p:attrName>r</p:attrName>
                                            </p:attrNameLst>
                                          </p:cBhvr>
                                        </p:animRot>
                                      </p:childTnLst>
                                    </p:cTn>
                                  </p:par>
                                  <p:par>
                                    <p:cTn id="126" presetID="6" presetClass="emph" presetSubtype="0" fill="hold" nodeType="withEffect">
                                      <p:stCondLst>
                                        <p:cond delay="0"/>
                                      </p:stCondLst>
                                      <p:childTnLst>
                                        <p:animScale>
                                          <p:cBhvr>
                                            <p:cTn id="127" dur="250" fill="hold"/>
                                            <p:tgtEl>
                                              <p:spTgt spid="1621"/>
                                            </p:tgtEl>
                                          </p:cBhvr>
                                          <p:by x="91000" y="91000"/>
                                        </p:animScale>
                                      </p:childTnLst>
                                    </p:cTn>
                                  </p:par>
                                  <p:par>
                                    <p:cTn id="128" presetID="23" presetClass="entr" presetSubtype="16" fill="hold" grpId="0" nodeType="withEffect">
                                      <p:stCondLst>
                                        <p:cond delay="1000"/>
                                      </p:stCondLst>
                                      <p:childTnLst>
                                        <p:set>
                                          <p:cBhvr>
                                            <p:cTn id="129" dur="1" fill="hold">
                                              <p:stCondLst>
                                                <p:cond delay="0"/>
                                              </p:stCondLst>
                                            </p:cTn>
                                            <p:tgtEl>
                                              <p:spTgt spid="1620"/>
                                            </p:tgtEl>
                                            <p:attrNameLst>
                                              <p:attrName>style.visibility</p:attrName>
                                            </p:attrNameLst>
                                          </p:cBhvr>
                                          <p:to>
                                            <p:strVal val="visible"/>
                                          </p:to>
                                        </p:set>
                                        <p:anim calcmode="lin" valueType="num">
                                          <p:cBhvr>
                                            <p:cTn id="130" dur="250" fill="hold"/>
                                            <p:tgtEl>
                                              <p:spTgt spid="1620"/>
                                            </p:tgtEl>
                                            <p:attrNameLst>
                                              <p:attrName>ppt_w</p:attrName>
                                            </p:attrNameLst>
                                          </p:cBhvr>
                                          <p:tavLst>
                                            <p:tav tm="0">
                                              <p:val>
                                                <p:fltVal val="0"/>
                                              </p:val>
                                            </p:tav>
                                            <p:tav tm="100000">
                                              <p:val>
                                                <p:strVal val="#ppt_w"/>
                                              </p:val>
                                            </p:tav>
                                          </p:tavLst>
                                        </p:anim>
                                        <p:anim calcmode="lin" valueType="num">
                                          <p:cBhvr>
                                            <p:cTn id="131" dur="250" fill="hold"/>
                                            <p:tgtEl>
                                              <p:spTgt spid="1620"/>
                                            </p:tgtEl>
                                            <p:attrNameLst>
                                              <p:attrName>ppt_h</p:attrName>
                                            </p:attrNameLst>
                                          </p:cBhvr>
                                          <p:tavLst>
                                            <p:tav tm="0">
                                              <p:val>
                                                <p:fltVal val="0"/>
                                              </p:val>
                                            </p:tav>
                                            <p:tav tm="100000">
                                              <p:val>
                                                <p:strVal val="#ppt_h"/>
                                              </p:val>
                                            </p:tav>
                                          </p:tavLst>
                                        </p:anim>
                                      </p:childTnLst>
                                    </p:cTn>
                                  </p:par>
                                  <p:par>
                                    <p:cTn id="132" presetID="6" presetClass="emph" presetSubtype="0" accel="25000" decel="50000" autoRev="1" fill="hold" grpId="1" nodeType="withEffect">
                                      <p:stCondLst>
                                        <p:cond delay="1000"/>
                                      </p:stCondLst>
                                      <p:childTnLst>
                                        <p:animScale>
                                          <p:cBhvr>
                                            <p:cTn id="133" dur="200" fill="hold"/>
                                            <p:tgtEl>
                                              <p:spTgt spid="1620"/>
                                            </p:tgtEl>
                                          </p:cBhvr>
                                          <p:by x="110000" y="110000"/>
                                        </p:animScale>
                                      </p:childTnLst>
                                    </p:cTn>
                                  </p:par>
                                  <p:par>
                                    <p:cTn id="134" presetID="23" presetClass="entr" presetSubtype="16" fill="hold" nodeType="withEffect">
                                      <p:stCondLst>
                                        <p:cond delay="1000"/>
                                      </p:stCondLst>
                                      <p:childTnLst>
                                        <p:set>
                                          <p:cBhvr>
                                            <p:cTn id="135" dur="1" fill="hold">
                                              <p:stCondLst>
                                                <p:cond delay="0"/>
                                              </p:stCondLst>
                                            </p:cTn>
                                            <p:tgtEl>
                                              <p:spTgt spid="1695"/>
                                            </p:tgtEl>
                                            <p:attrNameLst>
                                              <p:attrName>style.visibility</p:attrName>
                                            </p:attrNameLst>
                                          </p:cBhvr>
                                          <p:to>
                                            <p:strVal val="visible"/>
                                          </p:to>
                                        </p:set>
                                        <p:anim calcmode="lin" valueType="num">
                                          <p:cBhvr>
                                            <p:cTn id="136" dur="250" fill="hold"/>
                                            <p:tgtEl>
                                              <p:spTgt spid="1695"/>
                                            </p:tgtEl>
                                            <p:attrNameLst>
                                              <p:attrName>ppt_w</p:attrName>
                                            </p:attrNameLst>
                                          </p:cBhvr>
                                          <p:tavLst>
                                            <p:tav tm="0">
                                              <p:val>
                                                <p:fltVal val="0"/>
                                              </p:val>
                                            </p:tav>
                                            <p:tav tm="100000">
                                              <p:val>
                                                <p:strVal val="#ppt_w"/>
                                              </p:val>
                                            </p:tav>
                                          </p:tavLst>
                                        </p:anim>
                                        <p:anim calcmode="lin" valueType="num">
                                          <p:cBhvr>
                                            <p:cTn id="137" dur="250" fill="hold"/>
                                            <p:tgtEl>
                                              <p:spTgt spid="1695"/>
                                            </p:tgtEl>
                                            <p:attrNameLst>
                                              <p:attrName>ppt_h</p:attrName>
                                            </p:attrNameLst>
                                          </p:cBhvr>
                                          <p:tavLst>
                                            <p:tav tm="0">
                                              <p:val>
                                                <p:fltVal val="0"/>
                                              </p:val>
                                            </p:tav>
                                            <p:tav tm="100000">
                                              <p:val>
                                                <p:strVal val="#ppt_h"/>
                                              </p:val>
                                            </p:tav>
                                          </p:tavLst>
                                        </p:anim>
                                      </p:childTnLst>
                                    </p:cTn>
                                  </p:par>
                                  <p:par>
                                    <p:cTn id="138" presetID="6" presetClass="emph" presetSubtype="0" fill="hold" nodeType="withEffect">
                                      <p:stCondLst>
                                        <p:cond delay="1000"/>
                                      </p:stCondLst>
                                      <p:childTnLst>
                                        <p:animScale>
                                          <p:cBhvr>
                                            <p:cTn id="139" dur="1000" fill="hold"/>
                                            <p:tgtEl>
                                              <p:spTgt spid="1695"/>
                                            </p:tgtEl>
                                          </p:cBhvr>
                                          <p:by x="110000" y="110000"/>
                                        </p:animScale>
                                      </p:childTnLst>
                                    </p:cTn>
                                  </p:par>
                                  <p:par>
                                    <p:cTn id="140" presetID="6" presetClass="emph" presetSubtype="0" fill="hold" nodeType="withEffect">
                                      <p:stCondLst>
                                        <p:cond delay="1000"/>
                                      </p:stCondLst>
                                      <p:childTnLst>
                                        <p:animScale>
                                          <p:cBhvr>
                                            <p:cTn id="141" dur="250" fill="hold"/>
                                            <p:tgtEl>
                                              <p:spTgt spid="1695"/>
                                            </p:tgtEl>
                                          </p:cBhvr>
                                          <p:by x="91000" y="91000"/>
                                        </p:animScale>
                                      </p:childTnLst>
                                    </p:cTn>
                                  </p:par>
                                  <p:par>
                                    <p:cTn id="142" presetID="23" presetClass="entr" presetSubtype="16" fill="hold" nodeType="withEffect">
                                      <p:stCondLst>
                                        <p:cond delay="1000"/>
                                      </p:stCondLst>
                                      <p:childTnLst>
                                        <p:set>
                                          <p:cBhvr>
                                            <p:cTn id="143" dur="1" fill="hold">
                                              <p:stCondLst>
                                                <p:cond delay="0"/>
                                              </p:stCondLst>
                                            </p:cTn>
                                            <p:tgtEl>
                                              <p:spTgt spid="1626"/>
                                            </p:tgtEl>
                                            <p:attrNameLst>
                                              <p:attrName>style.visibility</p:attrName>
                                            </p:attrNameLst>
                                          </p:cBhvr>
                                          <p:to>
                                            <p:strVal val="visible"/>
                                          </p:to>
                                        </p:set>
                                        <p:anim calcmode="lin" valueType="num">
                                          <p:cBhvr>
                                            <p:cTn id="144" dur="250" fill="hold"/>
                                            <p:tgtEl>
                                              <p:spTgt spid="1626"/>
                                            </p:tgtEl>
                                            <p:attrNameLst>
                                              <p:attrName>ppt_w</p:attrName>
                                            </p:attrNameLst>
                                          </p:cBhvr>
                                          <p:tavLst>
                                            <p:tav tm="0">
                                              <p:val>
                                                <p:fltVal val="0"/>
                                              </p:val>
                                            </p:tav>
                                            <p:tav tm="100000">
                                              <p:val>
                                                <p:strVal val="#ppt_w"/>
                                              </p:val>
                                            </p:tav>
                                          </p:tavLst>
                                        </p:anim>
                                        <p:anim calcmode="lin" valueType="num">
                                          <p:cBhvr>
                                            <p:cTn id="145" dur="250" fill="hold"/>
                                            <p:tgtEl>
                                              <p:spTgt spid="1626"/>
                                            </p:tgtEl>
                                            <p:attrNameLst>
                                              <p:attrName>ppt_h</p:attrName>
                                            </p:attrNameLst>
                                          </p:cBhvr>
                                          <p:tavLst>
                                            <p:tav tm="0">
                                              <p:val>
                                                <p:fltVal val="0"/>
                                              </p:val>
                                            </p:tav>
                                            <p:tav tm="100000">
                                              <p:val>
                                                <p:strVal val="#ppt_h"/>
                                              </p:val>
                                            </p:tav>
                                          </p:tavLst>
                                        </p:anim>
                                      </p:childTnLst>
                                    </p:cTn>
                                  </p:par>
                                  <p:par>
                                    <p:cTn id="146" presetID="6" presetClass="emph" presetSubtype="0" fill="hold" nodeType="withEffect">
                                      <p:stCondLst>
                                        <p:cond delay="1000"/>
                                      </p:stCondLst>
                                      <p:childTnLst>
                                        <p:animScale>
                                          <p:cBhvr>
                                            <p:cTn id="147" dur="1000" fill="hold"/>
                                            <p:tgtEl>
                                              <p:spTgt spid="1626"/>
                                            </p:tgtEl>
                                          </p:cBhvr>
                                          <p:by x="110000" y="110000"/>
                                        </p:animScale>
                                      </p:childTnLst>
                                    </p:cTn>
                                  </p:par>
                                  <p:par>
                                    <p:cTn id="148" presetID="6" presetClass="emph" presetSubtype="0" fill="hold" nodeType="withEffect">
                                      <p:stCondLst>
                                        <p:cond delay="1000"/>
                                      </p:stCondLst>
                                      <p:childTnLst>
                                        <p:animScale>
                                          <p:cBhvr>
                                            <p:cTn id="149" dur="250" fill="hold"/>
                                            <p:tgtEl>
                                              <p:spTgt spid="1626"/>
                                            </p:tgtEl>
                                          </p:cBhvr>
                                          <p:by x="91000" y="91000"/>
                                        </p:animScale>
                                      </p:childTnLst>
                                    </p:cTn>
                                  </p:par>
                                  <p:par>
                                    <p:cTn id="150" presetID="23" presetClass="entr" presetSubtype="16" fill="hold" grpId="0" nodeType="withEffect">
                                      <p:stCondLst>
                                        <p:cond delay="0"/>
                                      </p:stCondLst>
                                      <p:childTnLst>
                                        <p:set>
                                          <p:cBhvr>
                                            <p:cTn id="151" dur="1" fill="hold">
                                              <p:stCondLst>
                                                <p:cond delay="0"/>
                                              </p:stCondLst>
                                            </p:cTn>
                                            <p:tgtEl>
                                              <p:spTgt spid="26"/>
                                            </p:tgtEl>
                                            <p:attrNameLst>
                                              <p:attrName>style.visibility</p:attrName>
                                            </p:attrNameLst>
                                          </p:cBhvr>
                                          <p:to>
                                            <p:strVal val="visible"/>
                                          </p:to>
                                        </p:set>
                                        <p:anim calcmode="lin" valueType="num">
                                          <p:cBhvr>
                                            <p:cTn id="152" dur="250" fill="hold"/>
                                            <p:tgtEl>
                                              <p:spTgt spid="26"/>
                                            </p:tgtEl>
                                            <p:attrNameLst>
                                              <p:attrName>ppt_w</p:attrName>
                                            </p:attrNameLst>
                                          </p:cBhvr>
                                          <p:tavLst>
                                            <p:tav tm="0">
                                              <p:val>
                                                <p:fltVal val="0"/>
                                              </p:val>
                                            </p:tav>
                                            <p:tav tm="100000">
                                              <p:val>
                                                <p:strVal val="#ppt_w"/>
                                              </p:val>
                                            </p:tav>
                                          </p:tavLst>
                                        </p:anim>
                                        <p:anim calcmode="lin" valueType="num">
                                          <p:cBhvr>
                                            <p:cTn id="153" dur="250" fill="hold"/>
                                            <p:tgtEl>
                                              <p:spTgt spid="26"/>
                                            </p:tgtEl>
                                            <p:attrNameLst>
                                              <p:attrName>ppt_h</p:attrName>
                                            </p:attrNameLst>
                                          </p:cBhvr>
                                          <p:tavLst>
                                            <p:tav tm="0">
                                              <p:val>
                                                <p:fltVal val="0"/>
                                              </p:val>
                                            </p:tav>
                                            <p:tav tm="100000">
                                              <p:val>
                                                <p:strVal val="#ppt_h"/>
                                              </p:val>
                                            </p:tav>
                                          </p:tavLst>
                                        </p:anim>
                                      </p:childTnLst>
                                    </p:cTn>
                                  </p:par>
                                  <p:par>
                                    <p:cTn id="154" presetID="6" presetClass="emph" presetSubtype="0" accel="25000" decel="50000" autoRev="1" fill="hold" grpId="1" nodeType="withEffect">
                                      <p:stCondLst>
                                        <p:cond delay="0"/>
                                      </p:stCondLst>
                                      <p:childTnLst>
                                        <p:animScale>
                                          <p:cBhvr>
                                            <p:cTn id="155" dur="200" fill="hold"/>
                                            <p:tgtEl>
                                              <p:spTgt spid="26"/>
                                            </p:tgtEl>
                                          </p:cBhvr>
                                          <p:by x="110000" y="110000"/>
                                        </p:animScale>
                                      </p:childTnLst>
                                    </p:cTn>
                                  </p:par>
                                  <p:par>
                                    <p:cTn id="156" presetID="23" presetClass="entr" presetSubtype="16" fill="hold" grpId="0" nodeType="withEffect">
                                      <p:stCondLst>
                                        <p:cond delay="1500"/>
                                      </p:stCondLst>
                                      <p:childTnLst>
                                        <p:set>
                                          <p:cBhvr>
                                            <p:cTn id="157" dur="1" fill="hold">
                                              <p:stCondLst>
                                                <p:cond delay="0"/>
                                              </p:stCondLst>
                                            </p:cTn>
                                            <p:tgtEl>
                                              <p:spTgt spid="25"/>
                                            </p:tgtEl>
                                            <p:attrNameLst>
                                              <p:attrName>style.visibility</p:attrName>
                                            </p:attrNameLst>
                                          </p:cBhvr>
                                          <p:to>
                                            <p:strVal val="visible"/>
                                          </p:to>
                                        </p:set>
                                        <p:anim calcmode="lin" valueType="num">
                                          <p:cBhvr>
                                            <p:cTn id="158" dur="250" fill="hold"/>
                                            <p:tgtEl>
                                              <p:spTgt spid="25"/>
                                            </p:tgtEl>
                                            <p:attrNameLst>
                                              <p:attrName>ppt_w</p:attrName>
                                            </p:attrNameLst>
                                          </p:cBhvr>
                                          <p:tavLst>
                                            <p:tav tm="0">
                                              <p:val>
                                                <p:fltVal val="0"/>
                                              </p:val>
                                            </p:tav>
                                            <p:tav tm="100000">
                                              <p:val>
                                                <p:strVal val="#ppt_w"/>
                                              </p:val>
                                            </p:tav>
                                          </p:tavLst>
                                        </p:anim>
                                        <p:anim calcmode="lin" valueType="num">
                                          <p:cBhvr>
                                            <p:cTn id="159" dur="250" fill="hold"/>
                                            <p:tgtEl>
                                              <p:spTgt spid="25"/>
                                            </p:tgtEl>
                                            <p:attrNameLst>
                                              <p:attrName>ppt_h</p:attrName>
                                            </p:attrNameLst>
                                          </p:cBhvr>
                                          <p:tavLst>
                                            <p:tav tm="0">
                                              <p:val>
                                                <p:fltVal val="0"/>
                                              </p:val>
                                            </p:tav>
                                            <p:tav tm="100000">
                                              <p:val>
                                                <p:strVal val="#ppt_h"/>
                                              </p:val>
                                            </p:tav>
                                          </p:tavLst>
                                        </p:anim>
                                      </p:childTnLst>
                                    </p:cTn>
                                  </p:par>
                                  <p:par>
                                    <p:cTn id="160" presetID="6" presetClass="emph" presetSubtype="0" accel="25000" decel="50000" autoRev="1" fill="hold" grpId="1" nodeType="withEffect">
                                      <p:stCondLst>
                                        <p:cond delay="1500"/>
                                      </p:stCondLst>
                                      <p:childTnLst>
                                        <p:animScale>
                                          <p:cBhvr>
                                            <p:cTn id="161" dur="200" fill="hold"/>
                                            <p:tgtEl>
                                              <p:spTgt spid="25"/>
                                            </p:tgtEl>
                                          </p:cBhvr>
                                          <p:by x="110000" y="110000"/>
                                        </p:animScale>
                                      </p:childTnLst>
                                    </p:cTn>
                                  </p:par>
                                  <p:par>
                                    <p:cTn id="162" presetID="10" presetClass="entr" presetSubtype="0" fill="hold" grpId="0" nodeType="withEffect">
                                      <p:stCondLst>
                                        <p:cond delay="1500"/>
                                      </p:stCondLst>
                                      <p:childTnLst>
                                        <p:set>
                                          <p:cBhvr>
                                            <p:cTn id="163" dur="1" fill="hold">
                                              <p:stCondLst>
                                                <p:cond delay="0"/>
                                              </p:stCondLst>
                                            </p:cTn>
                                            <p:tgtEl>
                                              <p:spTgt spid="1614"/>
                                            </p:tgtEl>
                                            <p:attrNameLst>
                                              <p:attrName>style.visibility</p:attrName>
                                            </p:attrNameLst>
                                          </p:cBhvr>
                                          <p:to>
                                            <p:strVal val="visible"/>
                                          </p:to>
                                        </p:set>
                                        <p:animEffect transition="in" filter="fade">
                                          <p:cBhvr>
                                            <p:cTn id="164" dur="500"/>
                                            <p:tgtEl>
                                              <p:spTgt spid="1614"/>
                                            </p:tgtEl>
                                          </p:cBhvr>
                                        </p:animEffect>
                                      </p:childTnLst>
                                    </p:cTn>
                                  </p:par>
                                  <p:par>
                                    <p:cTn id="165" presetID="64" presetClass="path" presetSubtype="0" decel="100000" fill="hold" grpId="1" nodeType="withEffect">
                                      <p:stCondLst>
                                        <p:cond delay="1500"/>
                                      </p:stCondLst>
                                      <p:childTnLst>
                                        <p:animMotion origin="layout" path="M 1.25E-6 0.06991 L 1.25E-6 -4.44444E-6 " pathEditMode="relative" rAng="0" ptsTypes="AA">
                                          <p:cBhvr>
                                            <p:cTn id="166" dur="500" fill="hold"/>
                                            <p:tgtEl>
                                              <p:spTgt spid="1614"/>
                                            </p:tgtEl>
                                            <p:attrNameLst>
                                              <p:attrName>ppt_x</p:attrName>
                                              <p:attrName>ppt_y</p:attrName>
                                            </p:attrNameLst>
                                          </p:cBhvr>
                                          <p:rCtr x="0" y="-3495"/>
                                        </p:animMotion>
                                      </p:childTnLst>
                                    </p:cTn>
                                  </p:par>
                                  <p:par>
                                    <p:cTn id="167" presetID="23" presetClass="entr" presetSubtype="16" fill="hold" nodeType="withEffect">
                                      <p:stCondLst>
                                        <p:cond delay="1500"/>
                                      </p:stCondLst>
                                      <p:childTnLst>
                                        <p:set>
                                          <p:cBhvr>
                                            <p:cTn id="168" dur="1" fill="hold">
                                              <p:stCondLst>
                                                <p:cond delay="0"/>
                                              </p:stCondLst>
                                            </p:cTn>
                                            <p:tgtEl>
                                              <p:spTgt spid="65"/>
                                            </p:tgtEl>
                                            <p:attrNameLst>
                                              <p:attrName>style.visibility</p:attrName>
                                            </p:attrNameLst>
                                          </p:cBhvr>
                                          <p:to>
                                            <p:strVal val="visible"/>
                                          </p:to>
                                        </p:set>
                                        <p:anim calcmode="lin" valueType="num">
                                          <p:cBhvr>
                                            <p:cTn id="169" dur="250" fill="hold"/>
                                            <p:tgtEl>
                                              <p:spTgt spid="65"/>
                                            </p:tgtEl>
                                            <p:attrNameLst>
                                              <p:attrName>ppt_w</p:attrName>
                                            </p:attrNameLst>
                                          </p:cBhvr>
                                          <p:tavLst>
                                            <p:tav tm="0">
                                              <p:val>
                                                <p:fltVal val="0"/>
                                              </p:val>
                                            </p:tav>
                                            <p:tav tm="100000">
                                              <p:val>
                                                <p:strVal val="#ppt_w"/>
                                              </p:val>
                                            </p:tav>
                                          </p:tavLst>
                                        </p:anim>
                                        <p:anim calcmode="lin" valueType="num">
                                          <p:cBhvr>
                                            <p:cTn id="170" dur="250" fill="hold"/>
                                            <p:tgtEl>
                                              <p:spTgt spid="65"/>
                                            </p:tgtEl>
                                            <p:attrNameLst>
                                              <p:attrName>ppt_h</p:attrName>
                                            </p:attrNameLst>
                                          </p:cBhvr>
                                          <p:tavLst>
                                            <p:tav tm="0">
                                              <p:val>
                                                <p:fltVal val="0"/>
                                              </p:val>
                                            </p:tav>
                                            <p:tav tm="100000">
                                              <p:val>
                                                <p:strVal val="#ppt_h"/>
                                              </p:val>
                                            </p:tav>
                                          </p:tavLst>
                                        </p:anim>
                                      </p:childTnLst>
                                    </p:cTn>
                                  </p:par>
                                  <p:par>
                                    <p:cTn id="171" presetID="6" presetClass="emph" presetSubtype="0" fill="hold" nodeType="withEffect">
                                      <p:stCondLst>
                                        <p:cond delay="1500"/>
                                      </p:stCondLst>
                                      <p:childTnLst>
                                        <p:animScale>
                                          <p:cBhvr>
                                            <p:cTn id="172" dur="1000" fill="hold"/>
                                            <p:tgtEl>
                                              <p:spTgt spid="65"/>
                                            </p:tgtEl>
                                          </p:cBhvr>
                                          <p:by x="110000" y="110000"/>
                                        </p:animScale>
                                      </p:childTnLst>
                                    </p:cTn>
                                  </p:par>
                                  <p:par>
                                    <p:cTn id="173" presetID="6" presetClass="emph" presetSubtype="0" fill="hold" nodeType="withEffect">
                                      <p:stCondLst>
                                        <p:cond delay="1500"/>
                                      </p:stCondLst>
                                      <p:childTnLst>
                                        <p:animScale>
                                          <p:cBhvr>
                                            <p:cTn id="174" dur="250" fill="hold"/>
                                            <p:tgtEl>
                                              <p:spTgt spid="65"/>
                                            </p:tgtEl>
                                          </p:cBhvr>
                                          <p:by x="91000" y="91000"/>
                                        </p:animScale>
                                      </p:childTnLst>
                                    </p:cTn>
                                  </p:par>
                                  <p:par>
                                    <p:cTn id="175" presetID="23" presetClass="entr" presetSubtype="16" fill="hold" grpId="0" nodeType="withEffect">
                                      <p:stCondLst>
                                        <p:cond delay="1500"/>
                                      </p:stCondLst>
                                      <p:childTnLst>
                                        <p:set>
                                          <p:cBhvr>
                                            <p:cTn id="176" dur="1" fill="hold">
                                              <p:stCondLst>
                                                <p:cond delay="0"/>
                                              </p:stCondLst>
                                            </p:cTn>
                                            <p:tgtEl>
                                              <p:spTgt spid="19"/>
                                            </p:tgtEl>
                                            <p:attrNameLst>
                                              <p:attrName>style.visibility</p:attrName>
                                            </p:attrNameLst>
                                          </p:cBhvr>
                                          <p:to>
                                            <p:strVal val="visible"/>
                                          </p:to>
                                        </p:set>
                                        <p:anim calcmode="lin" valueType="num">
                                          <p:cBhvr>
                                            <p:cTn id="177" dur="250" fill="hold"/>
                                            <p:tgtEl>
                                              <p:spTgt spid="19"/>
                                            </p:tgtEl>
                                            <p:attrNameLst>
                                              <p:attrName>ppt_w</p:attrName>
                                            </p:attrNameLst>
                                          </p:cBhvr>
                                          <p:tavLst>
                                            <p:tav tm="0">
                                              <p:val>
                                                <p:fltVal val="0"/>
                                              </p:val>
                                            </p:tav>
                                            <p:tav tm="100000">
                                              <p:val>
                                                <p:strVal val="#ppt_w"/>
                                              </p:val>
                                            </p:tav>
                                          </p:tavLst>
                                        </p:anim>
                                        <p:anim calcmode="lin" valueType="num">
                                          <p:cBhvr>
                                            <p:cTn id="178" dur="250" fill="hold"/>
                                            <p:tgtEl>
                                              <p:spTgt spid="19"/>
                                            </p:tgtEl>
                                            <p:attrNameLst>
                                              <p:attrName>ppt_h</p:attrName>
                                            </p:attrNameLst>
                                          </p:cBhvr>
                                          <p:tavLst>
                                            <p:tav tm="0">
                                              <p:val>
                                                <p:fltVal val="0"/>
                                              </p:val>
                                            </p:tav>
                                            <p:tav tm="100000">
                                              <p:val>
                                                <p:strVal val="#ppt_h"/>
                                              </p:val>
                                            </p:tav>
                                          </p:tavLst>
                                        </p:anim>
                                      </p:childTnLst>
                                    </p:cTn>
                                  </p:par>
                                  <p:par>
                                    <p:cTn id="179" presetID="6" presetClass="emph" presetSubtype="0" accel="25000" decel="50000" autoRev="1" fill="hold" grpId="1" nodeType="withEffect">
                                      <p:stCondLst>
                                        <p:cond delay="1500"/>
                                      </p:stCondLst>
                                      <p:childTnLst>
                                        <p:animScale>
                                          <p:cBhvr>
                                            <p:cTn id="180" dur="200" fill="hold"/>
                                            <p:tgtEl>
                                              <p:spTgt spid="19"/>
                                            </p:tgtEl>
                                          </p:cBhvr>
                                          <p:by x="110000" y="110000"/>
                                        </p:animScale>
                                      </p:childTnLst>
                                    </p:cTn>
                                  </p:par>
                                  <p:par>
                                    <p:cTn id="181" presetID="23" presetClass="entr" presetSubtype="16" fill="hold" grpId="0" nodeType="withEffect">
                                      <p:stCondLst>
                                        <p:cond delay="0"/>
                                      </p:stCondLst>
                                      <p:childTnLst>
                                        <p:set>
                                          <p:cBhvr>
                                            <p:cTn id="182" dur="1" fill="hold">
                                              <p:stCondLst>
                                                <p:cond delay="0"/>
                                              </p:stCondLst>
                                            </p:cTn>
                                            <p:tgtEl>
                                              <p:spTgt spid="27"/>
                                            </p:tgtEl>
                                            <p:attrNameLst>
                                              <p:attrName>style.visibility</p:attrName>
                                            </p:attrNameLst>
                                          </p:cBhvr>
                                          <p:to>
                                            <p:strVal val="visible"/>
                                          </p:to>
                                        </p:set>
                                        <p:anim calcmode="lin" valueType="num">
                                          <p:cBhvr>
                                            <p:cTn id="183" dur="250" fill="hold"/>
                                            <p:tgtEl>
                                              <p:spTgt spid="27"/>
                                            </p:tgtEl>
                                            <p:attrNameLst>
                                              <p:attrName>ppt_w</p:attrName>
                                            </p:attrNameLst>
                                          </p:cBhvr>
                                          <p:tavLst>
                                            <p:tav tm="0">
                                              <p:val>
                                                <p:fltVal val="0"/>
                                              </p:val>
                                            </p:tav>
                                            <p:tav tm="100000">
                                              <p:val>
                                                <p:strVal val="#ppt_w"/>
                                              </p:val>
                                            </p:tav>
                                          </p:tavLst>
                                        </p:anim>
                                        <p:anim calcmode="lin" valueType="num">
                                          <p:cBhvr>
                                            <p:cTn id="184" dur="250" fill="hold"/>
                                            <p:tgtEl>
                                              <p:spTgt spid="27"/>
                                            </p:tgtEl>
                                            <p:attrNameLst>
                                              <p:attrName>ppt_h</p:attrName>
                                            </p:attrNameLst>
                                          </p:cBhvr>
                                          <p:tavLst>
                                            <p:tav tm="0">
                                              <p:val>
                                                <p:fltVal val="0"/>
                                              </p:val>
                                            </p:tav>
                                            <p:tav tm="100000">
                                              <p:val>
                                                <p:strVal val="#ppt_h"/>
                                              </p:val>
                                            </p:tav>
                                          </p:tavLst>
                                        </p:anim>
                                      </p:childTnLst>
                                    </p:cTn>
                                  </p:par>
                                  <p:par>
                                    <p:cTn id="185" presetID="6" presetClass="emph" presetSubtype="0" accel="25000" decel="50000" autoRev="1" fill="hold" grpId="1" nodeType="withEffect">
                                      <p:stCondLst>
                                        <p:cond delay="0"/>
                                      </p:stCondLst>
                                      <p:childTnLst>
                                        <p:animScale>
                                          <p:cBhvr>
                                            <p:cTn id="186" dur="200" fill="hold"/>
                                            <p:tgtEl>
                                              <p:spTgt spid="2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6" grpId="3" animBg="1"/>
          <p:bldP spid="7" grpId="0" animBg="1"/>
          <p:bldP spid="7" grpId="1" animBg="1"/>
          <p:bldP spid="7" grpId="2" animBg="1"/>
          <p:bldP spid="7" grpId="3" animBg="1"/>
          <p:bldP spid="11" grpId="0" animBg="1"/>
          <p:bldP spid="11" grpId="1" animBg="1"/>
          <p:bldP spid="11" grpId="2" animBg="1"/>
          <p:bldP spid="11" grpId="3" animBg="1"/>
          <p:bldP spid="12" grpId="0" animBg="1"/>
          <p:bldP spid="17" grpId="0"/>
          <p:bldP spid="17" grpId="1"/>
          <p:bldP spid="18" grpId="0" animBg="1"/>
          <p:bldP spid="19" grpId="0" animBg="1"/>
          <p:bldP spid="19"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1614" grpId="0" animBg="1"/>
          <p:bldP spid="1614" grpId="1" animBg="1"/>
          <p:bldP spid="1618" grpId="0" animBg="1"/>
          <p:bldP spid="1618" grpId="1" animBg="1"/>
          <p:bldP spid="1619" grpId="0" animBg="1"/>
          <p:bldP spid="1619" grpId="1" animBg="1"/>
          <p:bldP spid="1620" grpId="0" animBg="1"/>
          <p:bldP spid="1620" grpId="1" animBg="1"/>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27DFF7-40FA-B651-A651-334E4C197627}"/>
              </a:ext>
            </a:extLst>
          </p:cNvPr>
          <p:cNvGraphicFramePr>
            <a:graphicFrameLocks noChangeAspect="1"/>
          </p:cNvGraphicFramePr>
          <p:nvPr>
            <p:custDataLst>
              <p:tags r:id="rId1"/>
            </p:custDataLst>
            <p:extLst>
              <p:ext uri="{D42A27DB-BD31-4B8C-83A1-F6EECF244321}">
                <p14:modId xmlns:p14="http://schemas.microsoft.com/office/powerpoint/2010/main" val="2649460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Object 6" hidden="1">
                        <a:extLst>
                          <a:ext uri="{FF2B5EF4-FFF2-40B4-BE49-F238E27FC236}">
                            <a16:creationId xmlns:a16="http://schemas.microsoft.com/office/drawing/2014/main" id="{0E27DFF7-40FA-B651-A651-334E4C1976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F6B567EB-F2E7-F59A-6884-E737B41F0D39}"/>
              </a:ext>
            </a:extLst>
          </p:cNvPr>
          <p:cNvSpPr/>
          <p:nvPr/>
        </p:nvSpPr>
        <p:spPr>
          <a:xfrm>
            <a:off x="6017096" y="1347537"/>
            <a:ext cx="5812956" cy="49212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28" name="Rectangle 27">
            <a:extLst>
              <a:ext uri="{FF2B5EF4-FFF2-40B4-BE49-F238E27FC236}">
                <a16:creationId xmlns:a16="http://schemas.microsoft.com/office/drawing/2014/main" id="{53F442FB-DA91-0801-2078-EEA6B2A5722E}"/>
              </a:ext>
            </a:extLst>
          </p:cNvPr>
          <p:cNvSpPr/>
          <p:nvPr/>
        </p:nvSpPr>
        <p:spPr>
          <a:xfrm>
            <a:off x="361949" y="1347537"/>
            <a:ext cx="5734051" cy="4921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3" name="Rectangle 16">
            <a:extLst>
              <a:ext uri="{FF2B5EF4-FFF2-40B4-BE49-F238E27FC236}">
                <a16:creationId xmlns:a16="http://schemas.microsoft.com/office/drawing/2014/main" id="{45D5FB31-0F68-A31F-55AF-FDC2656D8119}"/>
              </a:ext>
            </a:extLst>
          </p:cNvPr>
          <p:cNvSpPr/>
          <p:nvPr/>
        </p:nvSpPr>
        <p:spPr>
          <a:xfrm>
            <a:off x="1214977" y="2187549"/>
            <a:ext cx="9762046" cy="273921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FFFFFF"/>
                </a:solidFill>
                <a:effectLst/>
                <a:uLnTx/>
                <a:uFillTx/>
                <a:latin typeface="Arial"/>
                <a:ea typeface="+mn-ea"/>
                <a:cs typeface="Arial"/>
                <a:sym typeface="Arial"/>
              </a:rPr>
              <a:t>The </a:t>
            </a:r>
            <a:r>
              <a:rPr kumimoji="0" lang="en-US" sz="2800" b="1" i="1" u="none" strike="noStrike" kern="1200" cap="none" spc="0" normalizeH="0" baseline="0" noProof="0" dirty="0">
                <a:ln>
                  <a:noFill/>
                </a:ln>
                <a:solidFill>
                  <a:schemeClr val="bg1"/>
                </a:solidFill>
                <a:effectLst/>
                <a:uLnTx/>
                <a:uFillTx/>
                <a:latin typeface="Arial"/>
                <a:ea typeface="+mn-ea"/>
                <a:cs typeface="Arial"/>
                <a:sym typeface="Arial"/>
              </a:rPr>
              <a:t>Digital Reskilling Lab </a:t>
            </a:r>
            <a:r>
              <a:rPr kumimoji="0" lang="en-US" sz="2400" b="0" i="1" u="none" strike="noStrike" kern="1200" cap="none" spc="0" normalizeH="0" baseline="0" noProof="0" dirty="0">
                <a:ln>
                  <a:noFill/>
                </a:ln>
                <a:solidFill>
                  <a:srgbClr val="FFFFFF"/>
                </a:solidFill>
                <a:effectLst/>
                <a:uLnTx/>
                <a:uFillTx/>
                <a:latin typeface="Arial"/>
                <a:ea typeface="+mn-ea"/>
                <a:cs typeface="Arial"/>
                <a:sym typeface="Arial"/>
              </a:rPr>
              <a:t>aims to develop </a:t>
            </a:r>
            <a:r>
              <a:rPr kumimoji="0" lang="en-US" sz="2400" b="1" i="1" u="none" strike="noStrike" kern="1200" cap="none" spc="0" normalizeH="0" baseline="0" noProof="0" dirty="0">
                <a:ln>
                  <a:noFill/>
                </a:ln>
                <a:solidFill>
                  <a:srgbClr val="FFFFFF"/>
                </a:solidFill>
                <a:effectLst/>
                <a:uLnTx/>
                <a:uFillTx/>
                <a:latin typeface="Arial"/>
                <a:ea typeface="+mn-ea"/>
                <a:cs typeface="Arial"/>
                <a:sym typeface="Arial"/>
              </a:rPr>
              <a:t>new rigorous evidence</a:t>
            </a:r>
            <a:r>
              <a:rPr kumimoji="0" lang="en-US" sz="2400" b="0" i="1" u="none" strike="noStrike" kern="1200" cap="none" spc="0" normalizeH="0" baseline="0" noProof="0" dirty="0">
                <a:ln>
                  <a:noFill/>
                </a:ln>
                <a:solidFill>
                  <a:srgbClr val="FFFFFF"/>
                </a:solidFill>
                <a:effectLst/>
                <a:uLnTx/>
                <a:uFillTx/>
                <a:latin typeface="Arial"/>
                <a:ea typeface="+mn-ea"/>
                <a:cs typeface="Arial"/>
                <a:sym typeface="Arial"/>
              </a:rPr>
              <a:t> and </a:t>
            </a:r>
            <a:r>
              <a:rPr kumimoji="0" lang="en-US" sz="2400" b="1" i="1" u="none" strike="noStrike" kern="1200" cap="none" spc="0" normalizeH="0" baseline="0" noProof="0" dirty="0">
                <a:ln>
                  <a:noFill/>
                </a:ln>
                <a:solidFill>
                  <a:srgbClr val="FFFFFF"/>
                </a:solidFill>
                <a:effectLst/>
                <a:uLnTx/>
                <a:uFillTx/>
                <a:latin typeface="Arial"/>
                <a:ea typeface="+mn-ea"/>
                <a:cs typeface="Arial"/>
                <a:sym typeface="Arial"/>
              </a:rPr>
              <a:t>conceptual frameworks</a:t>
            </a:r>
            <a:r>
              <a:rPr kumimoji="0" lang="en-US" sz="2400" b="0" i="1" u="none" strike="noStrike" kern="1200" cap="none" spc="0" normalizeH="0" baseline="0" noProof="0" dirty="0">
                <a:ln>
                  <a:noFill/>
                </a:ln>
                <a:solidFill>
                  <a:srgbClr val="FFFFFF"/>
                </a:solidFill>
                <a:effectLst/>
                <a:uLnTx/>
                <a:uFillTx/>
                <a:latin typeface="Arial"/>
                <a:ea typeface="+mn-ea"/>
                <a:cs typeface="Arial"/>
                <a:sym typeface="Arial"/>
              </a:rPr>
              <a:t> to </a:t>
            </a:r>
            <a:r>
              <a:rPr kumimoji="0" lang="en-US" sz="2400" b="1" i="1" u="none" strike="noStrike" kern="1200" cap="none" spc="0" normalizeH="0" baseline="0" noProof="0" dirty="0">
                <a:ln>
                  <a:noFill/>
                </a:ln>
                <a:solidFill>
                  <a:srgbClr val="FFFFFF"/>
                </a:solidFill>
                <a:effectLst/>
                <a:uLnTx/>
                <a:uFillTx/>
                <a:latin typeface="Arial"/>
                <a:ea typeface="+mn-ea"/>
                <a:cs typeface="Arial"/>
                <a:sym typeface="Arial"/>
              </a:rPr>
              <a:t>support organizations </a:t>
            </a:r>
            <a:r>
              <a:rPr kumimoji="0" lang="en-US" sz="2400" b="0" i="1" u="none" strike="noStrike" kern="1200" cap="none" spc="0" normalizeH="0" baseline="0" noProof="0" dirty="0">
                <a:ln>
                  <a:noFill/>
                </a:ln>
                <a:solidFill>
                  <a:srgbClr val="FFFFFF"/>
                </a:solidFill>
                <a:effectLst/>
                <a:uLnTx/>
                <a:uFillTx/>
                <a:latin typeface="Arial"/>
                <a:ea typeface="+mn-ea"/>
                <a:cs typeface="Arial"/>
                <a:sym typeface="Arial"/>
              </a:rPr>
              <a:t>that are already, or plan to, invest in </a:t>
            </a:r>
            <a:r>
              <a:rPr kumimoji="0" lang="en-US" sz="2400" b="1" i="1" u="none" strike="noStrike" kern="1200" cap="none" spc="0" normalizeH="0" baseline="0" noProof="0" dirty="0">
                <a:ln>
                  <a:noFill/>
                </a:ln>
                <a:solidFill>
                  <a:srgbClr val="FFFFFF"/>
                </a:solidFill>
                <a:effectLst/>
                <a:uLnTx/>
                <a:uFillTx/>
                <a:latin typeface="Arial"/>
                <a:ea typeface="+mn-ea"/>
                <a:cs typeface="Arial"/>
                <a:sym typeface="Arial"/>
              </a:rPr>
              <a:t>impactful</a:t>
            </a:r>
            <a:r>
              <a:rPr kumimoji="0" lang="en-US" sz="2400" b="0" i="1" u="none" strike="noStrike" kern="1200" cap="none" spc="0" normalizeH="0" baseline="0" noProof="0" dirty="0">
                <a:ln>
                  <a:noFill/>
                </a:ln>
                <a:solidFill>
                  <a:srgbClr val="FFFFFF"/>
                </a:solidFill>
                <a:effectLst/>
                <a:uLnTx/>
                <a:uFillTx/>
                <a:latin typeface="Arial"/>
                <a:ea typeface="+mn-ea"/>
                <a:cs typeface="Arial"/>
                <a:sym typeface="Arial"/>
              </a:rPr>
              <a:t> reskilling programs.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srgbClr val="FFFFFF"/>
              </a:solidFill>
              <a:effectLst/>
              <a:uLnTx/>
              <a:uFillTx/>
              <a:latin typeface="Arial"/>
              <a:ea typeface="+mn-ea"/>
              <a:cs typeface="Arial"/>
              <a:sym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FFFFFF"/>
                </a:solidFill>
                <a:effectLst/>
                <a:uLnTx/>
                <a:uFillTx/>
                <a:latin typeface="Arial"/>
                <a:ea typeface="+mn-ea"/>
                <a:cs typeface="Arial"/>
                <a:sym typeface="Arial"/>
              </a:rPr>
              <a:t>Our objective is to inform policy</a:t>
            </a:r>
            <a:r>
              <a:rPr kumimoji="0" lang="en-US" sz="2400" b="1" i="1" u="none" strike="noStrike" kern="1200" cap="none" spc="0" normalizeH="0" baseline="0" noProof="0" dirty="0">
                <a:ln>
                  <a:noFill/>
                </a:ln>
                <a:solidFill>
                  <a:srgbClr val="FFFFFF"/>
                </a:solidFill>
                <a:effectLst/>
                <a:uLnTx/>
                <a:uFillTx/>
                <a:latin typeface="Arial"/>
                <a:ea typeface="+mn-ea"/>
                <a:cs typeface="Arial"/>
                <a:sym typeface="Arial"/>
              </a:rPr>
              <a:t> at the firm, industry, and government levels</a:t>
            </a:r>
            <a:r>
              <a:rPr kumimoji="0" lang="en-US" sz="2400" b="0" i="1" u="none" strike="noStrike" kern="1200" cap="none" spc="0" normalizeH="0" baseline="0" noProof="0" dirty="0">
                <a:ln>
                  <a:noFill/>
                </a:ln>
                <a:solidFill>
                  <a:srgbClr val="FFFFFF"/>
                </a:solidFill>
                <a:effectLst/>
                <a:uLnTx/>
                <a:uFillTx/>
                <a:latin typeface="Arial"/>
                <a:ea typeface="+mn-ea"/>
                <a:cs typeface="Arial"/>
                <a:sym typeface="Arial"/>
              </a:rPr>
              <a:t> and facilitate the </a:t>
            </a:r>
            <a:r>
              <a:rPr kumimoji="0" lang="en-US" sz="2400" b="1" i="1" u="none" strike="noStrike" kern="1200" cap="none" spc="0" normalizeH="0" baseline="0" noProof="0" dirty="0">
                <a:ln>
                  <a:noFill/>
                </a:ln>
                <a:solidFill>
                  <a:srgbClr val="FFFFFF"/>
                </a:solidFill>
                <a:effectLst/>
                <a:uLnTx/>
                <a:uFillTx/>
                <a:latin typeface="Arial"/>
                <a:ea typeface="+mn-ea"/>
                <a:cs typeface="Arial"/>
                <a:sym typeface="Arial"/>
              </a:rPr>
              <a:t>adoption of effective practices</a:t>
            </a:r>
            <a:r>
              <a:rPr kumimoji="0" lang="en-US" sz="2400" b="0" i="1" u="none" strike="noStrike" kern="1200" cap="none" spc="0" normalizeH="0" baseline="0" noProof="0" dirty="0">
                <a:ln>
                  <a:noFill/>
                </a:ln>
                <a:solidFill>
                  <a:srgbClr val="FFFFFF"/>
                </a:solidFill>
                <a:effectLst/>
                <a:uLnTx/>
                <a:uFillTx/>
                <a:latin typeface="Arial"/>
                <a:ea typeface="+mn-ea"/>
                <a:cs typeface="Arial"/>
                <a:sym typeface="Arial"/>
              </a:rPr>
              <a:t> aimed at strengthening human capital initiatives in the workplace. </a:t>
            </a:r>
            <a:endParaRPr kumimoji="0" lang="en-US" sz="1600" b="0" i="1" u="none" strike="noStrike" kern="1200" cap="none" spc="0" normalizeH="0" baseline="0" noProof="0" dirty="0">
              <a:ln>
                <a:noFill/>
              </a:ln>
              <a:solidFill>
                <a:srgbClr val="FFFFFF"/>
              </a:solidFill>
              <a:effectLst/>
              <a:uLnTx/>
              <a:uFillTx/>
              <a:latin typeface="Arial"/>
              <a:ea typeface="+mn-ea"/>
              <a:cs typeface="Arial"/>
              <a:sym typeface="Arial"/>
            </a:endParaRPr>
          </a:p>
        </p:txBody>
      </p:sp>
      <p:grpSp>
        <p:nvGrpSpPr>
          <p:cNvPr id="2" name="Group 26">
            <a:extLst>
              <a:ext uri="{FF2B5EF4-FFF2-40B4-BE49-F238E27FC236}">
                <a16:creationId xmlns:a16="http://schemas.microsoft.com/office/drawing/2014/main" id="{0A4310A8-263B-0E6A-6B9C-EFFFCE7C0D9B}"/>
              </a:ext>
            </a:extLst>
          </p:cNvPr>
          <p:cNvGrpSpPr/>
          <p:nvPr/>
        </p:nvGrpSpPr>
        <p:grpSpPr>
          <a:xfrm>
            <a:off x="361950" y="0"/>
            <a:ext cx="4571998" cy="974725"/>
            <a:chOff x="361950" y="0"/>
            <a:chExt cx="2225583" cy="974725"/>
          </a:xfrm>
        </p:grpSpPr>
        <p:sp>
          <p:nvSpPr>
            <p:cNvPr id="4" name="Rectangle 27">
              <a:extLst>
                <a:ext uri="{FF2B5EF4-FFF2-40B4-BE49-F238E27FC236}">
                  <a16:creationId xmlns:a16="http://schemas.microsoft.com/office/drawing/2014/main" id="{85F88A25-5D47-2289-B6D6-B997253C7810}"/>
                </a:ext>
              </a:extLst>
            </p:cNvPr>
            <p:cNvSpPr/>
            <p:nvPr/>
          </p:nvSpPr>
          <p:spPr>
            <a:xfrm>
              <a:off x="361950" y="0"/>
              <a:ext cx="2171574" cy="974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5" name="Rectangle 29">
              <a:extLst>
                <a:ext uri="{FF2B5EF4-FFF2-40B4-BE49-F238E27FC236}">
                  <a16:creationId xmlns:a16="http://schemas.microsoft.com/office/drawing/2014/main" id="{DD9C4B95-0FF4-8093-7BA9-98284E1CC056}"/>
                </a:ext>
              </a:extLst>
            </p:cNvPr>
            <p:cNvSpPr/>
            <p:nvPr/>
          </p:nvSpPr>
          <p:spPr>
            <a:xfrm>
              <a:off x="361950" y="40950"/>
              <a:ext cx="2225583" cy="830997"/>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The Digital Reskilling Lab</a:t>
              </a:r>
              <a:endParaRPr kumimoji="0" lang="en-US" sz="2400" b="0" i="0" u="none" strike="noStrike" kern="1200" cap="none" spc="0" normalizeH="0" baseline="0" noProof="0" dirty="0">
                <a:ln>
                  <a:noFill/>
                </a:ln>
                <a:solidFill>
                  <a:srgbClr val="FFFFFF"/>
                </a:solidFill>
                <a:effectLst/>
                <a:uLnTx/>
                <a:uFillTx/>
                <a:latin typeface="Arial"/>
                <a:ea typeface="+mn-ea"/>
                <a:cs typeface="Arial"/>
                <a:sym typeface="Arial"/>
              </a:endParaRPr>
            </a:p>
          </p:txBody>
        </p:sp>
      </p:grpSp>
      <p:sp>
        <p:nvSpPr>
          <p:cNvPr id="8" name="Google Shape;11295;p43">
            <a:extLst>
              <a:ext uri="{FF2B5EF4-FFF2-40B4-BE49-F238E27FC236}">
                <a16:creationId xmlns:a16="http://schemas.microsoft.com/office/drawing/2014/main" id="{FDA28D5D-1F6B-856B-9CEB-AE685665FD9B}"/>
              </a:ext>
            </a:extLst>
          </p:cNvPr>
          <p:cNvSpPr txBox="1">
            <a:spLocks/>
          </p:cNvSpPr>
          <p:nvPr/>
        </p:nvSpPr>
        <p:spPr>
          <a:xfrm>
            <a:off x="334963" y="6391177"/>
            <a:ext cx="360364" cy="365124"/>
          </a:xfrm>
          <a:prstGeom prst="rect">
            <a:avLst/>
          </a:prstGeom>
          <a:no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buFont typeface="Arial"/>
              <a:buNone/>
              <a:defRPr/>
            </a:pPr>
            <a:fld id="{00000000-1234-1234-1234-123412341234}" type="slidenum">
              <a:rPr lang="en-US" sz="900" kern="0" smtClean="0">
                <a:solidFill>
                  <a:srgbClr val="A41034"/>
                </a:solidFill>
                <a:latin typeface="Arial"/>
                <a:cs typeface="Arial"/>
                <a:sym typeface="Arial"/>
              </a:rPr>
              <a:pPr>
                <a:buClr>
                  <a:srgbClr val="000000"/>
                </a:buClr>
                <a:buFont typeface="Arial"/>
                <a:buNone/>
                <a:defRPr/>
              </a:pPr>
              <a:t>2</a:t>
            </a:fld>
            <a:endParaRPr lang="en-US" sz="900" kern="0" dirty="0">
              <a:solidFill>
                <a:srgbClr val="A41034"/>
              </a:solidFill>
              <a:latin typeface="Arial"/>
              <a:cs typeface="Arial"/>
              <a:sym typeface="Arial"/>
            </a:endParaRPr>
          </a:p>
        </p:txBody>
      </p:sp>
    </p:spTree>
    <p:extLst>
      <p:ext uri="{BB962C8B-B14F-4D97-AF65-F5344CB8AC3E}">
        <p14:creationId xmlns:p14="http://schemas.microsoft.com/office/powerpoint/2010/main" val="3552226895"/>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grpId="1" nodeType="withEffect">
                                  <p:stCondLst>
                                    <p:cond delay="500"/>
                                  </p:stCondLst>
                                  <p:childTnLst>
                                    <p:animMotion origin="layout" path="M -0.02383 0 L -2.08333E-7 0 " pathEditMode="relative" rAng="0" ptsTypes="AA">
                                      <p:cBhvr>
                                        <p:cTn id="9" dur="500" fill="hold"/>
                                        <p:tgtEl>
                                          <p:spTgt spid="3"/>
                                        </p:tgtEl>
                                        <p:attrNameLst>
                                          <p:attrName>ppt_x</p:attrName>
                                          <p:attrName>ppt_y</p:attrName>
                                        </p:attrNameLst>
                                      </p:cBhvr>
                                      <p:rCtr x="1185" y="0"/>
                                    </p:animMotion>
                                  </p:childTnLst>
                                </p:cTn>
                              </p:par>
                              <p:par>
                                <p:cTn id="10" presetID="2" presetClass="entr" presetSubtype="1" decel="10000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750" fill="hold"/>
                                        <p:tgtEl>
                                          <p:spTgt spid="2"/>
                                        </p:tgtEl>
                                        <p:attrNameLst>
                                          <p:attrName>ppt_x</p:attrName>
                                        </p:attrNameLst>
                                      </p:cBhvr>
                                      <p:tavLst>
                                        <p:tav tm="0">
                                          <p:val>
                                            <p:strVal val="#ppt_x"/>
                                          </p:val>
                                        </p:tav>
                                        <p:tav tm="100000">
                                          <p:val>
                                            <p:strVal val="#ppt_x"/>
                                          </p:val>
                                        </p:tav>
                                      </p:tavLst>
                                    </p:anim>
                                    <p:anim calcmode="lin" valueType="num">
                                      <p:cBhvr additive="base">
                                        <p:cTn id="13" dur="750" fill="hold"/>
                                        <p:tgtEl>
                                          <p:spTgt spid="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15A984-0CC3-E3FD-B27E-BA23EC811644}"/>
              </a:ext>
            </a:extLst>
          </p:cNvPr>
          <p:cNvGraphicFramePr>
            <a:graphicFrameLocks noChangeAspect="1"/>
          </p:cNvGraphicFramePr>
          <p:nvPr>
            <p:custDataLst>
              <p:tags r:id="rId1"/>
            </p:custDataLst>
            <p:extLst>
              <p:ext uri="{D42A27DB-BD31-4B8C-83A1-F6EECF244321}">
                <p14:modId xmlns:p14="http://schemas.microsoft.com/office/powerpoint/2010/main" val="4152880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ct 2" hidden="1">
                        <a:extLst>
                          <a:ext uri="{FF2B5EF4-FFF2-40B4-BE49-F238E27FC236}">
                            <a16:creationId xmlns:a16="http://schemas.microsoft.com/office/drawing/2014/main" id="{9515A984-0CC3-E3FD-B27E-BA23EC8116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F6B567EB-F2E7-F59A-6884-E737B41F0D39}"/>
              </a:ext>
            </a:extLst>
          </p:cNvPr>
          <p:cNvSpPr/>
          <p:nvPr/>
        </p:nvSpPr>
        <p:spPr>
          <a:xfrm>
            <a:off x="6017096" y="1347537"/>
            <a:ext cx="5812956" cy="49212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28" name="Rectangle 27">
            <a:extLst>
              <a:ext uri="{FF2B5EF4-FFF2-40B4-BE49-F238E27FC236}">
                <a16:creationId xmlns:a16="http://schemas.microsoft.com/office/drawing/2014/main" id="{53F442FB-DA91-0801-2078-EEA6B2A5722E}"/>
              </a:ext>
            </a:extLst>
          </p:cNvPr>
          <p:cNvSpPr/>
          <p:nvPr/>
        </p:nvSpPr>
        <p:spPr>
          <a:xfrm>
            <a:off x="361949" y="1347537"/>
            <a:ext cx="5734051" cy="4921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grpSp>
        <p:nvGrpSpPr>
          <p:cNvPr id="2" name="Group 26">
            <a:extLst>
              <a:ext uri="{FF2B5EF4-FFF2-40B4-BE49-F238E27FC236}">
                <a16:creationId xmlns:a16="http://schemas.microsoft.com/office/drawing/2014/main" id="{0A4310A8-263B-0E6A-6B9C-EFFFCE7C0D9B}"/>
              </a:ext>
            </a:extLst>
          </p:cNvPr>
          <p:cNvGrpSpPr/>
          <p:nvPr/>
        </p:nvGrpSpPr>
        <p:grpSpPr>
          <a:xfrm>
            <a:off x="361950" y="0"/>
            <a:ext cx="4571998" cy="974725"/>
            <a:chOff x="361950" y="0"/>
            <a:chExt cx="2225583" cy="974725"/>
          </a:xfrm>
        </p:grpSpPr>
        <p:sp>
          <p:nvSpPr>
            <p:cNvPr id="4" name="Rectangle 27">
              <a:extLst>
                <a:ext uri="{FF2B5EF4-FFF2-40B4-BE49-F238E27FC236}">
                  <a16:creationId xmlns:a16="http://schemas.microsoft.com/office/drawing/2014/main" id="{85F88A25-5D47-2289-B6D6-B997253C7810}"/>
                </a:ext>
              </a:extLst>
            </p:cNvPr>
            <p:cNvSpPr/>
            <p:nvPr/>
          </p:nvSpPr>
          <p:spPr>
            <a:xfrm>
              <a:off x="361950" y="0"/>
              <a:ext cx="2171574" cy="974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5" name="Rectangle 29">
              <a:extLst>
                <a:ext uri="{FF2B5EF4-FFF2-40B4-BE49-F238E27FC236}">
                  <a16:creationId xmlns:a16="http://schemas.microsoft.com/office/drawing/2014/main" id="{DD9C4B95-0FF4-8093-7BA9-98284E1CC056}"/>
                </a:ext>
              </a:extLst>
            </p:cNvPr>
            <p:cNvSpPr/>
            <p:nvPr/>
          </p:nvSpPr>
          <p:spPr>
            <a:xfrm>
              <a:off x="361950" y="40950"/>
              <a:ext cx="2225583" cy="830997"/>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Activities</a:t>
              </a:r>
              <a:endParaRPr kumimoji="0" lang="en-US" sz="2400" b="0" i="0" u="none" strike="noStrike" kern="1200" cap="none" spc="0" normalizeH="0" baseline="0" noProof="0" dirty="0">
                <a:ln>
                  <a:noFill/>
                </a:ln>
                <a:solidFill>
                  <a:srgbClr val="FFFFFF"/>
                </a:solidFill>
                <a:effectLst/>
                <a:uLnTx/>
                <a:uFillTx/>
                <a:latin typeface="Arial"/>
                <a:ea typeface="+mn-ea"/>
                <a:cs typeface="Arial"/>
                <a:sym typeface="Arial"/>
              </a:endParaRPr>
            </a:p>
          </p:txBody>
        </p:sp>
      </p:grpSp>
      <p:sp>
        <p:nvSpPr>
          <p:cNvPr id="8" name="Rectangle 3">
            <a:extLst>
              <a:ext uri="{FF2B5EF4-FFF2-40B4-BE49-F238E27FC236}">
                <a16:creationId xmlns:a16="http://schemas.microsoft.com/office/drawing/2014/main" id="{D060B4AA-CEB0-1C9C-7A40-FE3BD5538AF7}"/>
              </a:ext>
            </a:extLst>
          </p:cNvPr>
          <p:cNvSpPr/>
          <p:nvPr/>
        </p:nvSpPr>
        <p:spPr>
          <a:xfrm>
            <a:off x="687018" y="1673606"/>
            <a:ext cx="10817964" cy="43531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9" name="Rectangle 1">
            <a:extLst>
              <a:ext uri="{FF2B5EF4-FFF2-40B4-BE49-F238E27FC236}">
                <a16:creationId xmlns:a16="http://schemas.microsoft.com/office/drawing/2014/main" id="{5187DDCA-6127-866D-6E7C-48A446A1C5FF}"/>
              </a:ext>
            </a:extLst>
          </p:cNvPr>
          <p:cNvSpPr/>
          <p:nvPr/>
        </p:nvSpPr>
        <p:spPr>
          <a:xfrm>
            <a:off x="9180" y="1779472"/>
            <a:ext cx="12191998" cy="730072"/>
          </a:xfrm>
          <a:prstGeom prst="rect">
            <a:avLst/>
          </a:prstGeom>
        </p:spPr>
        <p:txBody>
          <a:bodyPr wrap="square">
            <a:spAutoFit/>
          </a:bodyPr>
          <a:lstStyle/>
          <a:p>
            <a:pPr marL="0" marR="0" lvl="0" indent="0" algn="ctr" defTabSz="914400" eaLnBrk="1" fontAlgn="auto" latinLnBrk="0" hangingPunct="1">
              <a:lnSpc>
                <a:spcPct val="167857"/>
              </a:lnSpc>
              <a:spcBef>
                <a:spcPts val="1400"/>
              </a:spcBef>
              <a:spcAft>
                <a:spcPts val="700"/>
              </a:spcAft>
              <a:buClrTx/>
              <a:buSzPct val="80000"/>
              <a:buFontTx/>
              <a:buNone/>
              <a:tabLst/>
              <a:defRPr/>
            </a:pPr>
            <a:r>
              <a:rPr kumimoji="0" lang="en-US" altLang="en-US" sz="2800" b="0"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sym typeface="Arial"/>
              </a:rPr>
              <a:t>Closing the </a:t>
            </a:r>
            <a:r>
              <a:rPr kumimoji="0" lang="en-US" altLang="en-US" sz="28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sym typeface="Arial"/>
              </a:rPr>
              <a:t>Knowledge</a:t>
            </a:r>
            <a:r>
              <a:rPr kumimoji="0" lang="en-US" altLang="en-US" sz="2800" b="0"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sym typeface="Arial"/>
              </a:rPr>
              <a:t> and </a:t>
            </a:r>
            <a:r>
              <a:rPr kumimoji="0" lang="en-US" altLang="en-US" sz="28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sym typeface="Arial"/>
              </a:rPr>
              <a:t>Implementation</a:t>
            </a:r>
            <a:r>
              <a:rPr kumimoji="0" lang="en-US" altLang="en-US" sz="2800" b="0"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sym typeface="Arial"/>
              </a:rPr>
              <a:t> Gap </a:t>
            </a:r>
          </a:p>
        </p:txBody>
      </p:sp>
      <p:sp>
        <p:nvSpPr>
          <p:cNvPr id="10" name="Rectangle 33">
            <a:extLst>
              <a:ext uri="{FF2B5EF4-FFF2-40B4-BE49-F238E27FC236}">
                <a16:creationId xmlns:a16="http://schemas.microsoft.com/office/drawing/2014/main" id="{64788794-29D2-7D90-6DCE-0C342397D3B1}"/>
              </a:ext>
            </a:extLst>
          </p:cNvPr>
          <p:cNvSpPr/>
          <p:nvPr/>
        </p:nvSpPr>
        <p:spPr>
          <a:xfrm>
            <a:off x="459389" y="3138636"/>
            <a:ext cx="2434192" cy="1200329"/>
          </a:xfrm>
          <a:prstGeom prst="rect">
            <a:avLst/>
          </a:prstGeom>
        </p:spPr>
        <p:txBody>
          <a:bodyPr wrap="square">
            <a:spAutoFit/>
          </a:bodyPr>
          <a:lstStyle/>
          <a:p>
            <a:pPr marL="457200" marR="0" lvl="1"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ollect</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evidence</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on ongoing, large-scale programs</a:t>
            </a:r>
          </a:p>
        </p:txBody>
      </p:sp>
      <p:sp>
        <p:nvSpPr>
          <p:cNvPr id="11" name="Textfeld 4">
            <a:extLst>
              <a:ext uri="{FF2B5EF4-FFF2-40B4-BE49-F238E27FC236}">
                <a16:creationId xmlns:a16="http://schemas.microsoft.com/office/drawing/2014/main" id="{3CC4D4E5-1DF8-5CF2-C46E-0C2D5EA97BB2}"/>
              </a:ext>
            </a:extLst>
          </p:cNvPr>
          <p:cNvSpPr txBox="1"/>
          <p:nvPr/>
        </p:nvSpPr>
        <p:spPr>
          <a:xfrm>
            <a:off x="759838" y="4349055"/>
            <a:ext cx="2544125" cy="1200329"/>
          </a:xfrm>
          <a:prstGeom prst="rect">
            <a:avLst/>
          </a:prstGeom>
        </p:spPr>
        <p:txBody>
          <a:bodyPr wrap="square">
            <a:spAutoFit/>
          </a:bodyPr>
          <a:lstStyle>
            <a:defPPr>
              <a:defRPr lang="en-US"/>
            </a:defPPr>
            <a:lvl2pPr marL="742950" lvl="1" indent="-285750">
              <a:buFont typeface="Arial" panose="020B0604020202020204" pitchFamily="34" charset="0"/>
              <a:buChar char="•"/>
              <a:defRPr sz="2400"/>
            </a:lvl2pPr>
          </a:lstStyle>
          <a:p>
            <a:pPr marL="457200" marR="0" lvl="1" indent="0" algn="ctr"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ompare</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nd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ynthetize</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pproaches across firms</a:t>
            </a:r>
          </a:p>
        </p:txBody>
      </p:sp>
      <p:sp>
        <p:nvSpPr>
          <p:cNvPr id="12" name="Textfeld 5">
            <a:extLst>
              <a:ext uri="{FF2B5EF4-FFF2-40B4-BE49-F238E27FC236}">
                <a16:creationId xmlns:a16="http://schemas.microsoft.com/office/drawing/2014/main" id="{EA42B520-F302-7774-374F-77B599FB342E}"/>
              </a:ext>
            </a:extLst>
          </p:cNvPr>
          <p:cNvSpPr txBox="1"/>
          <p:nvPr/>
        </p:nvSpPr>
        <p:spPr>
          <a:xfrm>
            <a:off x="3568294" y="4643903"/>
            <a:ext cx="3725611" cy="120032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ep dive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nto possibl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ources of</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frictions   </a:t>
            </a:r>
          </a:p>
        </p:txBody>
      </p:sp>
      <p:sp>
        <p:nvSpPr>
          <p:cNvPr id="13" name="Textfeld 16">
            <a:extLst>
              <a:ext uri="{FF2B5EF4-FFF2-40B4-BE49-F238E27FC236}">
                <a16:creationId xmlns:a16="http://schemas.microsoft.com/office/drawing/2014/main" id="{0942BF91-D29E-1C37-74A2-A2B0E2D21677}"/>
              </a:ext>
            </a:extLst>
          </p:cNvPr>
          <p:cNvSpPr txBox="1"/>
          <p:nvPr/>
        </p:nvSpPr>
        <p:spPr>
          <a:xfrm>
            <a:off x="5884053" y="3945022"/>
            <a:ext cx="3004429" cy="1200329"/>
          </a:xfrm>
          <a:prstGeom prst="rect">
            <a:avLst/>
          </a:prstGeom>
          <a:noFill/>
        </p:spPr>
        <p:txBody>
          <a:bodyPr wrap="square" rtlCol="0">
            <a:spAutoFit/>
          </a:bodyPr>
          <a:lstStyle/>
          <a:p>
            <a:pPr marL="457200" marR="0" lvl="1"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Evaluate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the</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costs and benefits</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t>
            </a:r>
          </a:p>
          <a:p>
            <a:pPr marL="457200" marR="0" lvl="1"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of reskilling programs</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4" name="Textfeld 17">
            <a:extLst>
              <a:ext uri="{FF2B5EF4-FFF2-40B4-BE49-F238E27FC236}">
                <a16:creationId xmlns:a16="http://schemas.microsoft.com/office/drawing/2014/main" id="{816CC6CB-07FF-26AB-D6CA-711DF8F4FD28}"/>
              </a:ext>
            </a:extLst>
          </p:cNvPr>
          <p:cNvSpPr txBox="1"/>
          <p:nvPr/>
        </p:nvSpPr>
        <p:spPr>
          <a:xfrm>
            <a:off x="8997999" y="3878226"/>
            <a:ext cx="2506983" cy="120032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Evaluate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the</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scalabilit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of reskilling programs </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cxnSp>
        <p:nvCxnSpPr>
          <p:cNvPr id="15" name="Straight Connector 64">
            <a:extLst>
              <a:ext uri="{FF2B5EF4-FFF2-40B4-BE49-F238E27FC236}">
                <a16:creationId xmlns:a16="http://schemas.microsoft.com/office/drawing/2014/main" id="{F2D3628D-9584-DBF0-A482-A9FD1F615B61}"/>
              </a:ext>
            </a:extLst>
          </p:cNvPr>
          <p:cNvCxnSpPr>
            <a:cxnSpLocks/>
          </p:cNvCxnSpPr>
          <p:nvPr/>
        </p:nvCxnSpPr>
        <p:spPr>
          <a:xfrm>
            <a:off x="5442806" y="2640964"/>
            <a:ext cx="0" cy="195014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6" name="Group 23">
            <a:extLst>
              <a:ext uri="{FF2B5EF4-FFF2-40B4-BE49-F238E27FC236}">
                <a16:creationId xmlns:a16="http://schemas.microsoft.com/office/drawing/2014/main" id="{0694231B-2C6C-F464-D0C7-4EB00FCCAD71}"/>
              </a:ext>
            </a:extLst>
          </p:cNvPr>
          <p:cNvGrpSpPr/>
          <p:nvPr/>
        </p:nvGrpSpPr>
        <p:grpSpPr>
          <a:xfrm>
            <a:off x="5365718" y="4575956"/>
            <a:ext cx="148002" cy="148002"/>
            <a:chOff x="1864378" y="4670403"/>
            <a:chExt cx="148002" cy="148002"/>
          </a:xfrm>
          <a:solidFill>
            <a:schemeClr val="accent3">
              <a:alpha val="66000"/>
            </a:schemeClr>
          </a:solidFill>
        </p:grpSpPr>
        <p:sp>
          <p:nvSpPr>
            <p:cNvPr id="40" name="Oval 39">
              <a:extLst>
                <a:ext uri="{FF2B5EF4-FFF2-40B4-BE49-F238E27FC236}">
                  <a16:creationId xmlns:a16="http://schemas.microsoft.com/office/drawing/2014/main" id="{9B99A6D9-D371-746A-50A9-10D2689EDD3F}"/>
                </a:ext>
              </a:extLst>
            </p:cNvPr>
            <p:cNvSpPr/>
            <p:nvPr/>
          </p:nvSpPr>
          <p:spPr>
            <a:xfrm>
              <a:off x="1864378" y="4670403"/>
              <a:ext cx="148002" cy="1480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42" name="Oval 41">
              <a:extLst>
                <a:ext uri="{FF2B5EF4-FFF2-40B4-BE49-F238E27FC236}">
                  <a16:creationId xmlns:a16="http://schemas.microsoft.com/office/drawing/2014/main" id="{4434B479-9C68-DFFB-5C42-2C7F68EE0AAE}"/>
                </a:ext>
              </a:extLst>
            </p:cNvPr>
            <p:cNvSpPr/>
            <p:nvPr/>
          </p:nvSpPr>
          <p:spPr>
            <a:xfrm>
              <a:off x="1904533" y="4710558"/>
              <a:ext cx="67692" cy="67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grpSp>
      <p:cxnSp>
        <p:nvCxnSpPr>
          <p:cNvPr id="17" name="Straight Connector 31">
            <a:extLst>
              <a:ext uri="{FF2B5EF4-FFF2-40B4-BE49-F238E27FC236}">
                <a16:creationId xmlns:a16="http://schemas.microsoft.com/office/drawing/2014/main" id="{D7E06096-585E-E244-0C53-E78A09FAF672}"/>
              </a:ext>
            </a:extLst>
          </p:cNvPr>
          <p:cNvCxnSpPr>
            <a:cxnSpLocks/>
          </p:cNvCxnSpPr>
          <p:nvPr/>
        </p:nvCxnSpPr>
        <p:spPr>
          <a:xfrm>
            <a:off x="4292948" y="2671743"/>
            <a:ext cx="0" cy="110068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2">
            <a:extLst>
              <a:ext uri="{FF2B5EF4-FFF2-40B4-BE49-F238E27FC236}">
                <a16:creationId xmlns:a16="http://schemas.microsoft.com/office/drawing/2014/main" id="{F8F871CD-1423-C0F1-2BBA-F99DD5C4330F}"/>
              </a:ext>
            </a:extLst>
          </p:cNvPr>
          <p:cNvCxnSpPr>
            <a:cxnSpLocks/>
          </p:cNvCxnSpPr>
          <p:nvPr/>
        </p:nvCxnSpPr>
        <p:spPr>
          <a:xfrm flipH="1">
            <a:off x="2948339" y="3772431"/>
            <a:ext cx="133544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9" name="Group 22">
            <a:extLst>
              <a:ext uri="{FF2B5EF4-FFF2-40B4-BE49-F238E27FC236}">
                <a16:creationId xmlns:a16="http://schemas.microsoft.com/office/drawing/2014/main" id="{40D92192-B594-D5EF-4DCC-8683ECA78276}"/>
              </a:ext>
            </a:extLst>
          </p:cNvPr>
          <p:cNvGrpSpPr/>
          <p:nvPr/>
        </p:nvGrpSpPr>
        <p:grpSpPr>
          <a:xfrm>
            <a:off x="2797956" y="3692110"/>
            <a:ext cx="148002" cy="148002"/>
            <a:chOff x="5056540" y="4621863"/>
            <a:chExt cx="148002" cy="148002"/>
          </a:xfrm>
          <a:solidFill>
            <a:schemeClr val="accent3">
              <a:alpha val="66000"/>
            </a:schemeClr>
          </a:solidFill>
        </p:grpSpPr>
        <p:sp>
          <p:nvSpPr>
            <p:cNvPr id="38" name="Oval 37">
              <a:extLst>
                <a:ext uri="{FF2B5EF4-FFF2-40B4-BE49-F238E27FC236}">
                  <a16:creationId xmlns:a16="http://schemas.microsoft.com/office/drawing/2014/main" id="{7064401F-782A-67F7-F847-497C12BE6D24}"/>
                </a:ext>
              </a:extLst>
            </p:cNvPr>
            <p:cNvSpPr/>
            <p:nvPr/>
          </p:nvSpPr>
          <p:spPr>
            <a:xfrm>
              <a:off x="5056540" y="4621863"/>
              <a:ext cx="148002" cy="1480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39" name="Oval 38">
              <a:extLst>
                <a:ext uri="{FF2B5EF4-FFF2-40B4-BE49-F238E27FC236}">
                  <a16:creationId xmlns:a16="http://schemas.microsoft.com/office/drawing/2014/main" id="{9ED37924-2C0A-73FE-77DE-4F3B0E8A6470}"/>
                </a:ext>
              </a:extLst>
            </p:cNvPr>
            <p:cNvSpPr/>
            <p:nvPr/>
          </p:nvSpPr>
          <p:spPr>
            <a:xfrm>
              <a:off x="5096695" y="4662018"/>
              <a:ext cx="67692" cy="67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grpSp>
      <p:cxnSp>
        <p:nvCxnSpPr>
          <p:cNvPr id="20" name="Straight Connector 45">
            <a:extLst>
              <a:ext uri="{FF2B5EF4-FFF2-40B4-BE49-F238E27FC236}">
                <a16:creationId xmlns:a16="http://schemas.microsoft.com/office/drawing/2014/main" id="{D4591DCC-20D5-0D03-A057-1F4968AA656C}"/>
              </a:ext>
            </a:extLst>
          </p:cNvPr>
          <p:cNvCxnSpPr>
            <a:cxnSpLocks/>
          </p:cNvCxnSpPr>
          <p:nvPr/>
        </p:nvCxnSpPr>
        <p:spPr>
          <a:xfrm>
            <a:off x="7317905" y="2631590"/>
            <a:ext cx="0" cy="10266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oup 46">
            <a:extLst>
              <a:ext uri="{FF2B5EF4-FFF2-40B4-BE49-F238E27FC236}">
                <a16:creationId xmlns:a16="http://schemas.microsoft.com/office/drawing/2014/main" id="{F3E91D24-D3E5-5073-7DC9-395AC178AE34}"/>
              </a:ext>
            </a:extLst>
          </p:cNvPr>
          <p:cNvGrpSpPr/>
          <p:nvPr/>
        </p:nvGrpSpPr>
        <p:grpSpPr>
          <a:xfrm>
            <a:off x="7243904" y="3658277"/>
            <a:ext cx="148002" cy="148002"/>
            <a:chOff x="9439886" y="4891405"/>
            <a:chExt cx="148002" cy="148002"/>
          </a:xfrm>
          <a:solidFill>
            <a:schemeClr val="accent3">
              <a:alpha val="66000"/>
            </a:schemeClr>
          </a:solidFill>
        </p:grpSpPr>
        <p:sp>
          <p:nvSpPr>
            <p:cNvPr id="36" name="Oval 35">
              <a:extLst>
                <a:ext uri="{FF2B5EF4-FFF2-40B4-BE49-F238E27FC236}">
                  <a16:creationId xmlns:a16="http://schemas.microsoft.com/office/drawing/2014/main" id="{519648C4-6F03-0443-B4CC-E01F4456EC51}"/>
                </a:ext>
              </a:extLst>
            </p:cNvPr>
            <p:cNvSpPr/>
            <p:nvPr/>
          </p:nvSpPr>
          <p:spPr>
            <a:xfrm>
              <a:off x="9439886" y="4891405"/>
              <a:ext cx="148002" cy="1480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37" name="Oval 36">
              <a:extLst>
                <a:ext uri="{FF2B5EF4-FFF2-40B4-BE49-F238E27FC236}">
                  <a16:creationId xmlns:a16="http://schemas.microsoft.com/office/drawing/2014/main" id="{190C14A6-419E-15A5-0924-16C91885F8D7}"/>
                </a:ext>
              </a:extLst>
            </p:cNvPr>
            <p:cNvSpPr/>
            <p:nvPr/>
          </p:nvSpPr>
          <p:spPr>
            <a:xfrm>
              <a:off x="9480041" y="4931560"/>
              <a:ext cx="67692" cy="67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grpSp>
      <p:cxnSp>
        <p:nvCxnSpPr>
          <p:cNvPr id="22" name="Straight Connector 37">
            <a:extLst>
              <a:ext uri="{FF2B5EF4-FFF2-40B4-BE49-F238E27FC236}">
                <a16:creationId xmlns:a16="http://schemas.microsoft.com/office/drawing/2014/main" id="{66F8F95D-A4F3-7E3D-9BB9-B34807F270EA}"/>
              </a:ext>
            </a:extLst>
          </p:cNvPr>
          <p:cNvCxnSpPr>
            <a:cxnSpLocks/>
          </p:cNvCxnSpPr>
          <p:nvPr/>
        </p:nvCxnSpPr>
        <p:spPr>
          <a:xfrm>
            <a:off x="6635476" y="2506964"/>
            <a:ext cx="2744256"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31">
            <a:extLst>
              <a:ext uri="{FF2B5EF4-FFF2-40B4-BE49-F238E27FC236}">
                <a16:creationId xmlns:a16="http://schemas.microsoft.com/office/drawing/2014/main" id="{40B38D4A-353C-0305-0592-E1678A1EB704}"/>
              </a:ext>
            </a:extLst>
          </p:cNvPr>
          <p:cNvCxnSpPr>
            <a:cxnSpLocks/>
          </p:cNvCxnSpPr>
          <p:nvPr/>
        </p:nvCxnSpPr>
        <p:spPr>
          <a:xfrm>
            <a:off x="8606860" y="2631832"/>
            <a:ext cx="0" cy="110068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12">
            <a:extLst>
              <a:ext uri="{FF2B5EF4-FFF2-40B4-BE49-F238E27FC236}">
                <a16:creationId xmlns:a16="http://schemas.microsoft.com/office/drawing/2014/main" id="{EAFE0094-317B-869E-F5DD-1E8D085D5C00}"/>
              </a:ext>
            </a:extLst>
          </p:cNvPr>
          <p:cNvCxnSpPr>
            <a:cxnSpLocks/>
          </p:cNvCxnSpPr>
          <p:nvPr/>
        </p:nvCxnSpPr>
        <p:spPr>
          <a:xfrm flipH="1">
            <a:off x="8606860" y="3732520"/>
            <a:ext cx="133544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5" name="Group 22">
            <a:extLst>
              <a:ext uri="{FF2B5EF4-FFF2-40B4-BE49-F238E27FC236}">
                <a16:creationId xmlns:a16="http://schemas.microsoft.com/office/drawing/2014/main" id="{50F71ECF-B3EA-2E7F-26CC-3E8CEBAE5ACB}"/>
              </a:ext>
            </a:extLst>
          </p:cNvPr>
          <p:cNvGrpSpPr/>
          <p:nvPr/>
        </p:nvGrpSpPr>
        <p:grpSpPr>
          <a:xfrm>
            <a:off x="9944681" y="3658519"/>
            <a:ext cx="148002" cy="148002"/>
            <a:chOff x="5056540" y="4621863"/>
            <a:chExt cx="148002" cy="148002"/>
          </a:xfrm>
          <a:solidFill>
            <a:schemeClr val="accent3">
              <a:alpha val="66000"/>
            </a:schemeClr>
          </a:solidFill>
        </p:grpSpPr>
        <p:sp>
          <p:nvSpPr>
            <p:cNvPr id="34" name="Oval 33">
              <a:extLst>
                <a:ext uri="{FF2B5EF4-FFF2-40B4-BE49-F238E27FC236}">
                  <a16:creationId xmlns:a16="http://schemas.microsoft.com/office/drawing/2014/main" id="{8B011509-191B-9396-6749-870725B2E9F8}"/>
                </a:ext>
              </a:extLst>
            </p:cNvPr>
            <p:cNvSpPr/>
            <p:nvPr/>
          </p:nvSpPr>
          <p:spPr>
            <a:xfrm>
              <a:off x="5056540" y="4621863"/>
              <a:ext cx="148002" cy="1480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35" name="Oval 34">
              <a:extLst>
                <a:ext uri="{FF2B5EF4-FFF2-40B4-BE49-F238E27FC236}">
                  <a16:creationId xmlns:a16="http://schemas.microsoft.com/office/drawing/2014/main" id="{42F5296E-C0FE-410E-2B6D-5508D616CE7D}"/>
                </a:ext>
              </a:extLst>
            </p:cNvPr>
            <p:cNvSpPr/>
            <p:nvPr/>
          </p:nvSpPr>
          <p:spPr>
            <a:xfrm>
              <a:off x="5096695" y="4662018"/>
              <a:ext cx="67692" cy="67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grpSp>
      <p:cxnSp>
        <p:nvCxnSpPr>
          <p:cNvPr id="26" name="Straight Connector 37">
            <a:extLst>
              <a:ext uri="{FF2B5EF4-FFF2-40B4-BE49-F238E27FC236}">
                <a16:creationId xmlns:a16="http://schemas.microsoft.com/office/drawing/2014/main" id="{B1F0E167-99DB-A920-318F-FF5C21517AC3}"/>
              </a:ext>
            </a:extLst>
          </p:cNvPr>
          <p:cNvCxnSpPr>
            <a:cxnSpLocks/>
          </p:cNvCxnSpPr>
          <p:nvPr/>
        </p:nvCxnSpPr>
        <p:spPr>
          <a:xfrm flipV="1">
            <a:off x="3921721" y="2506572"/>
            <a:ext cx="2024962" cy="392"/>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31">
            <a:extLst>
              <a:ext uri="{FF2B5EF4-FFF2-40B4-BE49-F238E27FC236}">
                <a16:creationId xmlns:a16="http://schemas.microsoft.com/office/drawing/2014/main" id="{94EDFB03-BFF7-106E-430B-25D67405DEDA}"/>
              </a:ext>
            </a:extLst>
          </p:cNvPr>
          <p:cNvCxnSpPr>
            <a:cxnSpLocks/>
          </p:cNvCxnSpPr>
          <p:nvPr/>
        </p:nvCxnSpPr>
        <p:spPr>
          <a:xfrm flipH="1">
            <a:off x="4767017" y="2659510"/>
            <a:ext cx="4727" cy="191644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12">
            <a:extLst>
              <a:ext uri="{FF2B5EF4-FFF2-40B4-BE49-F238E27FC236}">
                <a16:creationId xmlns:a16="http://schemas.microsoft.com/office/drawing/2014/main" id="{5381EBC6-6E60-7094-DE65-DD6D3A8B7401}"/>
              </a:ext>
            </a:extLst>
          </p:cNvPr>
          <p:cNvCxnSpPr>
            <a:cxnSpLocks/>
          </p:cNvCxnSpPr>
          <p:nvPr/>
        </p:nvCxnSpPr>
        <p:spPr>
          <a:xfrm flipH="1">
            <a:off x="3422408" y="4575956"/>
            <a:ext cx="133544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0" name="Group 22">
            <a:extLst>
              <a:ext uri="{FF2B5EF4-FFF2-40B4-BE49-F238E27FC236}">
                <a16:creationId xmlns:a16="http://schemas.microsoft.com/office/drawing/2014/main" id="{6A1DF65D-1CBA-D80C-5859-00B1F59C1425}"/>
              </a:ext>
            </a:extLst>
          </p:cNvPr>
          <p:cNvGrpSpPr/>
          <p:nvPr/>
        </p:nvGrpSpPr>
        <p:grpSpPr>
          <a:xfrm>
            <a:off x="3272025" y="4520687"/>
            <a:ext cx="148002" cy="148002"/>
            <a:chOff x="5056540" y="4621863"/>
            <a:chExt cx="148002" cy="148002"/>
          </a:xfrm>
          <a:solidFill>
            <a:schemeClr val="accent3">
              <a:alpha val="66000"/>
            </a:schemeClr>
          </a:solidFill>
        </p:grpSpPr>
        <p:sp>
          <p:nvSpPr>
            <p:cNvPr id="32" name="Oval 31">
              <a:extLst>
                <a:ext uri="{FF2B5EF4-FFF2-40B4-BE49-F238E27FC236}">
                  <a16:creationId xmlns:a16="http://schemas.microsoft.com/office/drawing/2014/main" id="{1B609108-A985-BCB1-A9E1-607A5003E56A}"/>
                </a:ext>
              </a:extLst>
            </p:cNvPr>
            <p:cNvSpPr/>
            <p:nvPr/>
          </p:nvSpPr>
          <p:spPr>
            <a:xfrm>
              <a:off x="5056540" y="4621863"/>
              <a:ext cx="148002" cy="14800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33" name="Oval 32">
              <a:extLst>
                <a:ext uri="{FF2B5EF4-FFF2-40B4-BE49-F238E27FC236}">
                  <a16:creationId xmlns:a16="http://schemas.microsoft.com/office/drawing/2014/main" id="{E2CFE536-A6E8-D24E-7D63-C9F3320E208A}"/>
                </a:ext>
              </a:extLst>
            </p:cNvPr>
            <p:cNvSpPr/>
            <p:nvPr/>
          </p:nvSpPr>
          <p:spPr>
            <a:xfrm>
              <a:off x="5096695" y="4662018"/>
              <a:ext cx="67692" cy="676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sym typeface="Arial"/>
              </a:endParaRPr>
            </a:p>
          </p:txBody>
        </p:sp>
      </p:grpSp>
    </p:spTree>
    <p:extLst>
      <p:ext uri="{BB962C8B-B14F-4D97-AF65-F5344CB8AC3E}">
        <p14:creationId xmlns:p14="http://schemas.microsoft.com/office/powerpoint/2010/main" val="2366782277"/>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5"/>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9AB4CEF-BCDF-A21B-A3F1-FA1D2BB7D2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Object 6" hidden="1">
                        <a:extLst>
                          <a:ext uri="{FF2B5EF4-FFF2-40B4-BE49-F238E27FC236}">
                            <a16:creationId xmlns:a16="http://schemas.microsoft.com/office/drawing/2014/main" id="{19AB4CEF-BCDF-A21B-A3F1-FA1D2BB7D2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F543880-D29C-CD74-3095-7FC3BE9D2A85}"/>
              </a:ext>
            </a:extLst>
          </p:cNvPr>
          <p:cNvSpPr>
            <a:spLocks noGrp="1"/>
          </p:cNvSpPr>
          <p:nvPr>
            <p:ph type="body" sz="quarter" idx="13"/>
          </p:nvPr>
        </p:nvSpPr>
        <p:spPr>
          <a:xfrm>
            <a:off x="360363" y="2824163"/>
            <a:ext cx="2201862" cy="3812611"/>
          </a:xfrm>
          <a:solidFill>
            <a:schemeClr val="accent1"/>
          </a:solidFill>
        </p:spPr>
        <p:txBody>
          <a:bodyPr>
            <a:noAutofit/>
          </a:bodyPr>
          <a:lstStyle/>
          <a:p>
            <a:pPr algn="l">
              <a:lnSpc>
                <a:spcPct val="100000"/>
              </a:lnSpc>
              <a:spcBef>
                <a:spcPts val="0"/>
              </a:spcBef>
            </a:pPr>
            <a:endParaRPr kumimoji="0" lang="en-US" sz="10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algn="l">
              <a:lnSpc>
                <a:spcPct val="100000"/>
              </a:lnSpc>
              <a:spcBef>
                <a:spcPts val="0"/>
              </a:spcBef>
            </a:pPr>
            <a:r>
              <a:rPr kumimoji="0" lang="en-US"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nterviews</a:t>
            </a: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with approximately 40 CHROs and CLOs of global companies to measures “frontier” of reskilling (r</a:t>
            </a:r>
            <a:r>
              <a:rPr lang="en-US" sz="1600" dirty="0" err="1">
                <a:latin typeface="Arial" panose="020B0604020202020204" pitchFamily="34" charset="0"/>
                <a:cs typeface="Arial" panose="020B0604020202020204" pitchFamily="34" charset="0"/>
              </a:rPr>
              <a:t>ationale</a:t>
            </a:r>
            <a:r>
              <a:rPr lang="en-US" sz="1600" dirty="0">
                <a:latin typeface="Arial" panose="020B0604020202020204" pitchFamily="34" charset="0"/>
                <a:cs typeface="Arial" panose="020B0604020202020204" pitchFamily="34" charset="0"/>
              </a:rPr>
              <a:t>, design, </a:t>
            </a:r>
            <a:r>
              <a:rPr lang="en-US" sz="1600" dirty="0" err="1">
                <a:latin typeface="Arial" panose="020B0604020202020204" pitchFamily="34" charset="0"/>
                <a:cs typeface="Arial" panose="020B0604020202020204" pitchFamily="34" charset="0"/>
              </a:rPr>
              <a:t>i</a:t>
            </a:r>
            <a:r>
              <a:rPr kumimoji="0" lang="en-US" sz="1600" b="0"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mplementation</a:t>
            </a: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a:p>
            <a:pPr marL="285750" indent="-285750" algn="l">
              <a:lnSpc>
                <a:spcPct val="100000"/>
              </a:lnSpc>
              <a:spcBef>
                <a:spcPts val="0"/>
              </a:spcBef>
              <a:buClr>
                <a:schemeClr val="bg1"/>
              </a:buClr>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algn="l">
              <a:lnSpc>
                <a:spcPct val="100000"/>
              </a:lnSpc>
              <a:spcBef>
                <a:spcPts val="0"/>
              </a:spcBef>
            </a:pPr>
            <a:r>
              <a:rPr lang="en-US" sz="1600" b="1" dirty="0">
                <a:latin typeface="Arial" panose="020B0604020202020204" pitchFamily="34" charset="0"/>
                <a:cs typeface="Arial" panose="020B0604020202020204" pitchFamily="34" charset="0"/>
              </a:rPr>
              <a:t>Surveys</a:t>
            </a:r>
            <a:r>
              <a:rPr lang="en-US" sz="1600" dirty="0">
                <a:latin typeface="Arial" panose="020B0604020202020204" pitchFamily="34" charset="0"/>
                <a:cs typeface="Arial" panose="020B0604020202020204" pitchFamily="34" charset="0"/>
              </a:rPr>
              <a:t> across three countries (US, Germany, India) to measure distance from frontier</a:t>
            </a:r>
          </a:p>
          <a:p>
            <a:pPr algn="l">
              <a:lnSpc>
                <a:spcPct val="100000"/>
              </a:lnSpc>
              <a:spcBef>
                <a:spcPts val="0"/>
              </a:spcBef>
              <a:buClr>
                <a:schemeClr val="bg1"/>
              </a:buClr>
            </a:pPr>
            <a:endPar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3" name="Text Placeholder 2">
            <a:extLst>
              <a:ext uri="{FF2B5EF4-FFF2-40B4-BE49-F238E27FC236}">
                <a16:creationId xmlns:a16="http://schemas.microsoft.com/office/drawing/2014/main" id="{DE6C3EF4-0A31-7045-7915-36A4D5B834A4}"/>
              </a:ext>
            </a:extLst>
          </p:cNvPr>
          <p:cNvSpPr>
            <a:spLocks noGrp="1"/>
          </p:cNvSpPr>
          <p:nvPr>
            <p:ph type="body" sz="quarter" idx="14"/>
          </p:nvPr>
        </p:nvSpPr>
        <p:spPr>
          <a:xfrm>
            <a:off x="2679669" y="2824163"/>
            <a:ext cx="2201862" cy="3812611"/>
          </a:xfrm>
          <a:solidFill>
            <a:schemeClr val="accent1"/>
          </a:solidFill>
        </p:spPr>
        <p:txBody>
          <a:bodyPr>
            <a:normAutofit/>
          </a:bodyPr>
          <a:lstStyle/>
          <a:p>
            <a:pPr algn="l">
              <a:lnSpc>
                <a:spcPct val="100000"/>
              </a:lnSpc>
            </a:pPr>
            <a:endParaRPr kumimoji="0" lang="en-US"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algn="l">
              <a:lnSpc>
                <a:spcPct val="100000"/>
              </a:lnSpc>
            </a:pPr>
            <a:r>
              <a:rPr kumimoji="0" lang="en-US"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HBR article</a:t>
            </a: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on </a:t>
            </a:r>
            <a:r>
              <a:rPr kumimoji="0" lang="en-US" sz="16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New reskilling paradigm” </a:t>
            </a:r>
            <a:endParaRPr lang="en-US" sz="1600" noProof="0" dirty="0">
              <a:latin typeface="Arial" panose="020B0604020202020204" pitchFamily="34" charset="0"/>
              <a:ea typeface="+mn-ea"/>
              <a:cs typeface="Arial" panose="020B0604020202020204" pitchFamily="34" charset="0"/>
            </a:endParaRPr>
          </a:p>
          <a:p>
            <a:pPr algn="l">
              <a:lnSpc>
                <a:spcPct val="100000"/>
              </a:lnSpc>
            </a:pPr>
            <a:endParaRPr lang="en-US" sz="1600" dirty="0">
              <a:latin typeface="Arial" panose="020B0604020202020204" pitchFamily="34" charset="0"/>
              <a:cs typeface="Arial" panose="020B0604020202020204" pitchFamily="34" charset="0"/>
            </a:endParaRPr>
          </a:p>
          <a:p>
            <a:pPr algn="l">
              <a:lnSpc>
                <a:spcPct val="100000"/>
              </a:lnSpc>
              <a:spcBef>
                <a:spcPts val="0"/>
              </a:spcBef>
            </a:pPr>
            <a:r>
              <a:rPr lang="en-US" sz="1600" dirty="0">
                <a:latin typeface="Arial" panose="020B0604020202020204" pitchFamily="34" charset="0"/>
                <a:cs typeface="Arial" panose="020B0604020202020204" pitchFamily="34" charset="0"/>
              </a:rPr>
              <a:t>Roundtables with interview participants</a:t>
            </a:r>
          </a:p>
          <a:p>
            <a:pPr algn="l">
              <a:lnSpc>
                <a:spcPct val="100000"/>
              </a:lnSpc>
              <a:spcBef>
                <a:spcPts val="0"/>
              </a:spcBef>
            </a:pPr>
            <a:r>
              <a:rPr lang="en-US" sz="1600" dirty="0">
                <a:latin typeface="Arial" panose="020B0604020202020204" pitchFamily="34" charset="0"/>
                <a:cs typeface="Arial" panose="020B0604020202020204" pitchFamily="34" charset="0"/>
              </a:rPr>
              <a:t>- April, October 23</a:t>
            </a:r>
          </a:p>
          <a:p>
            <a:pPr algn="l">
              <a:lnSpc>
                <a:spcPct val="100000"/>
              </a:lnSpc>
              <a:spcBef>
                <a:spcPts val="0"/>
              </a:spcBef>
            </a:pPr>
            <a:endParaRPr lang="en-US" sz="1600" b="1" dirty="0">
              <a:latin typeface="Arial" panose="020B0604020202020204" pitchFamily="34" charset="0"/>
              <a:cs typeface="Arial" panose="020B0604020202020204" pitchFamily="34" charset="0"/>
            </a:endParaRPr>
          </a:p>
          <a:p>
            <a:pPr algn="l">
              <a:lnSpc>
                <a:spcPct val="100000"/>
              </a:lnSpc>
              <a:spcBef>
                <a:spcPts val="0"/>
              </a:spcBef>
            </a:pPr>
            <a:r>
              <a:rPr lang="en-US" sz="1600" b="1" dirty="0">
                <a:latin typeface="Arial" panose="020B0604020202020204" pitchFamily="34" charset="0"/>
                <a:cs typeface="Arial" panose="020B0604020202020204" pitchFamily="34" charset="0"/>
              </a:rPr>
              <a:t>Academic articl</a:t>
            </a:r>
            <a:r>
              <a:rPr lang="en-US" sz="1600" dirty="0">
                <a:latin typeface="Arial" panose="020B0604020202020204" pitchFamily="34" charset="0"/>
                <a:cs typeface="Arial" panose="020B0604020202020204" pitchFamily="34" charset="0"/>
              </a:rPr>
              <a:t>e to report on:</a:t>
            </a:r>
          </a:p>
          <a:p>
            <a:pPr algn="l">
              <a:lnSpc>
                <a:spcPct val="100000"/>
              </a:lnSpc>
              <a:spcBef>
                <a:spcPts val="0"/>
              </a:spcBef>
            </a:pPr>
            <a:r>
              <a:rPr lang="en-US" sz="1600" dirty="0">
                <a:latin typeface="Arial" panose="020B0604020202020204" pitchFamily="34" charset="0"/>
                <a:cs typeface="Arial" panose="020B0604020202020204" pitchFamily="34" charset="0"/>
              </a:rPr>
              <a:t>- Clusters of practices</a:t>
            </a:r>
          </a:p>
          <a:p>
            <a:pPr algn="l">
              <a:lnSpc>
                <a:spcPct val="100000"/>
              </a:lnSpc>
              <a:spcBef>
                <a:spcPts val="0"/>
              </a:spcBef>
            </a:pP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Correlations with workforce’s outcomes</a:t>
            </a:r>
          </a:p>
        </p:txBody>
      </p:sp>
      <p:sp>
        <p:nvSpPr>
          <p:cNvPr id="4" name="Text Placeholder 3">
            <a:extLst>
              <a:ext uri="{FF2B5EF4-FFF2-40B4-BE49-F238E27FC236}">
                <a16:creationId xmlns:a16="http://schemas.microsoft.com/office/drawing/2014/main" id="{9A56213A-34E3-4904-1A9D-5FFDCE4BCE60}"/>
              </a:ext>
            </a:extLst>
          </p:cNvPr>
          <p:cNvSpPr>
            <a:spLocks noGrp="1"/>
          </p:cNvSpPr>
          <p:nvPr>
            <p:ph type="body" sz="quarter" idx="15"/>
          </p:nvPr>
        </p:nvSpPr>
        <p:spPr>
          <a:xfrm>
            <a:off x="4998975" y="2824163"/>
            <a:ext cx="2201862" cy="3812611"/>
          </a:xfrm>
          <a:solidFill>
            <a:schemeClr val="accent1"/>
          </a:solidFill>
        </p:spPr>
        <p:txBody>
          <a:bodyPr/>
          <a:lstStyle/>
          <a:p>
            <a:pPr algn="l">
              <a:lnSpc>
                <a:spcPct val="100000"/>
              </a:lnSpc>
              <a:spcBef>
                <a:spcPts val="0"/>
              </a:spcBef>
              <a:buClrTx/>
              <a:defRPr/>
            </a:pPr>
            <a:endParaRPr lang="en-US" sz="1000" dirty="0">
              <a:latin typeface="Arial" panose="020B0604020202020204" pitchFamily="34" charset="0"/>
              <a:cs typeface="Arial" panose="020B0604020202020204" pitchFamily="34" charset="0"/>
            </a:endParaRPr>
          </a:p>
          <a:p>
            <a:pPr algn="l">
              <a:lnSpc>
                <a:spcPct val="100000"/>
              </a:lnSpc>
              <a:spcBef>
                <a:spcPts val="0"/>
              </a:spcBef>
              <a:buClrTx/>
              <a:defRPr/>
            </a:pPr>
            <a:r>
              <a:rPr lang="en-US" sz="1600" dirty="0">
                <a:latin typeface="Arial" panose="020B0604020202020204" pitchFamily="34" charset="0"/>
                <a:cs typeface="Arial" panose="020B0604020202020204" pitchFamily="34" charset="0"/>
              </a:rPr>
              <a:t>Study of specific organizational bottleneck emerging from the interviews</a:t>
            </a:r>
          </a:p>
          <a:p>
            <a:pPr marL="285750" indent="-285750" algn="l">
              <a:lnSpc>
                <a:spcPct val="100000"/>
              </a:lnSpc>
              <a:spcBef>
                <a:spcPts val="0"/>
              </a:spcBef>
              <a:buClrTx/>
              <a:buFont typeface="Arial" panose="020B0604020202020204" pitchFamily="34" charset="0"/>
              <a:buChar char="•"/>
              <a:defRPr/>
            </a:pPr>
            <a:r>
              <a:rPr lang="en-US" sz="1600" b="1" dirty="0">
                <a:latin typeface="Arial" panose="020B0604020202020204" pitchFamily="34" charset="0"/>
                <a:cs typeface="Arial" panose="020B0604020202020204" pitchFamily="34" charset="0"/>
              </a:rPr>
              <a:t>Talent Hoarding </a:t>
            </a:r>
            <a:r>
              <a:rPr lang="en-US" sz="1600" dirty="0">
                <a:latin typeface="Arial" panose="020B0604020202020204" pitchFamily="34" charset="0"/>
                <a:cs typeface="Arial" panose="020B0604020202020204" pitchFamily="34" charset="0"/>
              </a:rPr>
              <a:t>(managers)</a:t>
            </a:r>
          </a:p>
          <a:p>
            <a:pPr marL="285750" indent="-285750" algn="l">
              <a:lnSpc>
                <a:spcPct val="100000"/>
              </a:lnSpc>
              <a:spcBef>
                <a:spcPts val="0"/>
              </a:spcBef>
              <a:buClrTx/>
              <a:buFont typeface="Arial" panose="020B0604020202020204" pitchFamily="34" charset="0"/>
              <a:buChar char="•"/>
              <a:defRPr/>
            </a:pPr>
            <a:r>
              <a:rPr lang="en-US" sz="1600" b="1" dirty="0">
                <a:latin typeface="Arial" panose="020B0604020202020204" pitchFamily="34" charset="0"/>
                <a:cs typeface="Arial" panose="020B0604020202020204" pitchFamily="34" charset="0"/>
              </a:rPr>
              <a:t>Demand for reskilling </a:t>
            </a:r>
            <a:r>
              <a:rPr lang="en-US" sz="1600" dirty="0">
                <a:latin typeface="Arial" panose="020B0604020202020204" pitchFamily="34" charset="0"/>
                <a:cs typeface="Arial" panose="020B0604020202020204" pitchFamily="34" charset="0"/>
              </a:rPr>
              <a:t>(workers)</a:t>
            </a:r>
          </a:p>
          <a:p>
            <a:pPr algn="l">
              <a:lnSpc>
                <a:spcPct val="100000"/>
              </a:lnSpc>
              <a:spcBef>
                <a:spcPts val="0"/>
              </a:spcBef>
              <a:buClrTx/>
              <a:defRPr/>
            </a:pPr>
            <a:endPar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algn="l">
              <a:lnSpc>
                <a:spcPct val="100000"/>
              </a:lnSpc>
              <a:spcBef>
                <a:spcPts val="0"/>
              </a:spcBef>
              <a:buClrTx/>
              <a:defRPr/>
            </a:pPr>
            <a:endPar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algn="l">
              <a:lnSpc>
                <a:spcPct val="100000"/>
              </a:lnSpc>
              <a:spcBef>
                <a:spcPts val="0"/>
              </a:spcBef>
              <a:buClrTx/>
              <a:defRPr/>
            </a:pPr>
            <a:endParaRPr lang="en-US" sz="1600" dirty="0">
              <a:latin typeface="Arial" panose="020B0604020202020204" pitchFamily="34" charset="0"/>
              <a:cs typeface="Arial" panose="020B0604020202020204" pitchFamily="34" charset="0"/>
            </a:endParaRPr>
          </a:p>
          <a:p>
            <a:pPr algn="l">
              <a:lnSpc>
                <a:spcPct val="100000"/>
              </a:lnSpc>
              <a:spcBef>
                <a:spcPts val="0"/>
              </a:spcBef>
              <a:buClrTx/>
              <a:defRPr/>
            </a:pPr>
            <a:endParaRPr lang="en-US" sz="2000" dirty="0">
              <a:latin typeface="Arial" panose="020B0604020202020204" pitchFamily="34" charset="0"/>
              <a:cs typeface="Arial" panose="020B0604020202020204" pitchFamily="34" charset="0"/>
            </a:endParaRPr>
          </a:p>
          <a:p>
            <a:pPr marL="342900" indent="-342900" algn="l">
              <a:lnSpc>
                <a:spcPct val="100000"/>
              </a:lnSpc>
              <a:spcBef>
                <a:spcPts val="0"/>
              </a:spcBef>
              <a:buClrTx/>
              <a:buFontTx/>
              <a:buChar char="-"/>
              <a:defRPr/>
            </a:pPr>
            <a:endParaRPr lang="en-US" sz="2000" dirty="0">
              <a:latin typeface="Arial" panose="020B0604020202020204" pitchFamily="34" charset="0"/>
              <a:cs typeface="Arial" panose="020B0604020202020204" pitchFamily="34" charset="0"/>
            </a:endParaRPr>
          </a:p>
          <a:p>
            <a:pPr marL="457200" indent="-457200" algn="l">
              <a:lnSpc>
                <a:spcPct val="100000"/>
              </a:lnSpc>
              <a:spcBef>
                <a:spcPts val="0"/>
              </a:spcBef>
              <a:buClrTx/>
              <a:buAutoNum type="arabicPeriod"/>
              <a:defRPr/>
            </a:pPr>
            <a:endParaRPr kumimoji="0" lang="en-US" sz="2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a:p>
            <a:endParaRPr lang="en-US" dirty="0"/>
          </a:p>
        </p:txBody>
      </p:sp>
      <p:sp>
        <p:nvSpPr>
          <p:cNvPr id="5" name="Text Placeholder 4">
            <a:extLst>
              <a:ext uri="{FF2B5EF4-FFF2-40B4-BE49-F238E27FC236}">
                <a16:creationId xmlns:a16="http://schemas.microsoft.com/office/drawing/2014/main" id="{DE8F5A42-E174-B7DA-E964-7BAD1111770A}"/>
              </a:ext>
            </a:extLst>
          </p:cNvPr>
          <p:cNvSpPr>
            <a:spLocks noGrp="1"/>
          </p:cNvSpPr>
          <p:nvPr>
            <p:ph type="body" sz="quarter" idx="16"/>
          </p:nvPr>
        </p:nvSpPr>
        <p:spPr>
          <a:xfrm>
            <a:off x="7318281" y="2802392"/>
            <a:ext cx="2201862" cy="3812611"/>
          </a:xfrm>
          <a:solidFill>
            <a:schemeClr val="accent1"/>
          </a:solidFill>
        </p:spPr>
        <p:txBody>
          <a:bodyPr>
            <a:normAutofit/>
          </a:bodyPr>
          <a:lstStyle/>
          <a:p>
            <a:pPr algn="l"/>
            <a:r>
              <a:rPr lang="en-US" sz="1600" dirty="0">
                <a:latin typeface="Arial" panose="020B0604020202020204" pitchFamily="34" charset="0"/>
                <a:cs typeface="Arial" panose="020B0604020202020204" pitchFamily="34" charset="0"/>
              </a:rPr>
              <a:t>12 DUAs to explore feasibility of new projects</a:t>
            </a:r>
          </a:p>
          <a:p>
            <a:pPr algn="l"/>
            <a:r>
              <a:rPr lang="en-US" sz="1600" dirty="0">
                <a:latin typeface="Arial" panose="020B0604020202020204" pitchFamily="34" charset="0"/>
                <a:cs typeface="Arial" panose="020B0604020202020204" pitchFamily="34" charset="0"/>
              </a:rPr>
              <a:t>Of which:</a:t>
            </a:r>
          </a:p>
          <a:p>
            <a:pPr algn="l"/>
            <a:r>
              <a:rPr lang="en-US" sz="1600" dirty="0">
                <a:latin typeface="Arial" panose="020B0604020202020204" pitchFamily="34" charset="0"/>
                <a:cs typeface="Arial" panose="020B0604020202020204" pitchFamily="34" charset="0"/>
              </a:rPr>
              <a:t>- 2 ongoing evaluations using </a:t>
            </a:r>
            <a:r>
              <a:rPr lang="en-US" sz="1600" b="1" dirty="0">
                <a:latin typeface="Arial" panose="020B0604020202020204" pitchFamily="34" charset="0"/>
                <a:cs typeface="Arial" panose="020B0604020202020204" pitchFamily="34" charset="0"/>
              </a:rPr>
              <a:t>administrative data</a:t>
            </a:r>
            <a:endParaRPr lang="en-US" sz="1600" dirty="0">
              <a:latin typeface="Arial" panose="020B0604020202020204" pitchFamily="34" charset="0"/>
              <a:cs typeface="Arial" panose="020B0604020202020204" pitchFamily="34" charset="0"/>
            </a:endParaRPr>
          </a:p>
          <a:p>
            <a:pPr algn="l"/>
            <a:r>
              <a:rPr lang="en-US" sz="1600" dirty="0">
                <a:latin typeface="Arial" panose="020B0604020202020204" pitchFamily="34" charset="0"/>
                <a:cs typeface="Arial" panose="020B0604020202020204" pitchFamily="34" charset="0"/>
              </a:rPr>
              <a:t>- 2 ongoing partnerships to implement </a:t>
            </a:r>
            <a:r>
              <a:rPr lang="en-US" sz="1600" b="1" dirty="0">
                <a:latin typeface="Arial" panose="020B0604020202020204" pitchFamily="34" charset="0"/>
                <a:cs typeface="Arial" panose="020B0604020202020204" pitchFamily="34" charset="0"/>
              </a:rPr>
              <a:t>Randomized controls trials (</a:t>
            </a:r>
            <a:r>
              <a:rPr lang="en-US" sz="1600" dirty="0">
                <a:latin typeface="Arial" panose="020B0604020202020204" pitchFamily="34" charset="0"/>
                <a:cs typeface="Arial" panose="020B0604020202020204" pitchFamily="34" charset="0"/>
              </a:rPr>
              <a:t>RCTs)</a:t>
            </a:r>
          </a:p>
        </p:txBody>
      </p:sp>
      <p:sp>
        <p:nvSpPr>
          <p:cNvPr id="6" name="Text Placeholder 5">
            <a:extLst>
              <a:ext uri="{FF2B5EF4-FFF2-40B4-BE49-F238E27FC236}">
                <a16:creationId xmlns:a16="http://schemas.microsoft.com/office/drawing/2014/main" id="{F338D0C5-9D07-02B5-50AD-1CF86D062F78}"/>
              </a:ext>
            </a:extLst>
          </p:cNvPr>
          <p:cNvSpPr>
            <a:spLocks noGrp="1"/>
          </p:cNvSpPr>
          <p:nvPr>
            <p:ph type="body" sz="quarter" idx="17"/>
          </p:nvPr>
        </p:nvSpPr>
        <p:spPr>
          <a:xfrm>
            <a:off x="9637587" y="2824163"/>
            <a:ext cx="2201862" cy="3812611"/>
          </a:xfrm>
          <a:solidFill>
            <a:schemeClr val="accent1"/>
          </a:solidFill>
        </p:spPr>
        <p:txBody>
          <a:bodyPr/>
          <a:lstStyle/>
          <a:p>
            <a:pPr algn="l"/>
            <a:r>
              <a:rPr lang="en-US" sz="1600" kern="1200" dirty="0">
                <a:latin typeface="Arial" panose="020B0604020202020204" pitchFamily="34" charset="0"/>
                <a:ea typeface="+mn-ea"/>
                <a:cs typeface="Arial" panose="020B0604020202020204" pitchFamily="34" charset="0"/>
              </a:rPr>
              <a:t>2</a:t>
            </a: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partnerships evaluating both pilot and scale-up of a reskilling program</a:t>
            </a:r>
          </a:p>
          <a:p>
            <a:endParaRPr lang="en-US" dirty="0"/>
          </a:p>
        </p:txBody>
      </p:sp>
      <p:sp>
        <p:nvSpPr>
          <p:cNvPr id="10" name="TextBox 9">
            <a:extLst>
              <a:ext uri="{FF2B5EF4-FFF2-40B4-BE49-F238E27FC236}">
                <a16:creationId xmlns:a16="http://schemas.microsoft.com/office/drawing/2014/main" id="{1DCE73AA-F3AC-59E3-389E-C46E1D4FB307}"/>
              </a:ext>
            </a:extLst>
          </p:cNvPr>
          <p:cNvSpPr txBox="1"/>
          <p:nvPr/>
        </p:nvSpPr>
        <p:spPr>
          <a:xfrm>
            <a:off x="343011" y="1595410"/>
            <a:ext cx="2201862" cy="1200329"/>
          </a:xfrm>
          <a:prstGeom prst="rect">
            <a:avLst/>
          </a:prstGeom>
          <a:solidFill>
            <a:schemeClr val="bg1"/>
          </a:solidFill>
        </p:spPr>
        <p:txBody>
          <a:bodyPr wrap="square">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ollect evidence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on ongoing, large-scale reskilling programs</a:t>
            </a:r>
          </a:p>
        </p:txBody>
      </p:sp>
      <p:sp>
        <p:nvSpPr>
          <p:cNvPr id="11" name="TextBox 10">
            <a:extLst>
              <a:ext uri="{FF2B5EF4-FFF2-40B4-BE49-F238E27FC236}">
                <a16:creationId xmlns:a16="http://schemas.microsoft.com/office/drawing/2014/main" id="{BA0C6725-E578-377B-A0C4-23E0B2E782AB}"/>
              </a:ext>
            </a:extLst>
          </p:cNvPr>
          <p:cNvSpPr txBox="1"/>
          <p:nvPr/>
        </p:nvSpPr>
        <p:spPr>
          <a:xfrm>
            <a:off x="2710429" y="1637729"/>
            <a:ext cx="2132530" cy="1200329"/>
          </a:xfrm>
          <a:prstGeom prst="rect">
            <a:avLst/>
          </a:prstGeom>
          <a:solidFill>
            <a:schemeClr val="bg1"/>
          </a:solidFill>
        </p:spPr>
        <p:txBody>
          <a:bodyPr wrap="square">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ompare</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nd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ynthetize</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pproaches across firms</a:t>
            </a:r>
          </a:p>
        </p:txBody>
      </p:sp>
      <p:sp>
        <p:nvSpPr>
          <p:cNvPr id="12" name="TextBox 11">
            <a:extLst>
              <a:ext uri="{FF2B5EF4-FFF2-40B4-BE49-F238E27FC236}">
                <a16:creationId xmlns:a16="http://schemas.microsoft.com/office/drawing/2014/main" id="{1CB8D8A0-B39F-673C-5D47-7EB15E737099}"/>
              </a:ext>
            </a:extLst>
          </p:cNvPr>
          <p:cNvSpPr txBox="1"/>
          <p:nvPr/>
        </p:nvSpPr>
        <p:spPr>
          <a:xfrm>
            <a:off x="5008515" y="1668547"/>
            <a:ext cx="2201862" cy="923330"/>
          </a:xfrm>
          <a:prstGeom prst="rect">
            <a:avLst/>
          </a:prstGeom>
          <a:solidFill>
            <a:schemeClr val="bg1"/>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eep dives</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into possible sources of frictions</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t>
            </a: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 name="TextBox 12">
            <a:extLst>
              <a:ext uri="{FF2B5EF4-FFF2-40B4-BE49-F238E27FC236}">
                <a16:creationId xmlns:a16="http://schemas.microsoft.com/office/drawing/2014/main" id="{E59A510A-48E1-E8CF-9C4C-07AF17B90BC5}"/>
              </a:ext>
            </a:extLst>
          </p:cNvPr>
          <p:cNvSpPr txBox="1"/>
          <p:nvPr/>
        </p:nvSpPr>
        <p:spPr>
          <a:xfrm>
            <a:off x="7279709" y="1595409"/>
            <a:ext cx="2201862" cy="1200329"/>
          </a:xfrm>
          <a:prstGeom prst="rect">
            <a:avLst/>
          </a:prstGeom>
          <a:solidFill>
            <a:schemeClr val="bg1"/>
          </a:solidFill>
        </p:spPr>
        <p:txBody>
          <a:bodyPr wrap="square">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Evaluate</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the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osts and benefits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of reskilling programs</a:t>
            </a: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 name="TextBox 13">
            <a:extLst>
              <a:ext uri="{FF2B5EF4-FFF2-40B4-BE49-F238E27FC236}">
                <a16:creationId xmlns:a16="http://schemas.microsoft.com/office/drawing/2014/main" id="{757AB510-03D5-B76C-E56F-8690B0DF45F1}"/>
              </a:ext>
            </a:extLst>
          </p:cNvPr>
          <p:cNvSpPr txBox="1"/>
          <p:nvPr/>
        </p:nvSpPr>
        <p:spPr>
          <a:xfrm>
            <a:off x="9647127" y="1595408"/>
            <a:ext cx="2201862" cy="1200329"/>
          </a:xfrm>
          <a:prstGeom prst="rect">
            <a:avLst/>
          </a:prstGeom>
          <a:solidFill>
            <a:schemeClr val="bg1"/>
          </a:solidFill>
        </p:spPr>
        <p:txBody>
          <a:bodyPr wrap="square">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Evaluate</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the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calability</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of reskilling programs</a:t>
            </a: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6" name="Google Shape;11285;p43">
            <a:extLst>
              <a:ext uri="{FF2B5EF4-FFF2-40B4-BE49-F238E27FC236}">
                <a16:creationId xmlns:a16="http://schemas.microsoft.com/office/drawing/2014/main" id="{68A5FFAC-EEA5-116E-AD08-0E8864C607D4}"/>
              </a:ext>
            </a:extLst>
          </p:cNvPr>
          <p:cNvSpPr txBox="1">
            <a:spLocks noGrp="1"/>
          </p:cNvSpPr>
          <p:nvPr>
            <p:ph type="title"/>
          </p:nvPr>
        </p:nvSpPr>
        <p:spPr>
          <a:xfrm>
            <a:off x="334963" y="0"/>
            <a:ext cx="4545012" cy="1018096"/>
          </a:xfrm>
          <a:prstGeom prst="rect">
            <a:avLst/>
          </a:prstGeom>
          <a:solidFill>
            <a:schemeClr val="accent1"/>
          </a:solidFill>
          <a:ln>
            <a:noFill/>
          </a:ln>
        </p:spPr>
        <p:txBody>
          <a:bodyPr spcFirstLastPara="1" wrap="square" lIns="180000" tIns="540000" rIns="72000" bIns="180000" anchor="b" anchorCtr="0">
            <a:noAutofit/>
          </a:bodyPr>
          <a:lstStyle/>
          <a:p>
            <a:pPr marL="0" lvl="0" indent="0" algn="l">
              <a:lnSpc>
                <a:spcPct val="90000"/>
              </a:lnSpc>
              <a:spcBef>
                <a:spcPts val="0"/>
              </a:spcBef>
              <a:spcAft>
                <a:spcPts val="0"/>
              </a:spcAft>
              <a:buClr>
                <a:schemeClr val="lt1"/>
              </a:buClr>
              <a:buSzPts val="2000"/>
              <a:buFont typeface="Arial"/>
              <a:buNone/>
            </a:pPr>
            <a:r>
              <a:rPr lang="en-US" sz="2400" dirty="0"/>
              <a:t>Progress</a:t>
            </a:r>
          </a:p>
        </p:txBody>
      </p:sp>
      <p:sp>
        <p:nvSpPr>
          <p:cNvPr id="20" name="Rectangle 1">
            <a:extLst>
              <a:ext uri="{FF2B5EF4-FFF2-40B4-BE49-F238E27FC236}">
                <a16:creationId xmlns:a16="http://schemas.microsoft.com/office/drawing/2014/main" id="{F53917BB-6003-87AE-BDE7-3FCF3FCB0F14}"/>
              </a:ext>
            </a:extLst>
          </p:cNvPr>
          <p:cNvSpPr/>
          <p:nvPr/>
        </p:nvSpPr>
        <p:spPr>
          <a:xfrm>
            <a:off x="343012" y="907657"/>
            <a:ext cx="6857826" cy="730072"/>
          </a:xfrm>
          <a:prstGeom prst="rect">
            <a:avLst/>
          </a:prstGeom>
        </p:spPr>
        <p:txBody>
          <a:bodyPr wrap="square">
            <a:spAutoFit/>
          </a:bodyPr>
          <a:lstStyle/>
          <a:p>
            <a:pPr marL="0" marR="0" lvl="0" indent="0" algn="ctr" defTabSz="914400" eaLnBrk="1" fontAlgn="auto" latinLnBrk="0" hangingPunct="1">
              <a:lnSpc>
                <a:spcPct val="167857"/>
              </a:lnSpc>
              <a:spcBef>
                <a:spcPts val="1400"/>
              </a:spcBef>
              <a:spcAft>
                <a:spcPts val="700"/>
              </a:spcAft>
              <a:buClrTx/>
              <a:buSzPct val="80000"/>
              <a:buFontTx/>
              <a:buNone/>
              <a:tabLst/>
              <a:defRPr/>
            </a:pPr>
            <a:r>
              <a:rPr kumimoji="0" lang="en-US" altLang="en-US" sz="28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sym typeface="Arial"/>
              </a:rPr>
              <a:t>Knowledge</a:t>
            </a:r>
            <a:endParaRPr kumimoji="0" lang="en-US" altLang="en-US" sz="2800" b="0"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sym typeface="Arial"/>
            </a:endParaRPr>
          </a:p>
        </p:txBody>
      </p:sp>
      <p:sp>
        <p:nvSpPr>
          <p:cNvPr id="21" name="Rectangle 1">
            <a:extLst>
              <a:ext uri="{FF2B5EF4-FFF2-40B4-BE49-F238E27FC236}">
                <a16:creationId xmlns:a16="http://schemas.microsoft.com/office/drawing/2014/main" id="{E0C0DB5F-FD78-F78D-1124-08E3915D4C80}"/>
              </a:ext>
            </a:extLst>
          </p:cNvPr>
          <p:cNvSpPr/>
          <p:nvPr/>
        </p:nvSpPr>
        <p:spPr>
          <a:xfrm>
            <a:off x="7279709" y="891812"/>
            <a:ext cx="4569280" cy="730072"/>
          </a:xfrm>
          <a:prstGeom prst="rect">
            <a:avLst/>
          </a:prstGeom>
        </p:spPr>
        <p:txBody>
          <a:bodyPr wrap="square">
            <a:spAutoFit/>
          </a:bodyPr>
          <a:lstStyle/>
          <a:p>
            <a:pPr marL="0" marR="0" lvl="0" indent="0" algn="ctr" defTabSz="914400" eaLnBrk="1" fontAlgn="auto" latinLnBrk="0" hangingPunct="1">
              <a:lnSpc>
                <a:spcPct val="167857"/>
              </a:lnSpc>
              <a:spcBef>
                <a:spcPts val="1400"/>
              </a:spcBef>
              <a:spcAft>
                <a:spcPts val="700"/>
              </a:spcAft>
              <a:buClrTx/>
              <a:buSzPct val="80000"/>
              <a:buFontTx/>
              <a:buNone/>
              <a:tabLst/>
              <a:defRPr/>
            </a:pPr>
            <a:r>
              <a:rPr kumimoji="0" lang="en-US" altLang="en-US" sz="28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sym typeface="Arial"/>
              </a:rPr>
              <a:t>Implementation</a:t>
            </a:r>
            <a:endParaRPr kumimoji="0" lang="en-US" altLang="en-US" sz="2800" b="0"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sym typeface="Arial"/>
            </a:endParaRPr>
          </a:p>
        </p:txBody>
      </p:sp>
      <p:cxnSp>
        <p:nvCxnSpPr>
          <p:cNvPr id="22" name="Straight Connector 37">
            <a:extLst>
              <a:ext uri="{FF2B5EF4-FFF2-40B4-BE49-F238E27FC236}">
                <a16:creationId xmlns:a16="http://schemas.microsoft.com/office/drawing/2014/main" id="{81F6B79B-B5F7-D673-5DBB-0822043107A3}"/>
              </a:ext>
            </a:extLst>
          </p:cNvPr>
          <p:cNvCxnSpPr>
            <a:cxnSpLocks/>
          </p:cNvCxnSpPr>
          <p:nvPr/>
        </p:nvCxnSpPr>
        <p:spPr>
          <a:xfrm flipV="1">
            <a:off x="2699222" y="1595016"/>
            <a:ext cx="2024962" cy="392"/>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37">
            <a:extLst>
              <a:ext uri="{FF2B5EF4-FFF2-40B4-BE49-F238E27FC236}">
                <a16:creationId xmlns:a16="http://schemas.microsoft.com/office/drawing/2014/main" id="{5E49167F-577B-68A6-7122-3F7438731164}"/>
              </a:ext>
            </a:extLst>
          </p:cNvPr>
          <p:cNvCxnSpPr>
            <a:cxnSpLocks/>
          </p:cNvCxnSpPr>
          <p:nvPr/>
        </p:nvCxnSpPr>
        <p:spPr>
          <a:xfrm>
            <a:off x="8222336" y="1566911"/>
            <a:ext cx="2684026"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398105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1" end="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xEl>
                                              <p:pRg st="2" end="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xEl>
                                              <p:pRg st="3" end="3"/>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
                                            <p:txEl>
                                              <p:pRg st="1" end="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
                                            <p:txEl>
                                              <p:pRg st="2" end="2"/>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029"/>
        <p:cNvGrpSpPr/>
        <p:nvPr/>
      </p:nvGrpSpPr>
      <p:grpSpPr>
        <a:xfrm>
          <a:off x="0" y="0"/>
          <a:ext cx="0" cy="0"/>
          <a:chOff x="0" y="0"/>
          <a:chExt cx="0" cy="0"/>
        </a:xfrm>
      </p:grpSpPr>
      <p:sp>
        <p:nvSpPr>
          <p:cNvPr id="2" name="Rectangle 1">
            <a:extLst>
              <a:ext uri="{FF2B5EF4-FFF2-40B4-BE49-F238E27FC236}">
                <a16:creationId xmlns:a16="http://schemas.microsoft.com/office/drawing/2014/main" id="{DED5BB8B-CA90-E2C2-1D35-7308324F7C64}"/>
              </a:ext>
            </a:extLst>
          </p:cNvPr>
          <p:cNvSpPr/>
          <p:nvPr/>
        </p:nvSpPr>
        <p:spPr>
          <a:xfrm>
            <a:off x="8082840" y="1185526"/>
            <a:ext cx="3770608" cy="51292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58349B5D-628F-CF30-6FDD-520152538652}"/>
              </a:ext>
            </a:extLst>
          </p:cNvPr>
          <p:cNvSpPr/>
          <p:nvPr/>
        </p:nvSpPr>
        <p:spPr>
          <a:xfrm>
            <a:off x="4159016" y="1185526"/>
            <a:ext cx="3806679" cy="5129252"/>
          </a:xfrm>
          <a:prstGeom prst="rect">
            <a:avLst/>
          </a:prstGeom>
          <a:solidFill>
            <a:srgbClr val="E8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866A366-DEB8-2653-CB8A-C5C88B68AAB8}"/>
              </a:ext>
            </a:extLst>
          </p:cNvPr>
          <p:cNvSpPr/>
          <p:nvPr/>
        </p:nvSpPr>
        <p:spPr>
          <a:xfrm>
            <a:off x="304324" y="1207765"/>
            <a:ext cx="3786614" cy="5129252"/>
          </a:xfrm>
          <a:prstGeom prst="rect">
            <a:avLst/>
          </a:prstGeom>
          <a:solidFill>
            <a:srgbClr val="AACD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D63A815B-4F41-6DFD-8A24-09C4013945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Object 2" hidden="1">
                        <a:extLst>
                          <a:ext uri="{FF2B5EF4-FFF2-40B4-BE49-F238E27FC236}">
                            <a16:creationId xmlns:a16="http://schemas.microsoft.com/office/drawing/2014/main" id="{D63A815B-4F41-6DFD-8A24-09C4013945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1102" name="Google Shape;11102;p43"/>
          <p:cNvCxnSpPr/>
          <p:nvPr/>
        </p:nvCxnSpPr>
        <p:spPr>
          <a:xfrm>
            <a:off x="8074888" y="2437708"/>
            <a:ext cx="3403835" cy="0"/>
          </a:xfrm>
          <a:prstGeom prst="straightConnector1">
            <a:avLst/>
          </a:prstGeom>
          <a:noFill/>
          <a:ln w="9525" cap="flat" cmpd="sng">
            <a:solidFill>
              <a:schemeClr val="lt1"/>
            </a:solidFill>
            <a:prstDash val="solid"/>
            <a:miter lim="800000"/>
            <a:headEnd type="none" w="sm" len="sm"/>
            <a:tailEnd type="none" w="sm" len="sm"/>
          </a:ln>
        </p:spPr>
      </p:cxnSp>
      <p:cxnSp>
        <p:nvCxnSpPr>
          <p:cNvPr id="11162" name="Google Shape;11162;p43"/>
          <p:cNvCxnSpPr/>
          <p:nvPr/>
        </p:nvCxnSpPr>
        <p:spPr>
          <a:xfrm>
            <a:off x="4199860" y="2437708"/>
            <a:ext cx="3351811" cy="0"/>
          </a:xfrm>
          <a:prstGeom prst="straightConnector1">
            <a:avLst/>
          </a:prstGeom>
          <a:noFill/>
          <a:ln w="9525" cap="flat" cmpd="sng">
            <a:solidFill>
              <a:schemeClr val="accent1"/>
            </a:solidFill>
            <a:prstDash val="solid"/>
            <a:miter lim="800000"/>
            <a:headEnd type="none" w="sm" len="sm"/>
            <a:tailEnd type="none" w="sm" len="sm"/>
          </a:ln>
        </p:spPr>
      </p:cxnSp>
      <p:cxnSp>
        <p:nvCxnSpPr>
          <p:cNvPr id="11284" name="Google Shape;11284;p43"/>
          <p:cNvCxnSpPr/>
          <p:nvPr/>
        </p:nvCxnSpPr>
        <p:spPr>
          <a:xfrm>
            <a:off x="329609" y="2437708"/>
            <a:ext cx="3400618" cy="0"/>
          </a:xfrm>
          <a:prstGeom prst="straightConnector1">
            <a:avLst/>
          </a:prstGeom>
          <a:noFill/>
          <a:ln w="9525" cap="flat" cmpd="sng">
            <a:solidFill>
              <a:srgbClr val="1A425C"/>
            </a:solidFill>
            <a:prstDash val="solid"/>
            <a:miter lim="800000"/>
            <a:headEnd type="none" w="sm" len="sm"/>
            <a:tailEnd type="none" w="sm" len="sm"/>
          </a:ln>
        </p:spPr>
      </p:cxnSp>
      <p:sp>
        <p:nvSpPr>
          <p:cNvPr id="11285" name="Google Shape;11285;p43"/>
          <p:cNvSpPr txBox="1">
            <a:spLocks noGrp="1"/>
          </p:cNvSpPr>
          <p:nvPr>
            <p:ph type="title"/>
          </p:nvPr>
        </p:nvSpPr>
        <p:spPr>
          <a:xfrm>
            <a:off x="334963" y="0"/>
            <a:ext cx="4545012" cy="1018096"/>
          </a:xfrm>
          <a:prstGeom prst="rect">
            <a:avLst/>
          </a:prstGeom>
          <a:solidFill>
            <a:schemeClr val="accent1"/>
          </a:solidFill>
          <a:ln>
            <a:noFill/>
          </a:ln>
        </p:spPr>
        <p:txBody>
          <a:bodyPr spcFirstLastPara="1" wrap="square" lIns="180000" tIns="540000" rIns="72000" bIns="180000" anchor="b" anchorCtr="0">
            <a:noAutofit/>
          </a:bodyPr>
          <a:lstStyle/>
          <a:p>
            <a:pPr marL="0" lvl="0" indent="0" algn="l">
              <a:lnSpc>
                <a:spcPct val="90000"/>
              </a:lnSpc>
              <a:spcBef>
                <a:spcPts val="0"/>
              </a:spcBef>
              <a:spcAft>
                <a:spcPts val="0"/>
              </a:spcAft>
              <a:buClr>
                <a:schemeClr val="lt1"/>
              </a:buClr>
              <a:buSzPts val="2000"/>
              <a:buFont typeface="Arial"/>
              <a:buNone/>
            </a:pPr>
            <a:r>
              <a:rPr lang="en-US" sz="2400" dirty="0"/>
              <a:t>Today’s objectives</a:t>
            </a:r>
          </a:p>
        </p:txBody>
      </p:sp>
      <p:sp>
        <p:nvSpPr>
          <p:cNvPr id="11286" name="Google Shape;11286;p43"/>
          <p:cNvSpPr txBox="1"/>
          <p:nvPr/>
        </p:nvSpPr>
        <p:spPr>
          <a:xfrm>
            <a:off x="302045" y="2525556"/>
            <a:ext cx="3598408" cy="3777770"/>
          </a:xfrm>
          <a:prstGeom prst="rect">
            <a:avLst/>
          </a:prstGeom>
          <a:noFill/>
          <a:ln>
            <a:noFill/>
          </a:ln>
        </p:spPr>
        <p:txBody>
          <a:bodyPr spcFirstLastPara="1" wrap="square" lIns="180000" tIns="45700" rIns="91425" bIns="45700" anchor="t" anchorCtr="0">
            <a:norm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lang="en-US" b="1" kern="0" dirty="0">
                <a:solidFill>
                  <a:srgbClr val="1A425C"/>
                </a:solidFill>
                <a:latin typeface="Arial"/>
                <a:cs typeface="Arial"/>
                <a:sym typeface="Arial"/>
              </a:rPr>
              <a:t>5 paradigms shifts</a:t>
            </a:r>
            <a:r>
              <a:rPr lang="en-US" kern="0" dirty="0">
                <a:solidFill>
                  <a:srgbClr val="1A425C"/>
                </a:solidFill>
                <a:latin typeface="Arial"/>
                <a:cs typeface="Arial"/>
                <a:sym typeface="Arial"/>
              </a:rPr>
              <a:t> emerging from the interviews</a:t>
            </a:r>
          </a:p>
          <a:p>
            <a:pPr marL="285750" marR="0" lvl="0" indent="-285750" algn="l"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kern="0" dirty="0">
                <a:solidFill>
                  <a:srgbClr val="1A425C"/>
                </a:solidFill>
                <a:latin typeface="Arial"/>
                <a:cs typeface="Arial"/>
                <a:sym typeface="Arial"/>
              </a:rPr>
              <a:t>Reskilling needs a different strategic and organizational context to succeed</a:t>
            </a:r>
          </a:p>
          <a:p>
            <a:pPr marL="285750" marR="0" lvl="0" indent="-285750" algn="l"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kern="0" dirty="0">
              <a:solidFill>
                <a:srgbClr val="1A425C"/>
              </a:solidFill>
              <a:latin typeface="Arial"/>
              <a:cs typeface="Arial"/>
              <a:sym typeface="Arial"/>
            </a:endParaRPr>
          </a:p>
          <a:p>
            <a:pPr marR="0" lvl="0" algn="l" defTabSz="914400" eaLnBrk="1" fontAlgn="auto" latinLnBrk="0" hangingPunct="1">
              <a:lnSpc>
                <a:spcPct val="100000"/>
              </a:lnSpc>
              <a:spcBef>
                <a:spcPts val="0"/>
              </a:spcBef>
              <a:spcAft>
                <a:spcPts val="0"/>
              </a:spcAft>
              <a:buClr>
                <a:srgbClr val="000000"/>
              </a:buClr>
              <a:buSzTx/>
              <a:tabLst/>
              <a:defRPr/>
            </a:pPr>
            <a:r>
              <a:rPr lang="en-US" kern="0" dirty="0">
                <a:solidFill>
                  <a:srgbClr val="1A425C"/>
                </a:solidFill>
                <a:latin typeface="Arial"/>
                <a:cs typeface="Arial"/>
                <a:sym typeface="Arial"/>
              </a:rPr>
              <a:t>Early findings from the </a:t>
            </a:r>
            <a:r>
              <a:rPr lang="en-US" b="1" kern="0" dirty="0">
                <a:solidFill>
                  <a:srgbClr val="1A425C"/>
                </a:solidFill>
                <a:latin typeface="Arial"/>
                <a:cs typeface="Arial"/>
                <a:sym typeface="Arial"/>
              </a:rPr>
              <a:t>deep dives</a:t>
            </a:r>
          </a:p>
          <a:p>
            <a:pPr marL="285750" marR="0" lvl="0" indent="-285750" algn="l"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kern="0" dirty="0">
              <a:solidFill>
                <a:srgbClr val="1A425C"/>
              </a:solidFill>
              <a:latin typeface="Arial"/>
              <a:cs typeface="Arial"/>
              <a:sym typeface="Arial"/>
            </a:endParaRPr>
          </a:p>
        </p:txBody>
      </p:sp>
      <p:sp>
        <p:nvSpPr>
          <p:cNvPr id="11287" name="Google Shape;11287;p43"/>
          <p:cNvSpPr txBox="1"/>
          <p:nvPr/>
        </p:nvSpPr>
        <p:spPr>
          <a:xfrm>
            <a:off x="334963" y="1666696"/>
            <a:ext cx="3395264" cy="428804"/>
          </a:xfrm>
          <a:prstGeom prst="rect">
            <a:avLst/>
          </a:prstGeom>
          <a:noFill/>
          <a:ln>
            <a:noFill/>
          </a:ln>
        </p:spPr>
        <p:txBody>
          <a:bodyPr spcFirstLastPara="1" wrap="square" lIns="180000" tIns="45700" rIns="91425" bIns="45700" anchor="t" anchorCtr="0">
            <a:norm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lang="en-US" sz="2000" b="1" kern="0" noProof="0" dirty="0">
                <a:solidFill>
                  <a:srgbClr val="1A425C"/>
                </a:solidFill>
                <a:latin typeface="Arial"/>
                <a:cs typeface="Arial"/>
                <a:sym typeface="Arial"/>
              </a:rPr>
              <a:t>PRESENT</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1288" name="Google Shape;11288;p43"/>
          <p:cNvSpPr txBox="1"/>
          <p:nvPr/>
        </p:nvSpPr>
        <p:spPr>
          <a:xfrm>
            <a:off x="4182001" y="2576953"/>
            <a:ext cx="3598408" cy="3814221"/>
          </a:xfrm>
          <a:prstGeom prst="rect">
            <a:avLst/>
          </a:prstGeom>
          <a:noFill/>
          <a:ln>
            <a:noFill/>
          </a:ln>
        </p:spPr>
        <p:txBody>
          <a:bodyPr spcFirstLastPara="1" wrap="square" lIns="180000" tIns="45700" rIns="91425" bIns="45700" anchor="t" anchorCtr="0">
            <a:normAutofit/>
          </a:bodyPr>
          <a:lstStyle/>
          <a:p>
            <a:pPr marR="0" lvl="0" algn="l" defTabSz="914400" eaLnBrk="1" fontAlgn="auto" latinLnBrk="0" hangingPunct="1">
              <a:lnSpc>
                <a:spcPct val="100000"/>
              </a:lnSpc>
              <a:spcBef>
                <a:spcPts val="0"/>
              </a:spcBef>
              <a:spcAft>
                <a:spcPts val="0"/>
              </a:spcAft>
              <a:buClr>
                <a:srgbClr val="000000"/>
              </a:buClr>
              <a:buSzTx/>
              <a:tabLst/>
              <a:defRPr/>
            </a:pPr>
            <a:r>
              <a:rPr lang="en-US" b="1" kern="0" baseline="0" noProof="0" dirty="0">
                <a:solidFill>
                  <a:srgbClr val="A41034"/>
                </a:solidFill>
                <a:latin typeface="Arial"/>
                <a:cs typeface="Arial"/>
                <a:sym typeface="Arial"/>
              </a:rPr>
              <a:t>Feedback</a:t>
            </a:r>
          </a:p>
          <a:p>
            <a:pPr marL="285750" lvl="0" indent="-285750">
              <a:buClr>
                <a:srgbClr val="000000"/>
              </a:buClr>
              <a:buFontTx/>
              <a:buChar char="-"/>
              <a:defRPr/>
            </a:pPr>
            <a:r>
              <a:rPr lang="en-US" kern="0" dirty="0">
                <a:solidFill>
                  <a:srgbClr val="A41034"/>
                </a:solidFill>
                <a:cs typeface="Arial"/>
                <a:sym typeface="Arial"/>
              </a:rPr>
              <a:t>Do the findings resonate with you?</a:t>
            </a:r>
          </a:p>
          <a:p>
            <a:pPr marL="285750" lvl="0" indent="-285750">
              <a:buClr>
                <a:srgbClr val="000000"/>
              </a:buClr>
              <a:buFontTx/>
              <a:buChar char="-"/>
              <a:defRPr/>
            </a:pPr>
            <a:r>
              <a:rPr lang="en-US" kern="0" dirty="0">
                <a:solidFill>
                  <a:srgbClr val="A41034"/>
                </a:solidFill>
                <a:cs typeface="Arial"/>
                <a:sym typeface="Arial"/>
              </a:rPr>
              <a:t>Are there other hidden challenges/shifts we should focus on?</a:t>
            </a:r>
          </a:p>
          <a:p>
            <a:pPr marL="285750" lvl="0" indent="-285750">
              <a:buClr>
                <a:srgbClr val="000000"/>
              </a:buClr>
              <a:buFontTx/>
              <a:buChar char="-"/>
              <a:defRPr/>
            </a:pPr>
            <a:r>
              <a:rPr lang="en-US" kern="0" dirty="0">
                <a:solidFill>
                  <a:srgbClr val="A41034"/>
                </a:solidFill>
                <a:cs typeface="Arial"/>
                <a:sym typeface="Arial"/>
              </a:rPr>
              <a:t>Are there other successful reskilling strategies we should study?</a:t>
            </a:r>
          </a:p>
          <a:p>
            <a:pPr lvl="0">
              <a:buClr>
                <a:srgbClr val="000000"/>
              </a:buClr>
              <a:defRPr/>
            </a:pPr>
            <a:endParaRPr lang="en-US" b="1" kern="0" dirty="0">
              <a:solidFill>
                <a:srgbClr val="A41034"/>
              </a:solidFill>
              <a:cs typeface="Arial"/>
              <a:sym typeface="Arial"/>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A41034"/>
              </a:solidFill>
              <a:effectLst/>
              <a:uLnTx/>
              <a:uFillTx/>
              <a:latin typeface="Arial"/>
              <a:cs typeface="Arial"/>
              <a:sym typeface="Arial"/>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A41034"/>
              </a:solidFill>
              <a:effectLst/>
              <a:uLnTx/>
              <a:uFillTx/>
              <a:latin typeface="Arial"/>
              <a:cs typeface="Arial"/>
              <a:sym typeface="Arial"/>
            </a:endParaRPr>
          </a:p>
        </p:txBody>
      </p:sp>
      <p:sp>
        <p:nvSpPr>
          <p:cNvPr id="11289" name="Google Shape;11289;p43"/>
          <p:cNvSpPr txBox="1"/>
          <p:nvPr/>
        </p:nvSpPr>
        <p:spPr>
          <a:xfrm>
            <a:off x="4198937" y="1666696"/>
            <a:ext cx="3929523" cy="428799"/>
          </a:xfrm>
          <a:prstGeom prst="rect">
            <a:avLst/>
          </a:prstGeom>
          <a:noFill/>
          <a:ln>
            <a:noFill/>
          </a:ln>
        </p:spPr>
        <p:txBody>
          <a:bodyPr spcFirstLastPara="1" wrap="square" lIns="180000" tIns="45700" rIns="91425" bIns="45700" anchor="t" anchorCtr="0">
            <a:norm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lang="en-US" sz="2000" b="1" kern="0" noProof="0" dirty="0">
                <a:solidFill>
                  <a:srgbClr val="A41034"/>
                </a:solidFill>
                <a:latin typeface="Arial"/>
                <a:cs typeface="Arial"/>
                <a:sym typeface="Arial"/>
              </a:rPr>
              <a:t>LISTEN</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1290" name="Google Shape;11290;p43"/>
          <p:cNvSpPr txBox="1"/>
          <p:nvPr/>
        </p:nvSpPr>
        <p:spPr>
          <a:xfrm>
            <a:off x="8082840" y="2595661"/>
            <a:ext cx="3598408" cy="3112408"/>
          </a:xfrm>
          <a:prstGeom prst="rect">
            <a:avLst/>
          </a:prstGeom>
          <a:noFill/>
          <a:ln>
            <a:noFill/>
          </a:ln>
        </p:spPr>
        <p:txBody>
          <a:bodyPr spcFirstLastPara="1" wrap="square" lIns="180000" tIns="45700" rIns="91425" bIns="45700" anchor="t" anchorCtr="0">
            <a:norm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lang="en-US" b="1" kern="0" dirty="0">
                <a:solidFill>
                  <a:srgbClr val="FFFFFF"/>
                </a:solidFill>
                <a:latin typeface="Arial"/>
                <a:cs typeface="Arial"/>
                <a:sym typeface="Arial"/>
              </a:rPr>
              <a:t>Roundtable</a:t>
            </a:r>
          </a:p>
          <a:p>
            <a:pPr marL="285750" lvl="0" indent="-285750">
              <a:buClr>
                <a:srgbClr val="000000"/>
              </a:buClr>
              <a:buFontTx/>
              <a:buChar char="-"/>
              <a:defRPr/>
            </a:pPr>
            <a:endParaRPr lang="en-US" b="1" kern="0" dirty="0">
              <a:solidFill>
                <a:srgbClr val="FFFFFF"/>
              </a:solidFill>
              <a:latin typeface="Arial"/>
              <a:cs typeface="Arial"/>
              <a:sym typeface="Arial"/>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b="1" i="0" u="none" strike="noStrike" kern="0" cap="none" spc="0" normalizeH="0" baseline="0" noProof="0" dirty="0">
              <a:ln>
                <a:noFill/>
              </a:ln>
              <a:solidFill>
                <a:srgbClr val="FFFFFF"/>
              </a:solidFill>
              <a:effectLst/>
              <a:uLnTx/>
              <a:uFillTx/>
              <a:latin typeface="Arial"/>
              <a:cs typeface="Arial"/>
              <a:sym typeface="Arial"/>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lang="en-US" b="1" kern="0" dirty="0">
                <a:solidFill>
                  <a:srgbClr val="FFFFFF"/>
                </a:solidFill>
                <a:latin typeface="Arial"/>
                <a:cs typeface="Arial"/>
                <a:sym typeface="Arial"/>
              </a:rPr>
              <a:t>Explore a research partnership with the lab</a:t>
            </a:r>
          </a:p>
          <a:p>
            <a:pPr marL="285750" marR="0" lvl="0" indent="-285750" algn="l" defTabSz="914400" eaLnBrk="1" fontAlgn="auto" latinLnBrk="0" hangingPunct="1">
              <a:lnSpc>
                <a:spcPct val="100000"/>
              </a:lnSpc>
              <a:spcBef>
                <a:spcPts val="0"/>
              </a:spcBef>
              <a:spcAft>
                <a:spcPts val="0"/>
              </a:spcAft>
              <a:buClr>
                <a:srgbClr val="000000"/>
              </a:buClr>
              <a:buSzTx/>
              <a:buFontTx/>
              <a:buChar char="-"/>
              <a:tabLst/>
              <a:defRPr/>
            </a:pPr>
            <a:r>
              <a:rPr lang="en-US" kern="0" dirty="0">
                <a:solidFill>
                  <a:srgbClr val="FFFFFF"/>
                </a:solidFill>
                <a:latin typeface="Arial"/>
                <a:cs typeface="Arial"/>
                <a:sym typeface="Arial"/>
              </a:rPr>
              <a:t>Administrative data</a:t>
            </a:r>
          </a:p>
          <a:p>
            <a:pPr marL="285750" marR="0" lvl="0" indent="-285750" algn="l" defTabSz="914400" eaLnBrk="1" fontAlgn="auto" latinLnBrk="0" hangingPunct="1">
              <a:lnSpc>
                <a:spcPct val="100000"/>
              </a:lnSpc>
              <a:spcBef>
                <a:spcPts val="0"/>
              </a:spcBef>
              <a:spcAft>
                <a:spcPts val="0"/>
              </a:spcAft>
              <a:buClr>
                <a:srgbClr val="000000"/>
              </a:buClr>
              <a:buSzTx/>
              <a:buFontTx/>
              <a:buChar char="-"/>
              <a:tabLst/>
              <a:defRPr/>
            </a:pPr>
            <a:r>
              <a:rPr kumimoji="0" lang="en-US" i="0" u="none" strike="noStrike" kern="0" cap="none" spc="0" normalizeH="0" baseline="0" noProof="0" dirty="0">
                <a:ln>
                  <a:noFill/>
                </a:ln>
                <a:solidFill>
                  <a:srgbClr val="FFFFFF"/>
                </a:solidFill>
                <a:effectLst/>
                <a:uLnTx/>
                <a:uFillTx/>
                <a:latin typeface="Arial"/>
                <a:cs typeface="Arial"/>
                <a:sym typeface="Arial"/>
              </a:rPr>
              <a:t>Organizational</a:t>
            </a:r>
            <a:r>
              <a:rPr kumimoji="0" lang="en-US" i="0" u="none" strike="noStrike" kern="0" cap="none" spc="0" normalizeH="0" noProof="0" dirty="0">
                <a:ln>
                  <a:noFill/>
                </a:ln>
                <a:solidFill>
                  <a:srgbClr val="FFFFFF"/>
                </a:solidFill>
                <a:effectLst/>
                <a:uLnTx/>
                <a:uFillTx/>
                <a:latin typeface="Arial"/>
                <a:cs typeface="Arial"/>
                <a:sym typeface="Arial"/>
              </a:rPr>
              <a:t> experiments</a:t>
            </a:r>
            <a:endParaRPr kumimoji="0" lang="en-US" i="0" u="none" strike="noStrike" kern="0" cap="none" spc="0" normalizeH="0" baseline="0" noProof="0" dirty="0">
              <a:ln>
                <a:noFill/>
              </a:ln>
              <a:solidFill>
                <a:srgbClr val="FFFFFF"/>
              </a:solidFill>
              <a:effectLst/>
              <a:uLnTx/>
              <a:uFillTx/>
              <a:latin typeface="Arial"/>
              <a:cs typeface="Arial"/>
              <a:sym typeface="Arial"/>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b="0" i="0" u="none" strike="noStrike" kern="0" cap="none" spc="0" normalizeH="0" baseline="0" noProof="0" dirty="0">
              <a:ln>
                <a:noFill/>
              </a:ln>
              <a:solidFill>
                <a:srgbClr val="FFFFFF"/>
              </a:solidFill>
              <a:effectLst/>
              <a:uLnTx/>
              <a:uFillTx/>
              <a:latin typeface="Arial"/>
              <a:ea typeface="Arial"/>
              <a:cs typeface="Arial"/>
              <a:sym typeface="Arial"/>
            </a:endParaRPr>
          </a:p>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1291" name="Google Shape;11291;p43"/>
          <p:cNvSpPr txBox="1"/>
          <p:nvPr/>
        </p:nvSpPr>
        <p:spPr>
          <a:xfrm>
            <a:off x="8062911" y="1666696"/>
            <a:ext cx="3395263" cy="428804"/>
          </a:xfrm>
          <a:prstGeom prst="rect">
            <a:avLst/>
          </a:prstGeom>
          <a:noFill/>
          <a:ln>
            <a:noFill/>
          </a:ln>
        </p:spPr>
        <p:txBody>
          <a:bodyPr spcFirstLastPara="1" wrap="square" lIns="180000" tIns="45700" rIns="91425" bIns="45700" anchor="t" anchorCtr="0">
            <a:norm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r>
              <a:rPr lang="en-US" sz="2000" b="1" kern="0" dirty="0">
                <a:solidFill>
                  <a:srgbClr val="FFFFFF"/>
                </a:solidFill>
                <a:latin typeface="Arial"/>
                <a:cs typeface="Arial"/>
                <a:sym typeface="Arial"/>
              </a:rPr>
              <a:t>RECRUIT</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grpSp>
        <p:nvGrpSpPr>
          <p:cNvPr id="11292" name="Google Shape;11292;p43"/>
          <p:cNvGrpSpPr/>
          <p:nvPr/>
        </p:nvGrpSpPr>
        <p:grpSpPr>
          <a:xfrm>
            <a:off x="-253475" y="7479246"/>
            <a:ext cx="12192000" cy="584200"/>
            <a:chOff x="0" y="6273800"/>
            <a:chExt cx="12192000" cy="584200"/>
          </a:xfrm>
        </p:grpSpPr>
        <p:sp>
          <p:nvSpPr>
            <p:cNvPr id="11293" name="Google Shape;11293;p43"/>
            <p:cNvSpPr/>
            <p:nvPr/>
          </p:nvSpPr>
          <p:spPr>
            <a:xfrm>
              <a:off x="0" y="6273800"/>
              <a:ext cx="12192000" cy="5842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11294" name="Google Shape;11294;p43"/>
            <p:cNvPicPr preferRelativeResize="0"/>
            <p:nvPr/>
          </p:nvPicPr>
          <p:blipFill rotWithShape="1">
            <a:blip r:embed="rId6">
              <a:alphaModFix/>
            </a:blip>
            <a:srcRect/>
            <a:stretch/>
          </p:blipFill>
          <p:spPr>
            <a:xfrm>
              <a:off x="9513888" y="6392994"/>
              <a:ext cx="2305050" cy="334291"/>
            </a:xfrm>
            <a:prstGeom prst="rect">
              <a:avLst/>
            </a:prstGeom>
            <a:noFill/>
            <a:ln>
              <a:noFill/>
            </a:ln>
          </p:spPr>
        </p:pic>
      </p:grpSp>
    </p:spTree>
    <p:extLst>
      <p:ext uri="{BB962C8B-B14F-4D97-AF65-F5344CB8AC3E}">
        <p14:creationId xmlns:p14="http://schemas.microsoft.com/office/powerpoint/2010/main" val="307525367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1284"/>
                                        </p:tgtEl>
                                        <p:attrNameLst>
                                          <p:attrName>style.visibility</p:attrName>
                                        </p:attrNameLst>
                                      </p:cBhvr>
                                      <p:to>
                                        <p:strVal val="visible"/>
                                      </p:to>
                                    </p:set>
                                    <p:animEffect transition="in" filter="fade">
                                      <p:cBhvr>
                                        <p:cTn id="7" dur="500"/>
                                        <p:tgtEl>
                                          <p:spTgt spid="11284"/>
                                        </p:tgtEl>
                                      </p:cBhvr>
                                    </p:animEffect>
                                  </p:childTnLst>
                                </p:cTn>
                              </p:par>
                              <p:par>
                                <p:cTn id="8" presetID="10" presetClass="entr" presetSubtype="0" fill="hold" nodeType="withEffect">
                                  <p:stCondLst>
                                    <p:cond delay="250"/>
                                  </p:stCondLst>
                                  <p:childTnLst>
                                    <p:set>
                                      <p:cBhvr>
                                        <p:cTn id="9" dur="1" fill="hold">
                                          <p:stCondLst>
                                            <p:cond delay="0"/>
                                          </p:stCondLst>
                                        </p:cTn>
                                        <p:tgtEl>
                                          <p:spTgt spid="11287"/>
                                        </p:tgtEl>
                                        <p:attrNameLst>
                                          <p:attrName>style.visibility</p:attrName>
                                        </p:attrNameLst>
                                      </p:cBhvr>
                                      <p:to>
                                        <p:strVal val="visible"/>
                                      </p:to>
                                    </p:set>
                                    <p:animEffect transition="in" filter="fade">
                                      <p:cBhvr>
                                        <p:cTn id="10" dur="250"/>
                                        <p:tgtEl>
                                          <p:spTgt spid="11287"/>
                                        </p:tgtEl>
                                      </p:cBhvr>
                                    </p:animEffect>
                                  </p:childTnLst>
                                </p:cTn>
                              </p:par>
                            </p:childTnLst>
                          </p:cTn>
                        </p:par>
                        <p:par>
                          <p:cTn id="11" fill="hold">
                            <p:stCondLst>
                              <p:cond delay="750"/>
                            </p:stCondLst>
                            <p:childTnLst>
                              <p:par>
                                <p:cTn id="12" presetID="10" presetClass="entr" presetSubtype="0" fill="hold" nodeType="afterEffect">
                                  <p:stCondLst>
                                    <p:cond delay="250"/>
                                  </p:stCondLst>
                                  <p:childTnLst>
                                    <p:set>
                                      <p:cBhvr>
                                        <p:cTn id="13" dur="1" fill="hold">
                                          <p:stCondLst>
                                            <p:cond delay="0"/>
                                          </p:stCondLst>
                                        </p:cTn>
                                        <p:tgtEl>
                                          <p:spTgt spid="11286"/>
                                        </p:tgtEl>
                                        <p:attrNameLst>
                                          <p:attrName>style.visibility</p:attrName>
                                        </p:attrNameLst>
                                      </p:cBhvr>
                                      <p:to>
                                        <p:strVal val="visible"/>
                                      </p:to>
                                    </p:set>
                                    <p:animEffect transition="in" filter="fade">
                                      <p:cBhvr>
                                        <p:cTn id="14" dur="250"/>
                                        <p:tgtEl>
                                          <p:spTgt spid="11286"/>
                                        </p:tgtEl>
                                      </p:cBhvr>
                                    </p:animEffect>
                                  </p:childTnLst>
                                </p:cTn>
                              </p:par>
                              <p:par>
                                <p:cTn id="15" presetID="10" presetClass="entr" presetSubtype="0" fill="hold" nodeType="withEffect">
                                  <p:stCondLst>
                                    <p:cond delay="750"/>
                                  </p:stCondLst>
                                  <p:childTnLst>
                                    <p:set>
                                      <p:cBhvr>
                                        <p:cTn id="16" dur="1" fill="hold">
                                          <p:stCondLst>
                                            <p:cond delay="0"/>
                                          </p:stCondLst>
                                        </p:cTn>
                                        <p:tgtEl>
                                          <p:spTgt spid="11162"/>
                                        </p:tgtEl>
                                        <p:attrNameLst>
                                          <p:attrName>style.visibility</p:attrName>
                                        </p:attrNameLst>
                                      </p:cBhvr>
                                      <p:to>
                                        <p:strVal val="visible"/>
                                      </p:to>
                                    </p:set>
                                    <p:animEffect transition="in" filter="fade">
                                      <p:cBhvr>
                                        <p:cTn id="17" dur="500"/>
                                        <p:tgtEl>
                                          <p:spTgt spid="1116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289"/>
                                        </p:tgtEl>
                                        <p:attrNameLst>
                                          <p:attrName>style.visibility</p:attrName>
                                        </p:attrNameLst>
                                      </p:cBhvr>
                                      <p:to>
                                        <p:strVal val="visible"/>
                                      </p:to>
                                    </p:set>
                                    <p:animEffect transition="in" filter="fade">
                                      <p:cBhvr>
                                        <p:cTn id="22" dur="250"/>
                                        <p:tgtEl>
                                          <p:spTgt spid="11289"/>
                                        </p:tgtEl>
                                      </p:cBhvr>
                                    </p:animEffect>
                                  </p:childTnLst>
                                </p:cTn>
                              </p:par>
                            </p:childTnLst>
                          </p:cTn>
                        </p:par>
                        <p:par>
                          <p:cTn id="23" fill="hold">
                            <p:stCondLst>
                              <p:cond delay="250"/>
                            </p:stCondLst>
                            <p:childTnLst>
                              <p:par>
                                <p:cTn id="24" presetID="10" presetClass="entr" presetSubtype="0" fill="hold" nodeType="afterEffect">
                                  <p:stCondLst>
                                    <p:cond delay="250"/>
                                  </p:stCondLst>
                                  <p:childTnLst>
                                    <p:set>
                                      <p:cBhvr>
                                        <p:cTn id="25" dur="1" fill="hold">
                                          <p:stCondLst>
                                            <p:cond delay="0"/>
                                          </p:stCondLst>
                                        </p:cTn>
                                        <p:tgtEl>
                                          <p:spTgt spid="11288"/>
                                        </p:tgtEl>
                                        <p:attrNameLst>
                                          <p:attrName>style.visibility</p:attrName>
                                        </p:attrNameLst>
                                      </p:cBhvr>
                                      <p:to>
                                        <p:strVal val="visible"/>
                                      </p:to>
                                    </p:set>
                                    <p:animEffect transition="in" filter="fade">
                                      <p:cBhvr>
                                        <p:cTn id="26" dur="250"/>
                                        <p:tgtEl>
                                          <p:spTgt spid="11288"/>
                                        </p:tgtEl>
                                      </p:cBhvr>
                                    </p:animEffect>
                                  </p:childTnLst>
                                </p:cTn>
                              </p:par>
                              <p:par>
                                <p:cTn id="27" presetID="10" presetClass="entr" presetSubtype="0" fill="hold" nodeType="withEffect">
                                  <p:stCondLst>
                                    <p:cond delay="1250"/>
                                  </p:stCondLst>
                                  <p:childTnLst>
                                    <p:set>
                                      <p:cBhvr>
                                        <p:cTn id="28" dur="1" fill="hold">
                                          <p:stCondLst>
                                            <p:cond delay="0"/>
                                          </p:stCondLst>
                                        </p:cTn>
                                        <p:tgtEl>
                                          <p:spTgt spid="11102"/>
                                        </p:tgtEl>
                                        <p:attrNameLst>
                                          <p:attrName>style.visibility</p:attrName>
                                        </p:attrNameLst>
                                      </p:cBhvr>
                                      <p:to>
                                        <p:strVal val="visible"/>
                                      </p:to>
                                    </p:set>
                                    <p:animEffect transition="in" filter="fade">
                                      <p:cBhvr>
                                        <p:cTn id="29" dur="500"/>
                                        <p:tgtEl>
                                          <p:spTgt spid="1110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1291"/>
                                        </p:tgtEl>
                                        <p:attrNameLst>
                                          <p:attrName>style.visibility</p:attrName>
                                        </p:attrNameLst>
                                      </p:cBhvr>
                                      <p:to>
                                        <p:strVal val="visible"/>
                                      </p:to>
                                    </p:set>
                                    <p:animEffect transition="in" filter="fade">
                                      <p:cBhvr>
                                        <p:cTn id="34" dur="250"/>
                                        <p:tgtEl>
                                          <p:spTgt spid="11291"/>
                                        </p:tgtEl>
                                      </p:cBhvr>
                                    </p:animEffect>
                                  </p:childTnLst>
                                </p:cTn>
                              </p:par>
                            </p:childTnLst>
                          </p:cTn>
                        </p:par>
                        <p:par>
                          <p:cTn id="35" fill="hold">
                            <p:stCondLst>
                              <p:cond delay="250"/>
                            </p:stCondLst>
                            <p:childTnLst>
                              <p:par>
                                <p:cTn id="36" presetID="10" presetClass="entr" presetSubtype="0" fill="hold" nodeType="afterEffect">
                                  <p:stCondLst>
                                    <p:cond delay="250"/>
                                  </p:stCondLst>
                                  <p:childTnLst>
                                    <p:set>
                                      <p:cBhvr>
                                        <p:cTn id="37" dur="1" fill="hold">
                                          <p:stCondLst>
                                            <p:cond delay="0"/>
                                          </p:stCondLst>
                                        </p:cTn>
                                        <p:tgtEl>
                                          <p:spTgt spid="11290"/>
                                        </p:tgtEl>
                                        <p:attrNameLst>
                                          <p:attrName>style.visibility</p:attrName>
                                        </p:attrNameLst>
                                      </p:cBhvr>
                                      <p:to>
                                        <p:strVal val="visible"/>
                                      </p:to>
                                    </p:set>
                                    <p:animEffect transition="in" filter="fade">
                                      <p:cBhvr>
                                        <p:cTn id="38" dur="250"/>
                                        <p:tgtEl>
                                          <p:spTgt spid="112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5"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0" name="Object 59" hidden="1"/>
          <p:cNvGraphicFramePr>
            <a:graphicFrameLocks noChangeAspect="1"/>
          </p:cNvGraphicFramePr>
          <p:nvPr>
            <p:custDataLst>
              <p:tags r:id="rId1"/>
            </p:custDataLst>
            <p:extLst>
              <p:ext uri="{D42A27DB-BD31-4B8C-83A1-F6EECF244321}">
                <p14:modId xmlns:p14="http://schemas.microsoft.com/office/powerpoint/2010/main" val="28446680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60" name="Object 5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a:extLst>
              <a:ext uri="{FF2B5EF4-FFF2-40B4-BE49-F238E27FC236}">
                <a16:creationId xmlns:a16="http://schemas.microsoft.com/office/drawing/2014/main" id="{CA128DB2-B569-7B15-EF54-F539B1F0AC5F}"/>
              </a:ext>
            </a:extLst>
          </p:cNvPr>
          <p:cNvSpPr/>
          <p:nvPr/>
        </p:nvSpPr>
        <p:spPr>
          <a:xfrm>
            <a:off x="2" y="0"/>
            <a:ext cx="12191998" cy="6858000"/>
          </a:xfrm>
          <a:prstGeom prst="rect">
            <a:avLst/>
          </a:prstGeom>
          <a:solidFill>
            <a:srgbClr val="000000">
              <a:alpha val="72941"/>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sym typeface="Arial"/>
            </a:endParaRPr>
          </a:p>
        </p:txBody>
      </p:sp>
      <p:sp>
        <p:nvSpPr>
          <p:cNvPr id="31" name="Rectangle 30">
            <a:extLst>
              <a:ext uri="{FF2B5EF4-FFF2-40B4-BE49-F238E27FC236}">
                <a16:creationId xmlns:a16="http://schemas.microsoft.com/office/drawing/2014/main" id="{9FBCF31E-7A50-98C8-1682-37DCF083F2F6}"/>
              </a:ext>
            </a:extLst>
          </p:cNvPr>
          <p:cNvSpPr/>
          <p:nvPr/>
        </p:nvSpPr>
        <p:spPr>
          <a:xfrm>
            <a:off x="-24199" y="4253023"/>
            <a:ext cx="12216199" cy="1546610"/>
          </a:xfrm>
          <a:prstGeom prst="rect">
            <a:avLst/>
          </a:prstGeom>
          <a:solidFill>
            <a:schemeClr val="tx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Oval 54"/>
          <p:cNvSpPr/>
          <p:nvPr/>
        </p:nvSpPr>
        <p:spPr>
          <a:xfrm>
            <a:off x="3746294" y="2157000"/>
            <a:ext cx="1951255" cy="1767300"/>
          </a:xfrm>
          <a:prstGeom prst="ellipse">
            <a:avLst/>
          </a:prstGeom>
          <a:solidFill>
            <a:srgbClr val="FFFFFF"/>
          </a:solidFill>
          <a:ln w="76200">
            <a:gradFill flip="none" rotWithShape="1">
              <a:gsLst>
                <a:gs pos="0">
                  <a:srgbClr val="670F31"/>
                </a:gs>
                <a:gs pos="100000">
                  <a:srgbClr val="E71C5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sym typeface="Arial"/>
            </a:endParaRPr>
          </a:p>
        </p:txBody>
      </p:sp>
      <p:sp>
        <p:nvSpPr>
          <p:cNvPr id="56" name="TextBox 55"/>
          <p:cNvSpPr txBox="1"/>
          <p:nvPr/>
        </p:nvSpPr>
        <p:spPr>
          <a:xfrm>
            <a:off x="3225578" y="4487471"/>
            <a:ext cx="2941145" cy="73866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A41034"/>
                </a:solidFill>
                <a:effectLst/>
                <a:uLnTx/>
                <a:uFillTx/>
                <a:latin typeface="Arial"/>
                <a:cs typeface="Arial"/>
                <a:sym typeface="Arial"/>
              </a:rPr>
              <a:t>11</a:t>
            </a:r>
            <a:r>
              <a:rPr kumimoji="0" lang="en-US" sz="2400" b="0" i="0" u="none" strike="noStrike" kern="0" cap="none" spc="0" normalizeH="0" baseline="0" noProof="0" dirty="0">
                <a:ln>
                  <a:noFill/>
                </a:ln>
                <a:solidFill>
                  <a:srgbClr val="A41034"/>
                </a:solidFill>
                <a:effectLst/>
                <a:uLnTx/>
                <a:uFillTx/>
                <a:latin typeface="Arial"/>
                <a:cs typeface="Arial"/>
                <a:sym typeface="Arial"/>
              </a:rPr>
              <a:t> </a:t>
            </a:r>
            <a:r>
              <a:rPr kumimoji="0" lang="en-US" sz="2400" b="0" i="0" u="none" strike="noStrike" kern="0" cap="none" spc="0" normalizeH="0" baseline="0" noProof="0" dirty="0">
                <a:ln>
                  <a:noFill/>
                </a:ln>
                <a:solidFill>
                  <a:srgbClr val="FFFFFF"/>
                </a:solidFill>
                <a:effectLst/>
                <a:uLnTx/>
                <a:uFillTx/>
                <a:latin typeface="Arial"/>
                <a:cs typeface="Arial"/>
                <a:sym typeface="Arial"/>
              </a:rPr>
              <a:t>industry represented </a:t>
            </a:r>
          </a:p>
        </p:txBody>
      </p:sp>
      <p:sp>
        <p:nvSpPr>
          <p:cNvPr id="57" name="Oval 56"/>
          <p:cNvSpPr/>
          <p:nvPr/>
        </p:nvSpPr>
        <p:spPr>
          <a:xfrm>
            <a:off x="6575500" y="2156999"/>
            <a:ext cx="1951255" cy="1767300"/>
          </a:xfrm>
          <a:prstGeom prst="ellipse">
            <a:avLst/>
          </a:prstGeom>
          <a:solidFill>
            <a:srgbClr val="FFFFFF"/>
          </a:solidFill>
          <a:ln w="76200">
            <a:gradFill flip="none" rotWithShape="1">
              <a:gsLst>
                <a:gs pos="0">
                  <a:srgbClr val="670F31"/>
                </a:gs>
                <a:gs pos="100000">
                  <a:srgbClr val="E71C5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sym typeface="Arial"/>
            </a:endParaRPr>
          </a:p>
        </p:txBody>
      </p:sp>
      <p:sp>
        <p:nvSpPr>
          <p:cNvPr id="58" name="TextBox 57"/>
          <p:cNvSpPr txBox="1"/>
          <p:nvPr/>
        </p:nvSpPr>
        <p:spPr>
          <a:xfrm>
            <a:off x="5986289" y="4487471"/>
            <a:ext cx="3129676" cy="1477328"/>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dirty="0">
                <a:ln>
                  <a:noFill/>
                </a:ln>
                <a:solidFill>
                  <a:srgbClr val="FFFFFF"/>
                </a:solidFill>
                <a:effectLst/>
                <a:uLnTx/>
                <a:uFillTx/>
                <a:latin typeface="Arial"/>
                <a:cs typeface="Arial"/>
                <a:sym typeface="Arial"/>
              </a:rPr>
              <a:t>Company size ranging</a:t>
            </a: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2400" b="0" i="0" u="none" strike="noStrike" kern="0" cap="none" spc="0" normalizeH="0" baseline="0" noProof="0" dirty="0">
                <a:ln>
                  <a:noFill/>
                </a:ln>
                <a:solidFill>
                  <a:srgbClr val="FFFFFF"/>
                </a:solidFill>
                <a:effectLst/>
                <a:uLnTx/>
                <a:uFillTx/>
                <a:latin typeface="Arial"/>
                <a:cs typeface="Arial"/>
                <a:sym typeface="Arial"/>
              </a:rPr>
              <a:t>from </a:t>
            </a:r>
            <a:r>
              <a:rPr lang="en-US" sz="2400" b="1" kern="0" dirty="0">
                <a:solidFill>
                  <a:srgbClr val="A41034"/>
                </a:solidFill>
                <a:latin typeface="Arial"/>
                <a:cs typeface="Arial"/>
                <a:sym typeface="Arial"/>
              </a:rPr>
              <a:t>1</a:t>
            </a:r>
            <a:r>
              <a:rPr kumimoji="0" lang="en-US" sz="2400" b="1" i="0" u="none" strike="noStrike" kern="0" cap="none" spc="0" normalizeH="0" baseline="0" noProof="0" dirty="0">
                <a:ln>
                  <a:noFill/>
                </a:ln>
                <a:solidFill>
                  <a:srgbClr val="A41034"/>
                </a:solidFill>
                <a:effectLst/>
                <a:uLnTx/>
                <a:uFillTx/>
                <a:latin typeface="Arial"/>
                <a:cs typeface="Arial"/>
                <a:sym typeface="Arial"/>
              </a:rPr>
              <a:t>,844 to 2,300,000</a:t>
            </a:r>
            <a:r>
              <a:rPr kumimoji="0" lang="en-US" sz="2400" b="1" i="0" u="none" strike="noStrike" kern="0" cap="none" spc="0" normalizeH="0" baseline="0" noProof="0" dirty="0">
                <a:ln>
                  <a:noFill/>
                </a:ln>
                <a:solidFill>
                  <a:srgbClr val="29BA74"/>
                </a:solidFill>
                <a:effectLst/>
                <a:uLnTx/>
                <a:uFillTx/>
                <a:latin typeface="Arial"/>
                <a:cs typeface="Arial"/>
                <a:sym typeface="Arial"/>
              </a:rPr>
              <a:t> </a:t>
            </a:r>
            <a:r>
              <a:rPr kumimoji="0" lang="en-US" sz="2400" b="0" i="0" u="none" strike="noStrike" kern="0" cap="none" spc="0" normalizeH="0" baseline="0" noProof="0" dirty="0">
                <a:ln>
                  <a:noFill/>
                </a:ln>
                <a:solidFill>
                  <a:srgbClr val="FFFFFF"/>
                </a:solidFill>
                <a:effectLst/>
                <a:uLnTx/>
                <a:uFillTx/>
                <a:latin typeface="Arial"/>
                <a:cs typeface="Arial"/>
                <a:sym typeface="Arial"/>
              </a:rPr>
              <a:t>people</a:t>
            </a:r>
          </a:p>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2400" b="0" i="0" u="none" strike="noStrike" kern="0" cap="none" spc="0" normalizeH="0" baseline="0" noProof="0" dirty="0">
              <a:ln>
                <a:noFill/>
              </a:ln>
              <a:solidFill>
                <a:srgbClr val="FFFFFF"/>
              </a:solidFill>
              <a:effectLst/>
              <a:uLnTx/>
              <a:uFillTx/>
              <a:latin typeface="Arial"/>
              <a:cs typeface="Arial"/>
              <a:sym typeface="Arial"/>
            </a:endParaRPr>
          </a:p>
        </p:txBody>
      </p:sp>
      <p:sp>
        <p:nvSpPr>
          <p:cNvPr id="59" name="Oval 58"/>
          <p:cNvSpPr/>
          <p:nvPr/>
        </p:nvSpPr>
        <p:spPr>
          <a:xfrm>
            <a:off x="917088" y="2156999"/>
            <a:ext cx="1951255" cy="1767300"/>
          </a:xfrm>
          <a:prstGeom prst="ellipse">
            <a:avLst/>
          </a:prstGeom>
          <a:solidFill>
            <a:srgbClr val="FFFFFF"/>
          </a:solidFill>
          <a:ln w="76200">
            <a:gradFill flip="none" rotWithShape="1">
              <a:gsLst>
                <a:gs pos="0">
                  <a:srgbClr val="670F31"/>
                </a:gs>
                <a:gs pos="100000">
                  <a:srgbClr val="E71C5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sym typeface="Arial"/>
            </a:endParaRPr>
          </a:p>
        </p:txBody>
      </p:sp>
      <p:sp>
        <p:nvSpPr>
          <p:cNvPr id="61" name="TextBox 60"/>
          <p:cNvSpPr txBox="1"/>
          <p:nvPr/>
        </p:nvSpPr>
        <p:spPr>
          <a:xfrm>
            <a:off x="553198" y="4487471"/>
            <a:ext cx="2581215" cy="738664"/>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A41034"/>
                </a:solidFill>
                <a:effectLst/>
                <a:uLnTx/>
                <a:uFillTx/>
                <a:latin typeface="Arial"/>
                <a:cs typeface="Arial"/>
                <a:sym typeface="Arial"/>
              </a:rPr>
              <a:t>35 </a:t>
            </a:r>
            <a:r>
              <a:rPr kumimoji="0" lang="en-US" sz="2400" b="0" i="0" u="none" strike="noStrike" kern="0" cap="none" spc="0" normalizeH="0" baseline="0" noProof="0" dirty="0">
                <a:ln>
                  <a:noFill/>
                </a:ln>
                <a:solidFill>
                  <a:srgbClr val="FFFFFF"/>
                </a:solidFill>
                <a:effectLst/>
                <a:uLnTx/>
                <a:uFillTx/>
                <a:latin typeface="Arial"/>
                <a:cs typeface="Arial"/>
                <a:sym typeface="Arial"/>
              </a:rPr>
              <a:t>companies interviewed</a:t>
            </a:r>
          </a:p>
        </p:txBody>
      </p:sp>
      <p:sp>
        <p:nvSpPr>
          <p:cNvPr id="9" name="Oval 8">
            <a:extLst>
              <a:ext uri="{FF2B5EF4-FFF2-40B4-BE49-F238E27FC236}">
                <a16:creationId xmlns:a16="http://schemas.microsoft.com/office/drawing/2014/main" id="{2B74CA09-C8BB-B8DF-EEA5-EDED7BC562B1}"/>
              </a:ext>
            </a:extLst>
          </p:cNvPr>
          <p:cNvSpPr/>
          <p:nvPr/>
        </p:nvSpPr>
        <p:spPr>
          <a:xfrm>
            <a:off x="9404707" y="2156999"/>
            <a:ext cx="1951255" cy="1767300"/>
          </a:xfrm>
          <a:prstGeom prst="ellipse">
            <a:avLst/>
          </a:prstGeom>
          <a:solidFill>
            <a:srgbClr val="FFFFFF"/>
          </a:solidFill>
          <a:ln w="76200">
            <a:gradFill flip="none" rotWithShape="1">
              <a:gsLst>
                <a:gs pos="0">
                  <a:srgbClr val="670F31"/>
                </a:gs>
                <a:gs pos="100000">
                  <a:srgbClr val="E71C5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sym typeface="Arial"/>
            </a:endParaRPr>
          </a:p>
        </p:txBody>
      </p:sp>
      <p:sp>
        <p:nvSpPr>
          <p:cNvPr id="10" name="TextBox 9">
            <a:extLst>
              <a:ext uri="{FF2B5EF4-FFF2-40B4-BE49-F238E27FC236}">
                <a16:creationId xmlns:a16="http://schemas.microsoft.com/office/drawing/2014/main" id="{C4AB2E35-99E1-D1EB-B63A-D03297AA2A3A}"/>
              </a:ext>
            </a:extLst>
          </p:cNvPr>
          <p:cNvSpPr txBox="1"/>
          <p:nvPr/>
        </p:nvSpPr>
        <p:spPr>
          <a:xfrm>
            <a:off x="9125307" y="4493906"/>
            <a:ext cx="2580437" cy="1107996"/>
          </a:xfrm>
          <a:prstGeom prst="rect">
            <a:avLst/>
          </a:prstGeom>
          <a:noFill/>
        </p:spPr>
        <p:txBody>
          <a:bodyPr wrap="square" lIns="0" tIns="0" rIns="0" bIns="0" rtlCol="0" anchor="t">
            <a:sp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A41034"/>
                </a:solidFill>
                <a:effectLst/>
                <a:uLnTx/>
                <a:uFillTx/>
                <a:latin typeface="Arial"/>
                <a:cs typeface="Arial"/>
                <a:sym typeface="Arial"/>
              </a:rPr>
              <a:t>13</a:t>
            </a:r>
            <a:r>
              <a:rPr kumimoji="0" lang="en-US" sz="2400" b="0" i="0" u="none" strike="noStrike" kern="0" cap="none" spc="0" normalizeH="0" baseline="0" noProof="0" dirty="0">
                <a:ln>
                  <a:noFill/>
                </a:ln>
                <a:solidFill>
                  <a:srgbClr val="29BA74"/>
                </a:solidFill>
                <a:effectLst/>
                <a:uLnTx/>
                <a:uFillTx/>
                <a:latin typeface="Arial"/>
                <a:cs typeface="Arial"/>
                <a:sym typeface="Arial"/>
              </a:rPr>
              <a:t> </a:t>
            </a:r>
            <a:r>
              <a:rPr kumimoji="0" lang="en-US" sz="2400" b="0" i="0" u="none" strike="noStrike" kern="0" cap="none" spc="0" normalizeH="0" baseline="0" noProof="0" dirty="0">
                <a:ln>
                  <a:noFill/>
                </a:ln>
                <a:solidFill>
                  <a:srgbClr val="FFFFFF"/>
                </a:solidFill>
                <a:effectLst/>
                <a:uLnTx/>
                <a:uFillTx/>
                <a:latin typeface="Arial"/>
                <a:cs typeface="Arial"/>
                <a:sym typeface="Arial"/>
              </a:rPr>
              <a:t>countries across </a:t>
            </a:r>
            <a:r>
              <a:rPr kumimoji="0" lang="en-US" sz="2400" b="1" i="0" u="none" strike="noStrike" kern="0" cap="none" spc="0" normalizeH="0" baseline="0" noProof="0" dirty="0">
                <a:ln>
                  <a:noFill/>
                </a:ln>
                <a:solidFill>
                  <a:srgbClr val="A41034"/>
                </a:solidFill>
                <a:effectLst/>
                <a:uLnTx/>
                <a:uFillTx/>
                <a:latin typeface="Arial"/>
                <a:cs typeface="Arial"/>
                <a:sym typeface="Arial"/>
              </a:rPr>
              <a:t>4</a:t>
            </a:r>
            <a:r>
              <a:rPr kumimoji="0" lang="en-US" sz="2400" b="0" i="0" u="none" strike="noStrike" kern="0" cap="none" spc="0" normalizeH="0" baseline="0" noProof="0" dirty="0">
                <a:ln>
                  <a:noFill/>
                </a:ln>
                <a:solidFill>
                  <a:srgbClr val="FFFFFF"/>
                </a:solidFill>
                <a:effectLst/>
                <a:uLnTx/>
                <a:uFillTx/>
                <a:latin typeface="Arial"/>
                <a:cs typeface="Arial"/>
                <a:sym typeface="Arial"/>
              </a:rPr>
              <a:t> continents</a:t>
            </a:r>
          </a:p>
        </p:txBody>
      </p:sp>
      <p:grpSp>
        <p:nvGrpSpPr>
          <p:cNvPr id="12" name="bcgIcons_City ">
            <a:extLst>
              <a:ext uri="{FF2B5EF4-FFF2-40B4-BE49-F238E27FC236}">
                <a16:creationId xmlns:a16="http://schemas.microsoft.com/office/drawing/2014/main" id="{D540BBD6-0720-A125-6BDB-C350AE64ACC4}"/>
              </a:ext>
            </a:extLst>
          </p:cNvPr>
          <p:cNvGrpSpPr>
            <a:grpSpLocks noChangeAspect="1"/>
          </p:cNvGrpSpPr>
          <p:nvPr/>
        </p:nvGrpSpPr>
        <p:grpSpPr>
          <a:xfrm>
            <a:off x="1191788" y="2300858"/>
            <a:ext cx="1399011" cy="1399011"/>
            <a:chOff x="5273675" y="2606675"/>
            <a:chExt cx="1644650" cy="1644650"/>
          </a:xfrm>
        </p:grpSpPr>
        <p:sp>
          <p:nvSpPr>
            <p:cNvPr id="13" name="AutoShape 3">
              <a:extLst>
                <a:ext uri="{FF2B5EF4-FFF2-40B4-BE49-F238E27FC236}">
                  <a16:creationId xmlns:a16="http://schemas.microsoft.com/office/drawing/2014/main" id="{1CED50BD-0BE5-6D51-50CF-EB1BB43538D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14" name="Group 13">
              <a:extLst>
                <a:ext uri="{FF2B5EF4-FFF2-40B4-BE49-F238E27FC236}">
                  <a16:creationId xmlns:a16="http://schemas.microsoft.com/office/drawing/2014/main" id="{61EA13F1-57F9-D3B3-7A07-310E7FCB7DA9}"/>
                </a:ext>
              </a:extLst>
            </p:cNvPr>
            <p:cNvGrpSpPr/>
            <p:nvPr/>
          </p:nvGrpSpPr>
          <p:grpSpPr>
            <a:xfrm>
              <a:off x="5445125" y="2725738"/>
              <a:ext cx="1303338" cy="1355725"/>
              <a:chOff x="5445125" y="2725738"/>
              <a:chExt cx="1303338" cy="1355725"/>
            </a:xfrm>
          </p:grpSpPr>
          <p:sp>
            <p:nvSpPr>
              <p:cNvPr id="15" name="Freeform 13">
                <a:extLst>
                  <a:ext uri="{FF2B5EF4-FFF2-40B4-BE49-F238E27FC236}">
                    <a16:creationId xmlns:a16="http://schemas.microsoft.com/office/drawing/2014/main" id="{4AC220A3-F9E3-2BBE-B875-6BBA8517C5A2}"/>
                  </a:ext>
                </a:extLst>
              </p:cNvPr>
              <p:cNvSpPr>
                <a:spLocks/>
              </p:cNvSpPr>
              <p:nvPr/>
            </p:nvSpPr>
            <p:spPr bwMode="auto">
              <a:xfrm>
                <a:off x="5445125" y="3613150"/>
                <a:ext cx="1303338" cy="468313"/>
              </a:xfrm>
              <a:custGeom>
                <a:avLst/>
                <a:gdLst>
                  <a:gd name="connsiteX0" fmla="*/ 15703 w 1303338"/>
                  <a:gd name="connsiteY0" fmla="*/ 434975 h 468313"/>
                  <a:gd name="connsiteX1" fmla="*/ 77087 w 1303338"/>
                  <a:gd name="connsiteY1" fmla="*/ 434975 h 468313"/>
                  <a:gd name="connsiteX2" fmla="*/ 92790 w 1303338"/>
                  <a:gd name="connsiteY2" fmla="*/ 434975 h 468313"/>
                  <a:gd name="connsiteX3" fmla="*/ 108493 w 1303338"/>
                  <a:gd name="connsiteY3" fmla="*/ 434975 h 468313"/>
                  <a:gd name="connsiteX4" fmla="*/ 182011 w 1303338"/>
                  <a:gd name="connsiteY4" fmla="*/ 434975 h 468313"/>
                  <a:gd name="connsiteX5" fmla="*/ 213416 w 1303338"/>
                  <a:gd name="connsiteY5" fmla="*/ 434975 h 468313"/>
                  <a:gd name="connsiteX6" fmla="*/ 214844 w 1303338"/>
                  <a:gd name="connsiteY6" fmla="*/ 434975 h 468313"/>
                  <a:gd name="connsiteX7" fmla="*/ 229119 w 1303338"/>
                  <a:gd name="connsiteY7" fmla="*/ 434975 h 468313"/>
                  <a:gd name="connsiteX8" fmla="*/ 230547 w 1303338"/>
                  <a:gd name="connsiteY8" fmla="*/ 434975 h 468313"/>
                  <a:gd name="connsiteX9" fmla="*/ 246964 w 1303338"/>
                  <a:gd name="connsiteY9" fmla="*/ 434975 h 468313"/>
                  <a:gd name="connsiteX10" fmla="*/ 352601 w 1303338"/>
                  <a:gd name="connsiteY10" fmla="*/ 434975 h 468313"/>
                  <a:gd name="connsiteX11" fmla="*/ 368304 w 1303338"/>
                  <a:gd name="connsiteY11" fmla="*/ 434975 h 468313"/>
                  <a:gd name="connsiteX12" fmla="*/ 398996 w 1303338"/>
                  <a:gd name="connsiteY12" fmla="*/ 434975 h 468313"/>
                  <a:gd name="connsiteX13" fmla="*/ 1066368 w 1303338"/>
                  <a:gd name="connsiteY13" fmla="*/ 434975 h 468313"/>
                  <a:gd name="connsiteX14" fmla="*/ 1097060 w 1303338"/>
                  <a:gd name="connsiteY14" fmla="*/ 434975 h 468313"/>
                  <a:gd name="connsiteX15" fmla="*/ 1112762 w 1303338"/>
                  <a:gd name="connsiteY15" fmla="*/ 434975 h 468313"/>
                  <a:gd name="connsiteX16" fmla="*/ 1236244 w 1303338"/>
                  <a:gd name="connsiteY16" fmla="*/ 434975 h 468313"/>
                  <a:gd name="connsiteX17" fmla="*/ 1251947 w 1303338"/>
                  <a:gd name="connsiteY17" fmla="*/ 434975 h 468313"/>
                  <a:gd name="connsiteX18" fmla="*/ 1283353 w 1303338"/>
                  <a:gd name="connsiteY18" fmla="*/ 434975 h 468313"/>
                  <a:gd name="connsiteX19" fmla="*/ 1287635 w 1303338"/>
                  <a:gd name="connsiteY19" fmla="*/ 434975 h 468313"/>
                  <a:gd name="connsiteX20" fmla="*/ 1303338 w 1303338"/>
                  <a:gd name="connsiteY20" fmla="*/ 452015 h 468313"/>
                  <a:gd name="connsiteX21" fmla="*/ 1287635 w 1303338"/>
                  <a:gd name="connsiteY21" fmla="*/ 468313 h 468313"/>
                  <a:gd name="connsiteX22" fmla="*/ 1271219 w 1303338"/>
                  <a:gd name="connsiteY22" fmla="*/ 468313 h 468313"/>
                  <a:gd name="connsiteX23" fmla="*/ 1078502 w 1303338"/>
                  <a:gd name="connsiteY23" fmla="*/ 468313 h 468313"/>
                  <a:gd name="connsiteX24" fmla="*/ 387576 w 1303338"/>
                  <a:gd name="connsiteY24" fmla="*/ 468313 h 468313"/>
                  <a:gd name="connsiteX25" fmla="*/ 229119 w 1303338"/>
                  <a:gd name="connsiteY25" fmla="*/ 468313 h 468313"/>
                  <a:gd name="connsiteX26" fmla="*/ 194145 w 1303338"/>
                  <a:gd name="connsiteY26" fmla="*/ 468313 h 468313"/>
                  <a:gd name="connsiteX27" fmla="*/ 92790 w 1303338"/>
                  <a:gd name="connsiteY27" fmla="*/ 468313 h 468313"/>
                  <a:gd name="connsiteX28" fmla="*/ 15703 w 1303338"/>
                  <a:gd name="connsiteY28" fmla="*/ 468313 h 468313"/>
                  <a:gd name="connsiteX29" fmla="*/ 0 w 1303338"/>
                  <a:gd name="connsiteY29" fmla="*/ 452015 h 468313"/>
                  <a:gd name="connsiteX30" fmla="*/ 15703 w 1303338"/>
                  <a:gd name="connsiteY30" fmla="*/ 434975 h 468313"/>
                  <a:gd name="connsiteX31" fmla="*/ 1004888 w 1303338"/>
                  <a:gd name="connsiteY31" fmla="*/ 92075 h 468313"/>
                  <a:gd name="connsiteX32" fmla="*/ 1004888 w 1303338"/>
                  <a:gd name="connsiteY32" fmla="*/ 152400 h 468313"/>
                  <a:gd name="connsiteX33" fmla="*/ 1004888 w 1303338"/>
                  <a:gd name="connsiteY33" fmla="*/ 168200 h 468313"/>
                  <a:gd name="connsiteX34" fmla="*/ 1004888 w 1303338"/>
                  <a:gd name="connsiteY34" fmla="*/ 183281 h 468313"/>
                  <a:gd name="connsiteX35" fmla="*/ 1004888 w 1303338"/>
                  <a:gd name="connsiteY35" fmla="*/ 212725 h 468313"/>
                  <a:gd name="connsiteX36" fmla="*/ 1087591 w 1303338"/>
                  <a:gd name="connsiteY36" fmla="*/ 212725 h 468313"/>
                  <a:gd name="connsiteX37" fmla="*/ 1119674 w 1303338"/>
                  <a:gd name="connsiteY37" fmla="*/ 212725 h 468313"/>
                  <a:gd name="connsiteX38" fmla="*/ 1122525 w 1303338"/>
                  <a:gd name="connsiteY38" fmla="*/ 183281 h 468313"/>
                  <a:gd name="connsiteX39" fmla="*/ 1123951 w 1303338"/>
                  <a:gd name="connsiteY39" fmla="*/ 168200 h 468313"/>
                  <a:gd name="connsiteX40" fmla="*/ 1123238 w 1303338"/>
                  <a:gd name="connsiteY40" fmla="*/ 168200 h 468313"/>
                  <a:gd name="connsiteX41" fmla="*/ 1103276 w 1303338"/>
                  <a:gd name="connsiteY41" fmla="*/ 152400 h 468313"/>
                  <a:gd name="connsiteX42" fmla="*/ 1094720 w 1303338"/>
                  <a:gd name="connsiteY42" fmla="*/ 145937 h 468313"/>
                  <a:gd name="connsiteX43" fmla="*/ 1004888 w 1303338"/>
                  <a:gd name="connsiteY43" fmla="*/ 92075 h 468313"/>
                  <a:gd name="connsiteX44" fmla="*/ 460375 w 1303338"/>
                  <a:gd name="connsiteY44" fmla="*/ 92075 h 468313"/>
                  <a:gd name="connsiteX45" fmla="*/ 372091 w 1303338"/>
                  <a:gd name="connsiteY45" fmla="*/ 145937 h 468313"/>
                  <a:gd name="connsiteX46" fmla="*/ 342900 w 1303338"/>
                  <a:gd name="connsiteY46" fmla="*/ 168200 h 468313"/>
                  <a:gd name="connsiteX47" fmla="*/ 347172 w 1303338"/>
                  <a:gd name="connsiteY47" fmla="*/ 212725 h 468313"/>
                  <a:gd name="connsiteX48" fmla="*/ 378499 w 1303338"/>
                  <a:gd name="connsiteY48" fmla="*/ 212725 h 468313"/>
                  <a:gd name="connsiteX49" fmla="*/ 460375 w 1303338"/>
                  <a:gd name="connsiteY49" fmla="*/ 212725 h 468313"/>
                  <a:gd name="connsiteX50" fmla="*/ 460375 w 1303338"/>
                  <a:gd name="connsiteY50" fmla="*/ 92075 h 468313"/>
                  <a:gd name="connsiteX51" fmla="*/ 876300 w 1303338"/>
                  <a:gd name="connsiteY51" fmla="*/ 49213 h 468313"/>
                  <a:gd name="connsiteX52" fmla="*/ 876300 w 1303338"/>
                  <a:gd name="connsiteY52" fmla="*/ 153008 h 468313"/>
                  <a:gd name="connsiteX53" fmla="*/ 876300 w 1303338"/>
                  <a:gd name="connsiteY53" fmla="*/ 168649 h 468313"/>
                  <a:gd name="connsiteX54" fmla="*/ 876300 w 1303338"/>
                  <a:gd name="connsiteY54" fmla="*/ 183578 h 468313"/>
                  <a:gd name="connsiteX55" fmla="*/ 876300 w 1303338"/>
                  <a:gd name="connsiteY55" fmla="*/ 212726 h 468313"/>
                  <a:gd name="connsiteX56" fmla="*/ 973138 w 1303338"/>
                  <a:gd name="connsiteY56" fmla="*/ 212726 h 468313"/>
                  <a:gd name="connsiteX57" fmla="*/ 973138 w 1303338"/>
                  <a:gd name="connsiteY57" fmla="*/ 183578 h 468313"/>
                  <a:gd name="connsiteX58" fmla="*/ 973138 w 1303338"/>
                  <a:gd name="connsiteY58" fmla="*/ 168649 h 468313"/>
                  <a:gd name="connsiteX59" fmla="*/ 973138 w 1303338"/>
                  <a:gd name="connsiteY59" fmla="*/ 153008 h 468313"/>
                  <a:gd name="connsiteX60" fmla="*/ 973138 w 1303338"/>
                  <a:gd name="connsiteY60" fmla="*/ 79783 h 468313"/>
                  <a:gd name="connsiteX61" fmla="*/ 876300 w 1303338"/>
                  <a:gd name="connsiteY61" fmla="*/ 49213 h 468313"/>
                  <a:gd name="connsiteX62" fmla="*/ 588963 w 1303338"/>
                  <a:gd name="connsiteY62" fmla="*/ 49213 h 468313"/>
                  <a:gd name="connsiteX63" fmla="*/ 492125 w 1303338"/>
                  <a:gd name="connsiteY63" fmla="*/ 79783 h 468313"/>
                  <a:gd name="connsiteX64" fmla="*/ 492125 w 1303338"/>
                  <a:gd name="connsiteY64" fmla="*/ 212726 h 468313"/>
                  <a:gd name="connsiteX65" fmla="*/ 588963 w 1303338"/>
                  <a:gd name="connsiteY65" fmla="*/ 212726 h 468313"/>
                  <a:gd name="connsiteX66" fmla="*/ 588963 w 1303338"/>
                  <a:gd name="connsiteY66" fmla="*/ 49213 h 468313"/>
                  <a:gd name="connsiteX67" fmla="*/ 749300 w 1303338"/>
                  <a:gd name="connsiteY67" fmla="*/ 31750 h 468313"/>
                  <a:gd name="connsiteX68" fmla="*/ 749300 w 1303338"/>
                  <a:gd name="connsiteY68" fmla="*/ 212725 h 468313"/>
                  <a:gd name="connsiteX69" fmla="*/ 844550 w 1303338"/>
                  <a:gd name="connsiteY69" fmla="*/ 212725 h 468313"/>
                  <a:gd name="connsiteX70" fmla="*/ 844550 w 1303338"/>
                  <a:gd name="connsiteY70" fmla="*/ 183513 h 468313"/>
                  <a:gd name="connsiteX71" fmla="*/ 844550 w 1303338"/>
                  <a:gd name="connsiteY71" fmla="*/ 168550 h 468313"/>
                  <a:gd name="connsiteX72" fmla="*/ 844550 w 1303338"/>
                  <a:gd name="connsiteY72" fmla="*/ 152875 h 468313"/>
                  <a:gd name="connsiteX73" fmla="*/ 844550 w 1303338"/>
                  <a:gd name="connsiteY73" fmla="*/ 41725 h 468313"/>
                  <a:gd name="connsiteX74" fmla="*/ 821267 w 1303338"/>
                  <a:gd name="connsiteY74" fmla="*/ 38163 h 468313"/>
                  <a:gd name="connsiteX75" fmla="*/ 806450 w 1303338"/>
                  <a:gd name="connsiteY75" fmla="*/ 36025 h 468313"/>
                  <a:gd name="connsiteX76" fmla="*/ 790928 w 1303338"/>
                  <a:gd name="connsiteY76" fmla="*/ 34600 h 468313"/>
                  <a:gd name="connsiteX77" fmla="*/ 749300 w 1303338"/>
                  <a:gd name="connsiteY77" fmla="*/ 31750 h 468313"/>
                  <a:gd name="connsiteX78" fmla="*/ 717551 w 1303338"/>
                  <a:gd name="connsiteY78" fmla="*/ 31750 h 468313"/>
                  <a:gd name="connsiteX79" fmla="*/ 620713 w 1303338"/>
                  <a:gd name="connsiteY79" fmla="*/ 41725 h 468313"/>
                  <a:gd name="connsiteX80" fmla="*/ 620713 w 1303338"/>
                  <a:gd name="connsiteY80" fmla="*/ 212725 h 468313"/>
                  <a:gd name="connsiteX81" fmla="*/ 717551 w 1303338"/>
                  <a:gd name="connsiteY81" fmla="*/ 212725 h 468313"/>
                  <a:gd name="connsiteX82" fmla="*/ 717551 w 1303338"/>
                  <a:gd name="connsiteY82" fmla="*/ 31750 h 468313"/>
                  <a:gd name="connsiteX83" fmla="*/ 733426 w 1303338"/>
                  <a:gd name="connsiteY83" fmla="*/ 0 h 468313"/>
                  <a:gd name="connsiteX84" fmla="*/ 791228 w 1303338"/>
                  <a:gd name="connsiteY84" fmla="*/ 2855 h 468313"/>
                  <a:gd name="connsiteX85" fmla="*/ 806927 w 1303338"/>
                  <a:gd name="connsiteY85" fmla="*/ 4282 h 468313"/>
                  <a:gd name="connsiteX86" fmla="*/ 821913 w 1303338"/>
                  <a:gd name="connsiteY86" fmla="*/ 5710 h 468313"/>
                  <a:gd name="connsiteX87" fmla="*/ 861161 w 1303338"/>
                  <a:gd name="connsiteY87" fmla="*/ 12846 h 468313"/>
                  <a:gd name="connsiteX88" fmla="*/ 915395 w 1303338"/>
                  <a:gd name="connsiteY88" fmla="*/ 25692 h 468313"/>
                  <a:gd name="connsiteX89" fmla="*/ 993892 w 1303338"/>
                  <a:gd name="connsiteY89" fmla="*/ 54239 h 468313"/>
                  <a:gd name="connsiteX90" fmla="*/ 998174 w 1303338"/>
                  <a:gd name="connsiteY90" fmla="*/ 55667 h 468313"/>
                  <a:gd name="connsiteX91" fmla="*/ 1098792 w 1303338"/>
                  <a:gd name="connsiteY91" fmla="*/ 110619 h 468313"/>
                  <a:gd name="connsiteX92" fmla="*/ 1128050 w 1303338"/>
                  <a:gd name="connsiteY92" fmla="*/ 131316 h 468313"/>
                  <a:gd name="connsiteX93" fmla="*/ 1131618 w 1303338"/>
                  <a:gd name="connsiteY93" fmla="*/ 94919 h 468313"/>
                  <a:gd name="connsiteX94" fmla="*/ 1132332 w 1303338"/>
                  <a:gd name="connsiteY94" fmla="*/ 89209 h 468313"/>
                  <a:gd name="connsiteX95" fmla="*/ 1148031 w 1303338"/>
                  <a:gd name="connsiteY95" fmla="*/ 74936 h 468313"/>
                  <a:gd name="connsiteX96" fmla="*/ 1185139 w 1303338"/>
                  <a:gd name="connsiteY96" fmla="*/ 74936 h 468313"/>
                  <a:gd name="connsiteX97" fmla="*/ 1200838 w 1303338"/>
                  <a:gd name="connsiteY97" fmla="*/ 74936 h 468313"/>
                  <a:gd name="connsiteX98" fmla="*/ 1202979 w 1303338"/>
                  <a:gd name="connsiteY98" fmla="*/ 74936 h 468313"/>
                  <a:gd name="connsiteX99" fmla="*/ 1215824 w 1303338"/>
                  <a:gd name="connsiteY99" fmla="*/ 83500 h 468313"/>
                  <a:gd name="connsiteX100" fmla="*/ 1217965 w 1303338"/>
                  <a:gd name="connsiteY100" fmla="*/ 89209 h 468313"/>
                  <a:gd name="connsiteX101" fmla="*/ 1249363 w 1303338"/>
                  <a:gd name="connsiteY101" fmla="*/ 403225 h 468313"/>
                  <a:gd name="connsiteX102" fmla="*/ 1232950 w 1303338"/>
                  <a:gd name="connsiteY102" fmla="*/ 403225 h 468313"/>
                  <a:gd name="connsiteX103" fmla="*/ 1217251 w 1303338"/>
                  <a:gd name="connsiteY103" fmla="*/ 403225 h 468313"/>
                  <a:gd name="connsiteX104" fmla="*/ 1132332 w 1303338"/>
                  <a:gd name="connsiteY104" fmla="*/ 403225 h 468313"/>
                  <a:gd name="connsiteX105" fmla="*/ 1116632 w 1303338"/>
                  <a:gd name="connsiteY105" fmla="*/ 403225 h 468313"/>
                  <a:gd name="connsiteX106" fmla="*/ 1100933 w 1303338"/>
                  <a:gd name="connsiteY106" fmla="*/ 403225 h 468313"/>
                  <a:gd name="connsiteX107" fmla="*/ 1113778 w 1303338"/>
                  <a:gd name="connsiteY107" fmla="*/ 275478 h 468313"/>
                  <a:gd name="connsiteX108" fmla="*/ 1116632 w 1303338"/>
                  <a:gd name="connsiteY108" fmla="*/ 244076 h 468313"/>
                  <a:gd name="connsiteX109" fmla="*/ 1085234 w 1303338"/>
                  <a:gd name="connsiteY109" fmla="*/ 244076 h 468313"/>
                  <a:gd name="connsiteX110" fmla="*/ 382331 w 1303338"/>
                  <a:gd name="connsiteY110" fmla="*/ 244076 h 468313"/>
                  <a:gd name="connsiteX111" fmla="*/ 350219 w 1303338"/>
                  <a:gd name="connsiteY111" fmla="*/ 244076 h 468313"/>
                  <a:gd name="connsiteX112" fmla="*/ 353787 w 1303338"/>
                  <a:gd name="connsiteY112" fmla="*/ 275478 h 468313"/>
                  <a:gd name="connsiteX113" fmla="*/ 366632 w 1303338"/>
                  <a:gd name="connsiteY113" fmla="*/ 403225 h 468313"/>
                  <a:gd name="connsiteX114" fmla="*/ 350219 w 1303338"/>
                  <a:gd name="connsiteY114" fmla="*/ 403225 h 468313"/>
                  <a:gd name="connsiteX115" fmla="*/ 334520 w 1303338"/>
                  <a:gd name="connsiteY115" fmla="*/ 403225 h 468313"/>
                  <a:gd name="connsiteX116" fmla="*/ 251741 w 1303338"/>
                  <a:gd name="connsiteY116" fmla="*/ 403225 h 468313"/>
                  <a:gd name="connsiteX117" fmla="*/ 248887 w 1303338"/>
                  <a:gd name="connsiteY117" fmla="*/ 403225 h 468313"/>
                  <a:gd name="connsiteX118" fmla="*/ 236042 w 1303338"/>
                  <a:gd name="connsiteY118" fmla="*/ 403225 h 468313"/>
                  <a:gd name="connsiteX119" fmla="*/ 233188 w 1303338"/>
                  <a:gd name="connsiteY119" fmla="*/ 403225 h 468313"/>
                  <a:gd name="connsiteX120" fmla="*/ 219629 w 1303338"/>
                  <a:gd name="connsiteY120" fmla="*/ 403225 h 468313"/>
                  <a:gd name="connsiteX121" fmla="*/ 217488 w 1303338"/>
                  <a:gd name="connsiteY121" fmla="*/ 403225 h 468313"/>
                  <a:gd name="connsiteX122" fmla="*/ 248887 w 1303338"/>
                  <a:gd name="connsiteY122" fmla="*/ 89209 h 468313"/>
                  <a:gd name="connsiteX123" fmla="*/ 264586 w 1303338"/>
                  <a:gd name="connsiteY123" fmla="*/ 74936 h 468313"/>
                  <a:gd name="connsiteX124" fmla="*/ 319534 w 1303338"/>
                  <a:gd name="connsiteY124" fmla="*/ 74936 h 468313"/>
                  <a:gd name="connsiteX125" fmla="*/ 333806 w 1303338"/>
                  <a:gd name="connsiteY125" fmla="*/ 84213 h 468313"/>
                  <a:gd name="connsiteX126" fmla="*/ 335233 w 1303338"/>
                  <a:gd name="connsiteY126" fmla="*/ 89209 h 468313"/>
                  <a:gd name="connsiteX127" fmla="*/ 335947 w 1303338"/>
                  <a:gd name="connsiteY127" fmla="*/ 94919 h 468313"/>
                  <a:gd name="connsiteX128" fmla="*/ 335947 w 1303338"/>
                  <a:gd name="connsiteY128" fmla="*/ 99914 h 468313"/>
                  <a:gd name="connsiteX129" fmla="*/ 338088 w 1303338"/>
                  <a:gd name="connsiteY129" fmla="*/ 116329 h 468313"/>
                  <a:gd name="connsiteX130" fmla="*/ 339515 w 1303338"/>
                  <a:gd name="connsiteY130" fmla="*/ 131316 h 468313"/>
                  <a:gd name="connsiteX131" fmla="*/ 368773 w 1303338"/>
                  <a:gd name="connsiteY131" fmla="*/ 110619 h 468313"/>
                  <a:gd name="connsiteX132" fmla="*/ 398744 w 1303338"/>
                  <a:gd name="connsiteY132" fmla="*/ 91350 h 468313"/>
                  <a:gd name="connsiteX133" fmla="*/ 467964 w 1303338"/>
                  <a:gd name="connsiteY133" fmla="*/ 55667 h 468313"/>
                  <a:gd name="connsiteX134" fmla="*/ 472959 w 1303338"/>
                  <a:gd name="connsiteY134" fmla="*/ 54239 h 468313"/>
                  <a:gd name="connsiteX135" fmla="*/ 579287 w 1303338"/>
                  <a:gd name="connsiteY135" fmla="*/ 18556 h 468313"/>
                  <a:gd name="connsiteX136" fmla="*/ 733426 w 1303338"/>
                  <a:gd name="connsiteY136" fmla="*/ 0 h 46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1303338" h="468313">
                    <a:moveTo>
                      <a:pt x="15703" y="434975"/>
                    </a:moveTo>
                    <a:cubicBezTo>
                      <a:pt x="15703" y="434975"/>
                      <a:pt x="15703" y="434975"/>
                      <a:pt x="77087" y="434975"/>
                    </a:cubicBezTo>
                    <a:cubicBezTo>
                      <a:pt x="77087" y="434975"/>
                      <a:pt x="77087" y="434975"/>
                      <a:pt x="92790" y="434975"/>
                    </a:cubicBezTo>
                    <a:cubicBezTo>
                      <a:pt x="92790" y="434975"/>
                      <a:pt x="92790" y="434975"/>
                      <a:pt x="108493" y="434975"/>
                    </a:cubicBezTo>
                    <a:cubicBezTo>
                      <a:pt x="108493" y="434975"/>
                      <a:pt x="108493" y="434975"/>
                      <a:pt x="182011" y="434975"/>
                    </a:cubicBezTo>
                    <a:cubicBezTo>
                      <a:pt x="182011" y="434975"/>
                      <a:pt x="182011" y="434975"/>
                      <a:pt x="213416" y="434975"/>
                    </a:cubicBezTo>
                    <a:cubicBezTo>
                      <a:pt x="213416" y="434975"/>
                      <a:pt x="213416" y="434975"/>
                      <a:pt x="214844" y="434975"/>
                    </a:cubicBezTo>
                    <a:cubicBezTo>
                      <a:pt x="214844" y="434975"/>
                      <a:pt x="214844" y="434975"/>
                      <a:pt x="229119" y="434975"/>
                    </a:cubicBezTo>
                    <a:cubicBezTo>
                      <a:pt x="229119" y="434975"/>
                      <a:pt x="229119" y="434975"/>
                      <a:pt x="230547" y="434975"/>
                    </a:cubicBezTo>
                    <a:cubicBezTo>
                      <a:pt x="230547" y="434975"/>
                      <a:pt x="230547" y="434975"/>
                      <a:pt x="246964" y="434975"/>
                    </a:cubicBezTo>
                    <a:cubicBezTo>
                      <a:pt x="246964" y="434975"/>
                      <a:pt x="246964" y="434975"/>
                      <a:pt x="352601" y="434975"/>
                    </a:cubicBezTo>
                    <a:cubicBezTo>
                      <a:pt x="352601" y="434975"/>
                      <a:pt x="352601" y="434975"/>
                      <a:pt x="368304" y="434975"/>
                    </a:cubicBezTo>
                    <a:cubicBezTo>
                      <a:pt x="368304" y="434975"/>
                      <a:pt x="368304" y="434975"/>
                      <a:pt x="398996" y="434975"/>
                    </a:cubicBezTo>
                    <a:cubicBezTo>
                      <a:pt x="398996" y="434975"/>
                      <a:pt x="398996" y="434975"/>
                      <a:pt x="1066368" y="434975"/>
                    </a:cubicBezTo>
                    <a:cubicBezTo>
                      <a:pt x="1066368" y="434975"/>
                      <a:pt x="1066368" y="434975"/>
                      <a:pt x="1097060" y="434975"/>
                    </a:cubicBezTo>
                    <a:cubicBezTo>
                      <a:pt x="1097060" y="434975"/>
                      <a:pt x="1097060" y="434975"/>
                      <a:pt x="1112762" y="434975"/>
                    </a:cubicBezTo>
                    <a:cubicBezTo>
                      <a:pt x="1112762" y="434975"/>
                      <a:pt x="1112762" y="434975"/>
                      <a:pt x="1236244" y="434975"/>
                    </a:cubicBezTo>
                    <a:cubicBezTo>
                      <a:pt x="1236244" y="434975"/>
                      <a:pt x="1236244" y="434975"/>
                      <a:pt x="1251947" y="434975"/>
                    </a:cubicBezTo>
                    <a:cubicBezTo>
                      <a:pt x="1251947" y="434975"/>
                      <a:pt x="1251947" y="434975"/>
                      <a:pt x="1283353" y="434975"/>
                    </a:cubicBezTo>
                    <a:cubicBezTo>
                      <a:pt x="1283353" y="434975"/>
                      <a:pt x="1283353" y="434975"/>
                      <a:pt x="1287635" y="434975"/>
                    </a:cubicBezTo>
                    <a:cubicBezTo>
                      <a:pt x="1296201" y="434975"/>
                      <a:pt x="1303338" y="442384"/>
                      <a:pt x="1303338" y="452015"/>
                    </a:cubicBezTo>
                    <a:cubicBezTo>
                      <a:pt x="1303338" y="460905"/>
                      <a:pt x="1296201" y="468313"/>
                      <a:pt x="1287635" y="468313"/>
                    </a:cubicBezTo>
                    <a:cubicBezTo>
                      <a:pt x="1287635" y="468313"/>
                      <a:pt x="1287635" y="468313"/>
                      <a:pt x="1271219" y="468313"/>
                    </a:cubicBezTo>
                    <a:cubicBezTo>
                      <a:pt x="1271219" y="468313"/>
                      <a:pt x="1271219" y="468313"/>
                      <a:pt x="1078502" y="468313"/>
                    </a:cubicBezTo>
                    <a:cubicBezTo>
                      <a:pt x="1078502" y="468313"/>
                      <a:pt x="1078502" y="468313"/>
                      <a:pt x="387576" y="468313"/>
                    </a:cubicBezTo>
                    <a:cubicBezTo>
                      <a:pt x="387576" y="468313"/>
                      <a:pt x="387576" y="468313"/>
                      <a:pt x="229119" y="468313"/>
                    </a:cubicBezTo>
                    <a:cubicBezTo>
                      <a:pt x="229119" y="468313"/>
                      <a:pt x="229119" y="468313"/>
                      <a:pt x="194145" y="468313"/>
                    </a:cubicBezTo>
                    <a:cubicBezTo>
                      <a:pt x="194145" y="468313"/>
                      <a:pt x="194145" y="468313"/>
                      <a:pt x="92790" y="468313"/>
                    </a:cubicBezTo>
                    <a:cubicBezTo>
                      <a:pt x="92790" y="468313"/>
                      <a:pt x="92790" y="468313"/>
                      <a:pt x="15703" y="468313"/>
                    </a:cubicBezTo>
                    <a:cubicBezTo>
                      <a:pt x="7138" y="468313"/>
                      <a:pt x="0" y="460905"/>
                      <a:pt x="0" y="452015"/>
                    </a:cubicBezTo>
                    <a:cubicBezTo>
                      <a:pt x="0" y="442384"/>
                      <a:pt x="7138" y="434975"/>
                      <a:pt x="15703" y="434975"/>
                    </a:cubicBezTo>
                    <a:close/>
                    <a:moveTo>
                      <a:pt x="1004888" y="92075"/>
                    </a:moveTo>
                    <a:cubicBezTo>
                      <a:pt x="1004888" y="92075"/>
                      <a:pt x="1004888" y="92075"/>
                      <a:pt x="1004888" y="152400"/>
                    </a:cubicBezTo>
                    <a:cubicBezTo>
                      <a:pt x="1004888" y="152400"/>
                      <a:pt x="1004888" y="152400"/>
                      <a:pt x="1004888" y="168200"/>
                    </a:cubicBezTo>
                    <a:cubicBezTo>
                      <a:pt x="1004888" y="168200"/>
                      <a:pt x="1004888" y="168200"/>
                      <a:pt x="1004888" y="183281"/>
                    </a:cubicBezTo>
                    <a:cubicBezTo>
                      <a:pt x="1004888" y="183281"/>
                      <a:pt x="1004888" y="183281"/>
                      <a:pt x="1004888" y="212725"/>
                    </a:cubicBezTo>
                    <a:cubicBezTo>
                      <a:pt x="1004888" y="212725"/>
                      <a:pt x="1004888" y="212725"/>
                      <a:pt x="1087591" y="212725"/>
                    </a:cubicBezTo>
                    <a:cubicBezTo>
                      <a:pt x="1087591" y="212725"/>
                      <a:pt x="1087591" y="212725"/>
                      <a:pt x="1119674" y="212725"/>
                    </a:cubicBezTo>
                    <a:cubicBezTo>
                      <a:pt x="1119674" y="212725"/>
                      <a:pt x="1119674" y="212725"/>
                      <a:pt x="1122525" y="183281"/>
                    </a:cubicBezTo>
                    <a:cubicBezTo>
                      <a:pt x="1122525" y="183281"/>
                      <a:pt x="1122525" y="183281"/>
                      <a:pt x="1123951" y="168200"/>
                    </a:cubicBezTo>
                    <a:cubicBezTo>
                      <a:pt x="1123951" y="168200"/>
                      <a:pt x="1123951" y="168200"/>
                      <a:pt x="1123238" y="168200"/>
                    </a:cubicBezTo>
                    <a:cubicBezTo>
                      <a:pt x="1116822" y="162454"/>
                      <a:pt x="1109692" y="157427"/>
                      <a:pt x="1103276" y="152400"/>
                    </a:cubicBezTo>
                    <a:cubicBezTo>
                      <a:pt x="1100424" y="150246"/>
                      <a:pt x="1097572" y="148091"/>
                      <a:pt x="1094720" y="145937"/>
                    </a:cubicBezTo>
                    <a:cubicBezTo>
                      <a:pt x="1066202" y="125110"/>
                      <a:pt x="1036258" y="107875"/>
                      <a:pt x="1004888" y="92075"/>
                    </a:cubicBezTo>
                    <a:close/>
                    <a:moveTo>
                      <a:pt x="460375" y="92075"/>
                    </a:moveTo>
                    <a:cubicBezTo>
                      <a:pt x="429761" y="107875"/>
                      <a:pt x="400570" y="125110"/>
                      <a:pt x="372091" y="145937"/>
                    </a:cubicBezTo>
                    <a:cubicBezTo>
                      <a:pt x="362123" y="153118"/>
                      <a:pt x="352156" y="160300"/>
                      <a:pt x="342900" y="168200"/>
                    </a:cubicBezTo>
                    <a:cubicBezTo>
                      <a:pt x="342900" y="168200"/>
                      <a:pt x="342900" y="168200"/>
                      <a:pt x="347172" y="212725"/>
                    </a:cubicBezTo>
                    <a:cubicBezTo>
                      <a:pt x="347172" y="212725"/>
                      <a:pt x="347172" y="212725"/>
                      <a:pt x="378499" y="212725"/>
                    </a:cubicBezTo>
                    <a:cubicBezTo>
                      <a:pt x="378499" y="212725"/>
                      <a:pt x="378499" y="212725"/>
                      <a:pt x="460375" y="212725"/>
                    </a:cubicBezTo>
                    <a:cubicBezTo>
                      <a:pt x="460375" y="212725"/>
                      <a:pt x="460375" y="212725"/>
                      <a:pt x="460375" y="92075"/>
                    </a:cubicBezTo>
                    <a:close/>
                    <a:moveTo>
                      <a:pt x="876300" y="49213"/>
                    </a:moveTo>
                    <a:cubicBezTo>
                      <a:pt x="876300" y="49213"/>
                      <a:pt x="876300" y="49213"/>
                      <a:pt x="876300" y="153008"/>
                    </a:cubicBezTo>
                    <a:cubicBezTo>
                      <a:pt x="876300" y="153008"/>
                      <a:pt x="876300" y="153008"/>
                      <a:pt x="876300" y="168649"/>
                    </a:cubicBezTo>
                    <a:cubicBezTo>
                      <a:pt x="876300" y="168649"/>
                      <a:pt x="876300" y="168649"/>
                      <a:pt x="876300" y="183578"/>
                    </a:cubicBezTo>
                    <a:cubicBezTo>
                      <a:pt x="876300" y="183578"/>
                      <a:pt x="876300" y="183578"/>
                      <a:pt x="876300" y="212726"/>
                    </a:cubicBezTo>
                    <a:cubicBezTo>
                      <a:pt x="876300" y="212726"/>
                      <a:pt x="876300" y="212726"/>
                      <a:pt x="973138" y="212726"/>
                    </a:cubicBezTo>
                    <a:cubicBezTo>
                      <a:pt x="973138" y="212726"/>
                      <a:pt x="973138" y="212726"/>
                      <a:pt x="973138" y="183578"/>
                    </a:cubicBezTo>
                    <a:cubicBezTo>
                      <a:pt x="973138" y="183578"/>
                      <a:pt x="973138" y="183578"/>
                      <a:pt x="973138" y="168649"/>
                    </a:cubicBezTo>
                    <a:cubicBezTo>
                      <a:pt x="973138" y="168649"/>
                      <a:pt x="973138" y="168649"/>
                      <a:pt x="973138" y="153008"/>
                    </a:cubicBezTo>
                    <a:cubicBezTo>
                      <a:pt x="973138" y="153008"/>
                      <a:pt x="973138" y="153008"/>
                      <a:pt x="973138" y="79783"/>
                    </a:cubicBezTo>
                    <a:cubicBezTo>
                      <a:pt x="941808" y="66986"/>
                      <a:pt x="909766" y="56322"/>
                      <a:pt x="876300" y="49213"/>
                    </a:cubicBezTo>
                    <a:close/>
                    <a:moveTo>
                      <a:pt x="588963" y="49213"/>
                    </a:moveTo>
                    <a:cubicBezTo>
                      <a:pt x="556209" y="56322"/>
                      <a:pt x="523455" y="66986"/>
                      <a:pt x="492125" y="79783"/>
                    </a:cubicBezTo>
                    <a:cubicBezTo>
                      <a:pt x="492125" y="79783"/>
                      <a:pt x="492125" y="79783"/>
                      <a:pt x="492125" y="212726"/>
                    </a:cubicBezTo>
                    <a:cubicBezTo>
                      <a:pt x="492125" y="212726"/>
                      <a:pt x="492125" y="212726"/>
                      <a:pt x="588963" y="212726"/>
                    </a:cubicBezTo>
                    <a:cubicBezTo>
                      <a:pt x="588963" y="212726"/>
                      <a:pt x="588963" y="212726"/>
                      <a:pt x="588963" y="49213"/>
                    </a:cubicBezTo>
                    <a:close/>
                    <a:moveTo>
                      <a:pt x="749300" y="31750"/>
                    </a:moveTo>
                    <a:cubicBezTo>
                      <a:pt x="749300" y="31750"/>
                      <a:pt x="749300" y="31750"/>
                      <a:pt x="749300" y="212725"/>
                    </a:cubicBezTo>
                    <a:cubicBezTo>
                      <a:pt x="749300" y="212725"/>
                      <a:pt x="749300" y="212725"/>
                      <a:pt x="844550" y="212725"/>
                    </a:cubicBezTo>
                    <a:cubicBezTo>
                      <a:pt x="844550" y="212725"/>
                      <a:pt x="844550" y="212725"/>
                      <a:pt x="844550" y="183513"/>
                    </a:cubicBezTo>
                    <a:cubicBezTo>
                      <a:pt x="844550" y="183513"/>
                      <a:pt x="844550" y="183513"/>
                      <a:pt x="844550" y="168550"/>
                    </a:cubicBezTo>
                    <a:cubicBezTo>
                      <a:pt x="844550" y="168550"/>
                      <a:pt x="844550" y="168550"/>
                      <a:pt x="844550" y="152875"/>
                    </a:cubicBezTo>
                    <a:cubicBezTo>
                      <a:pt x="844550" y="152875"/>
                      <a:pt x="844550" y="152875"/>
                      <a:pt x="844550" y="41725"/>
                    </a:cubicBezTo>
                    <a:cubicBezTo>
                      <a:pt x="836789" y="40300"/>
                      <a:pt x="829028" y="38875"/>
                      <a:pt x="821267" y="38163"/>
                    </a:cubicBezTo>
                    <a:cubicBezTo>
                      <a:pt x="816328" y="37450"/>
                      <a:pt x="811389" y="36738"/>
                      <a:pt x="806450" y="36025"/>
                    </a:cubicBezTo>
                    <a:cubicBezTo>
                      <a:pt x="801511" y="35313"/>
                      <a:pt x="795867" y="34600"/>
                      <a:pt x="790928" y="34600"/>
                    </a:cubicBezTo>
                    <a:cubicBezTo>
                      <a:pt x="777522" y="33175"/>
                      <a:pt x="763411" y="32463"/>
                      <a:pt x="749300" y="31750"/>
                    </a:cubicBezTo>
                    <a:close/>
                    <a:moveTo>
                      <a:pt x="717551" y="31750"/>
                    </a:moveTo>
                    <a:cubicBezTo>
                      <a:pt x="684797" y="32463"/>
                      <a:pt x="652755" y="36025"/>
                      <a:pt x="620713" y="41725"/>
                    </a:cubicBezTo>
                    <a:cubicBezTo>
                      <a:pt x="620713" y="41725"/>
                      <a:pt x="620713" y="41725"/>
                      <a:pt x="620713" y="212725"/>
                    </a:cubicBezTo>
                    <a:cubicBezTo>
                      <a:pt x="620713" y="212725"/>
                      <a:pt x="620713" y="212725"/>
                      <a:pt x="717551" y="212725"/>
                    </a:cubicBezTo>
                    <a:cubicBezTo>
                      <a:pt x="717551" y="212725"/>
                      <a:pt x="717551" y="212725"/>
                      <a:pt x="717551" y="31750"/>
                    </a:cubicBezTo>
                    <a:close/>
                    <a:moveTo>
                      <a:pt x="733426" y="0"/>
                    </a:moveTo>
                    <a:cubicBezTo>
                      <a:pt x="752693" y="0"/>
                      <a:pt x="771960" y="714"/>
                      <a:pt x="791228" y="2855"/>
                    </a:cubicBezTo>
                    <a:cubicBezTo>
                      <a:pt x="796223" y="2855"/>
                      <a:pt x="801932" y="3568"/>
                      <a:pt x="806927" y="4282"/>
                    </a:cubicBezTo>
                    <a:cubicBezTo>
                      <a:pt x="811922" y="4996"/>
                      <a:pt x="816918" y="5710"/>
                      <a:pt x="821913" y="5710"/>
                    </a:cubicBezTo>
                    <a:cubicBezTo>
                      <a:pt x="834758" y="7851"/>
                      <a:pt x="848316" y="9992"/>
                      <a:pt x="861161" y="12846"/>
                    </a:cubicBezTo>
                    <a:cubicBezTo>
                      <a:pt x="879715" y="16415"/>
                      <a:pt x="897555" y="20697"/>
                      <a:pt x="915395" y="25692"/>
                    </a:cubicBezTo>
                    <a:cubicBezTo>
                      <a:pt x="941799" y="33543"/>
                      <a:pt x="968202" y="42820"/>
                      <a:pt x="993892" y="54239"/>
                    </a:cubicBezTo>
                    <a:cubicBezTo>
                      <a:pt x="995319" y="54239"/>
                      <a:pt x="996747" y="54953"/>
                      <a:pt x="998174" y="55667"/>
                    </a:cubicBezTo>
                    <a:cubicBezTo>
                      <a:pt x="1033140" y="70654"/>
                      <a:pt x="1066680" y="89209"/>
                      <a:pt x="1098792" y="110619"/>
                    </a:cubicBezTo>
                    <a:cubicBezTo>
                      <a:pt x="1108783" y="117042"/>
                      <a:pt x="1118060" y="124179"/>
                      <a:pt x="1128050" y="131316"/>
                    </a:cubicBezTo>
                    <a:cubicBezTo>
                      <a:pt x="1128050" y="131316"/>
                      <a:pt x="1128050" y="131316"/>
                      <a:pt x="1131618" y="94919"/>
                    </a:cubicBezTo>
                    <a:cubicBezTo>
                      <a:pt x="1131618" y="94919"/>
                      <a:pt x="1131618" y="94919"/>
                      <a:pt x="1132332" y="89209"/>
                    </a:cubicBezTo>
                    <a:cubicBezTo>
                      <a:pt x="1133045" y="81359"/>
                      <a:pt x="1139468" y="74936"/>
                      <a:pt x="1148031" y="74936"/>
                    </a:cubicBezTo>
                    <a:cubicBezTo>
                      <a:pt x="1148031" y="74936"/>
                      <a:pt x="1148031" y="74936"/>
                      <a:pt x="1185139" y="74936"/>
                    </a:cubicBezTo>
                    <a:cubicBezTo>
                      <a:pt x="1185139" y="74936"/>
                      <a:pt x="1185139" y="74936"/>
                      <a:pt x="1200838" y="74936"/>
                    </a:cubicBezTo>
                    <a:cubicBezTo>
                      <a:pt x="1200838" y="74936"/>
                      <a:pt x="1200838" y="74936"/>
                      <a:pt x="1202979" y="74936"/>
                    </a:cubicBezTo>
                    <a:cubicBezTo>
                      <a:pt x="1208688" y="74936"/>
                      <a:pt x="1213683" y="78504"/>
                      <a:pt x="1215824" y="83500"/>
                    </a:cubicBezTo>
                    <a:cubicBezTo>
                      <a:pt x="1217251" y="84927"/>
                      <a:pt x="1217965" y="87068"/>
                      <a:pt x="1217965" y="89209"/>
                    </a:cubicBezTo>
                    <a:cubicBezTo>
                      <a:pt x="1217965" y="89209"/>
                      <a:pt x="1217965" y="89209"/>
                      <a:pt x="1249363" y="403225"/>
                    </a:cubicBezTo>
                    <a:cubicBezTo>
                      <a:pt x="1249363" y="403225"/>
                      <a:pt x="1249363" y="403225"/>
                      <a:pt x="1232950" y="403225"/>
                    </a:cubicBezTo>
                    <a:cubicBezTo>
                      <a:pt x="1232950" y="403225"/>
                      <a:pt x="1232950" y="403225"/>
                      <a:pt x="1217251" y="403225"/>
                    </a:cubicBezTo>
                    <a:cubicBezTo>
                      <a:pt x="1217251" y="403225"/>
                      <a:pt x="1217251" y="403225"/>
                      <a:pt x="1132332" y="403225"/>
                    </a:cubicBezTo>
                    <a:cubicBezTo>
                      <a:pt x="1132332" y="403225"/>
                      <a:pt x="1132332" y="403225"/>
                      <a:pt x="1116632" y="403225"/>
                    </a:cubicBezTo>
                    <a:cubicBezTo>
                      <a:pt x="1116632" y="403225"/>
                      <a:pt x="1116632" y="403225"/>
                      <a:pt x="1100933" y="403225"/>
                    </a:cubicBezTo>
                    <a:cubicBezTo>
                      <a:pt x="1100933" y="403225"/>
                      <a:pt x="1100933" y="403225"/>
                      <a:pt x="1113778" y="275478"/>
                    </a:cubicBezTo>
                    <a:cubicBezTo>
                      <a:pt x="1113778" y="275478"/>
                      <a:pt x="1113778" y="275478"/>
                      <a:pt x="1116632" y="244076"/>
                    </a:cubicBezTo>
                    <a:cubicBezTo>
                      <a:pt x="1116632" y="244076"/>
                      <a:pt x="1116632" y="244076"/>
                      <a:pt x="1085234" y="244076"/>
                    </a:cubicBezTo>
                    <a:cubicBezTo>
                      <a:pt x="1085234" y="244076"/>
                      <a:pt x="1085234" y="244076"/>
                      <a:pt x="382331" y="244076"/>
                    </a:cubicBezTo>
                    <a:cubicBezTo>
                      <a:pt x="382331" y="244076"/>
                      <a:pt x="382331" y="244076"/>
                      <a:pt x="350219" y="244076"/>
                    </a:cubicBezTo>
                    <a:cubicBezTo>
                      <a:pt x="350219" y="244076"/>
                      <a:pt x="350219" y="244076"/>
                      <a:pt x="353787" y="275478"/>
                    </a:cubicBezTo>
                    <a:cubicBezTo>
                      <a:pt x="353787" y="275478"/>
                      <a:pt x="353787" y="275478"/>
                      <a:pt x="366632" y="403225"/>
                    </a:cubicBezTo>
                    <a:cubicBezTo>
                      <a:pt x="366632" y="403225"/>
                      <a:pt x="366632" y="403225"/>
                      <a:pt x="350219" y="403225"/>
                    </a:cubicBezTo>
                    <a:cubicBezTo>
                      <a:pt x="350219" y="403225"/>
                      <a:pt x="350219" y="403225"/>
                      <a:pt x="334520" y="403225"/>
                    </a:cubicBezTo>
                    <a:cubicBezTo>
                      <a:pt x="334520" y="403225"/>
                      <a:pt x="334520" y="403225"/>
                      <a:pt x="251741" y="403225"/>
                    </a:cubicBezTo>
                    <a:cubicBezTo>
                      <a:pt x="251741" y="403225"/>
                      <a:pt x="251741" y="403225"/>
                      <a:pt x="248887" y="403225"/>
                    </a:cubicBezTo>
                    <a:cubicBezTo>
                      <a:pt x="248887" y="403225"/>
                      <a:pt x="248887" y="403225"/>
                      <a:pt x="236042" y="403225"/>
                    </a:cubicBezTo>
                    <a:cubicBezTo>
                      <a:pt x="236042" y="403225"/>
                      <a:pt x="236042" y="403225"/>
                      <a:pt x="233188" y="403225"/>
                    </a:cubicBezTo>
                    <a:cubicBezTo>
                      <a:pt x="233188" y="403225"/>
                      <a:pt x="233188" y="403225"/>
                      <a:pt x="219629" y="403225"/>
                    </a:cubicBezTo>
                    <a:cubicBezTo>
                      <a:pt x="219629" y="403225"/>
                      <a:pt x="219629" y="403225"/>
                      <a:pt x="217488" y="403225"/>
                    </a:cubicBezTo>
                    <a:cubicBezTo>
                      <a:pt x="217488" y="403225"/>
                      <a:pt x="217488" y="403225"/>
                      <a:pt x="248887" y="89209"/>
                    </a:cubicBezTo>
                    <a:cubicBezTo>
                      <a:pt x="249601" y="81359"/>
                      <a:pt x="256023" y="74936"/>
                      <a:pt x="264586" y="74936"/>
                    </a:cubicBezTo>
                    <a:cubicBezTo>
                      <a:pt x="264586" y="74936"/>
                      <a:pt x="264586" y="74936"/>
                      <a:pt x="319534" y="74936"/>
                    </a:cubicBezTo>
                    <a:cubicBezTo>
                      <a:pt x="325956" y="74936"/>
                      <a:pt x="330952" y="78504"/>
                      <a:pt x="333806" y="84213"/>
                    </a:cubicBezTo>
                    <a:cubicBezTo>
                      <a:pt x="334520" y="85641"/>
                      <a:pt x="335233" y="87068"/>
                      <a:pt x="335233" y="89209"/>
                    </a:cubicBezTo>
                    <a:cubicBezTo>
                      <a:pt x="335233" y="89209"/>
                      <a:pt x="335233" y="89209"/>
                      <a:pt x="335947" y="94919"/>
                    </a:cubicBezTo>
                    <a:cubicBezTo>
                      <a:pt x="335947" y="94919"/>
                      <a:pt x="335947" y="94919"/>
                      <a:pt x="335947" y="99914"/>
                    </a:cubicBezTo>
                    <a:cubicBezTo>
                      <a:pt x="335947" y="99914"/>
                      <a:pt x="335947" y="99914"/>
                      <a:pt x="338088" y="116329"/>
                    </a:cubicBezTo>
                    <a:cubicBezTo>
                      <a:pt x="338088" y="116329"/>
                      <a:pt x="338088" y="116329"/>
                      <a:pt x="339515" y="131316"/>
                    </a:cubicBezTo>
                    <a:cubicBezTo>
                      <a:pt x="348792" y="124179"/>
                      <a:pt x="358782" y="117042"/>
                      <a:pt x="368773" y="110619"/>
                    </a:cubicBezTo>
                    <a:cubicBezTo>
                      <a:pt x="378763" y="103483"/>
                      <a:pt x="388754" y="97773"/>
                      <a:pt x="398744" y="91350"/>
                    </a:cubicBezTo>
                    <a:cubicBezTo>
                      <a:pt x="420866" y="77790"/>
                      <a:pt x="444415" y="66372"/>
                      <a:pt x="467964" y="55667"/>
                    </a:cubicBezTo>
                    <a:cubicBezTo>
                      <a:pt x="469391" y="54953"/>
                      <a:pt x="470819" y="54239"/>
                      <a:pt x="472959" y="54239"/>
                    </a:cubicBezTo>
                    <a:cubicBezTo>
                      <a:pt x="507212" y="39252"/>
                      <a:pt x="542893" y="27120"/>
                      <a:pt x="579287" y="18556"/>
                    </a:cubicBezTo>
                    <a:cubicBezTo>
                      <a:pt x="629239" y="6423"/>
                      <a:pt x="681332" y="0"/>
                      <a:pt x="73342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Freeform 14">
                <a:extLst>
                  <a:ext uri="{FF2B5EF4-FFF2-40B4-BE49-F238E27FC236}">
                    <a16:creationId xmlns:a16="http://schemas.microsoft.com/office/drawing/2014/main" id="{869690BB-FB9F-5900-D4A6-2F3F398CC786}"/>
                  </a:ext>
                </a:extLst>
              </p:cNvPr>
              <p:cNvSpPr>
                <a:spLocks/>
              </p:cNvSpPr>
              <p:nvPr/>
            </p:nvSpPr>
            <p:spPr bwMode="auto">
              <a:xfrm>
                <a:off x="5521325" y="2725738"/>
                <a:ext cx="1139825" cy="1290638"/>
              </a:xfrm>
              <a:custGeom>
                <a:avLst/>
                <a:gdLst>
                  <a:gd name="connsiteX0" fmla="*/ 958086 w 1139825"/>
                  <a:gd name="connsiteY0" fmla="*/ 833437 h 1290638"/>
                  <a:gd name="connsiteX1" fmla="*/ 950913 w 1139825"/>
                  <a:gd name="connsiteY1" fmla="*/ 840524 h 1290638"/>
                  <a:gd name="connsiteX2" fmla="*/ 950913 w 1139825"/>
                  <a:gd name="connsiteY2" fmla="*/ 905725 h 1290638"/>
                  <a:gd name="connsiteX3" fmla="*/ 958086 w 1139825"/>
                  <a:gd name="connsiteY3" fmla="*/ 912812 h 1290638"/>
                  <a:gd name="connsiteX4" fmla="*/ 1062804 w 1139825"/>
                  <a:gd name="connsiteY4" fmla="*/ 912812 h 1290638"/>
                  <a:gd name="connsiteX5" fmla="*/ 1069976 w 1139825"/>
                  <a:gd name="connsiteY5" fmla="*/ 905725 h 1290638"/>
                  <a:gd name="connsiteX6" fmla="*/ 1069976 w 1139825"/>
                  <a:gd name="connsiteY6" fmla="*/ 840524 h 1290638"/>
                  <a:gd name="connsiteX7" fmla="*/ 1062804 w 1139825"/>
                  <a:gd name="connsiteY7" fmla="*/ 833437 h 1290638"/>
                  <a:gd name="connsiteX8" fmla="*/ 958086 w 1139825"/>
                  <a:gd name="connsiteY8" fmla="*/ 833437 h 1290638"/>
                  <a:gd name="connsiteX9" fmla="*/ 453345 w 1139825"/>
                  <a:gd name="connsiteY9" fmla="*/ 769937 h 1290638"/>
                  <a:gd name="connsiteX10" fmla="*/ 446088 w 1139825"/>
                  <a:gd name="connsiteY10" fmla="*/ 777024 h 1290638"/>
                  <a:gd name="connsiteX11" fmla="*/ 446088 w 1139825"/>
                  <a:gd name="connsiteY11" fmla="*/ 842225 h 1290638"/>
                  <a:gd name="connsiteX12" fmla="*/ 453345 w 1139825"/>
                  <a:gd name="connsiteY12" fmla="*/ 849312 h 1290638"/>
                  <a:gd name="connsiteX13" fmla="*/ 489631 w 1139825"/>
                  <a:gd name="connsiteY13" fmla="*/ 849312 h 1290638"/>
                  <a:gd name="connsiteX14" fmla="*/ 496888 w 1139825"/>
                  <a:gd name="connsiteY14" fmla="*/ 842225 h 1290638"/>
                  <a:gd name="connsiteX15" fmla="*/ 496888 w 1139825"/>
                  <a:gd name="connsiteY15" fmla="*/ 777024 h 1290638"/>
                  <a:gd name="connsiteX16" fmla="*/ 489631 w 1139825"/>
                  <a:gd name="connsiteY16" fmla="*/ 769937 h 1290638"/>
                  <a:gd name="connsiteX17" fmla="*/ 453345 w 1139825"/>
                  <a:gd name="connsiteY17" fmla="*/ 769937 h 1290638"/>
                  <a:gd name="connsiteX18" fmla="*/ 362631 w 1139825"/>
                  <a:gd name="connsiteY18" fmla="*/ 769937 h 1290638"/>
                  <a:gd name="connsiteX19" fmla="*/ 355600 w 1139825"/>
                  <a:gd name="connsiteY19" fmla="*/ 777024 h 1290638"/>
                  <a:gd name="connsiteX20" fmla="*/ 355600 w 1139825"/>
                  <a:gd name="connsiteY20" fmla="*/ 842225 h 1290638"/>
                  <a:gd name="connsiteX21" fmla="*/ 362631 w 1139825"/>
                  <a:gd name="connsiteY21" fmla="*/ 849312 h 1290638"/>
                  <a:gd name="connsiteX22" fmla="*/ 397783 w 1139825"/>
                  <a:gd name="connsiteY22" fmla="*/ 849312 h 1290638"/>
                  <a:gd name="connsiteX23" fmla="*/ 404813 w 1139825"/>
                  <a:gd name="connsiteY23" fmla="*/ 842225 h 1290638"/>
                  <a:gd name="connsiteX24" fmla="*/ 404813 w 1139825"/>
                  <a:gd name="connsiteY24" fmla="*/ 777024 h 1290638"/>
                  <a:gd name="connsiteX25" fmla="*/ 397783 w 1139825"/>
                  <a:gd name="connsiteY25" fmla="*/ 769937 h 1290638"/>
                  <a:gd name="connsiteX26" fmla="*/ 362631 w 1139825"/>
                  <a:gd name="connsiteY26" fmla="*/ 769937 h 1290638"/>
                  <a:gd name="connsiteX27" fmla="*/ 272246 w 1139825"/>
                  <a:gd name="connsiteY27" fmla="*/ 769937 h 1290638"/>
                  <a:gd name="connsiteX28" fmla="*/ 265113 w 1139825"/>
                  <a:gd name="connsiteY28" fmla="*/ 777024 h 1290638"/>
                  <a:gd name="connsiteX29" fmla="*/ 265113 w 1139825"/>
                  <a:gd name="connsiteY29" fmla="*/ 842225 h 1290638"/>
                  <a:gd name="connsiteX30" fmla="*/ 272246 w 1139825"/>
                  <a:gd name="connsiteY30" fmla="*/ 849312 h 1290638"/>
                  <a:gd name="connsiteX31" fmla="*/ 307194 w 1139825"/>
                  <a:gd name="connsiteY31" fmla="*/ 849312 h 1290638"/>
                  <a:gd name="connsiteX32" fmla="*/ 314326 w 1139825"/>
                  <a:gd name="connsiteY32" fmla="*/ 842225 h 1290638"/>
                  <a:gd name="connsiteX33" fmla="*/ 314326 w 1139825"/>
                  <a:gd name="connsiteY33" fmla="*/ 777024 h 1290638"/>
                  <a:gd name="connsiteX34" fmla="*/ 307194 w 1139825"/>
                  <a:gd name="connsiteY34" fmla="*/ 769937 h 1290638"/>
                  <a:gd name="connsiteX35" fmla="*/ 272246 w 1139825"/>
                  <a:gd name="connsiteY35" fmla="*/ 769937 h 1290638"/>
                  <a:gd name="connsiteX36" fmla="*/ 181882 w 1139825"/>
                  <a:gd name="connsiteY36" fmla="*/ 769937 h 1290638"/>
                  <a:gd name="connsiteX37" fmla="*/ 174625 w 1139825"/>
                  <a:gd name="connsiteY37" fmla="*/ 777024 h 1290638"/>
                  <a:gd name="connsiteX38" fmla="*/ 174625 w 1139825"/>
                  <a:gd name="connsiteY38" fmla="*/ 842225 h 1290638"/>
                  <a:gd name="connsiteX39" fmla="*/ 181882 w 1139825"/>
                  <a:gd name="connsiteY39" fmla="*/ 849312 h 1290638"/>
                  <a:gd name="connsiteX40" fmla="*/ 218168 w 1139825"/>
                  <a:gd name="connsiteY40" fmla="*/ 849312 h 1290638"/>
                  <a:gd name="connsiteX41" fmla="*/ 225425 w 1139825"/>
                  <a:gd name="connsiteY41" fmla="*/ 842225 h 1290638"/>
                  <a:gd name="connsiteX42" fmla="*/ 225425 w 1139825"/>
                  <a:gd name="connsiteY42" fmla="*/ 777024 h 1290638"/>
                  <a:gd name="connsiteX43" fmla="*/ 218168 w 1139825"/>
                  <a:gd name="connsiteY43" fmla="*/ 769937 h 1290638"/>
                  <a:gd name="connsiteX44" fmla="*/ 181882 w 1139825"/>
                  <a:gd name="connsiteY44" fmla="*/ 769937 h 1290638"/>
                  <a:gd name="connsiteX45" fmla="*/ 91395 w 1139825"/>
                  <a:gd name="connsiteY45" fmla="*/ 769937 h 1290638"/>
                  <a:gd name="connsiteX46" fmla="*/ 84138 w 1139825"/>
                  <a:gd name="connsiteY46" fmla="*/ 777024 h 1290638"/>
                  <a:gd name="connsiteX47" fmla="*/ 84138 w 1139825"/>
                  <a:gd name="connsiteY47" fmla="*/ 842225 h 1290638"/>
                  <a:gd name="connsiteX48" fmla="*/ 91395 w 1139825"/>
                  <a:gd name="connsiteY48" fmla="*/ 849312 h 1290638"/>
                  <a:gd name="connsiteX49" fmla="*/ 127681 w 1139825"/>
                  <a:gd name="connsiteY49" fmla="*/ 849312 h 1290638"/>
                  <a:gd name="connsiteX50" fmla="*/ 134938 w 1139825"/>
                  <a:gd name="connsiteY50" fmla="*/ 842225 h 1290638"/>
                  <a:gd name="connsiteX51" fmla="*/ 134938 w 1139825"/>
                  <a:gd name="connsiteY51" fmla="*/ 777024 h 1290638"/>
                  <a:gd name="connsiteX52" fmla="*/ 127681 w 1139825"/>
                  <a:gd name="connsiteY52" fmla="*/ 769937 h 1290638"/>
                  <a:gd name="connsiteX53" fmla="*/ 91395 w 1139825"/>
                  <a:gd name="connsiteY53" fmla="*/ 769937 h 1290638"/>
                  <a:gd name="connsiteX54" fmla="*/ 958086 w 1139825"/>
                  <a:gd name="connsiteY54" fmla="*/ 714375 h 1290638"/>
                  <a:gd name="connsiteX55" fmla="*/ 950913 w 1139825"/>
                  <a:gd name="connsiteY55" fmla="*/ 721604 h 1290638"/>
                  <a:gd name="connsiteX56" fmla="*/ 950913 w 1139825"/>
                  <a:gd name="connsiteY56" fmla="*/ 788109 h 1290638"/>
                  <a:gd name="connsiteX57" fmla="*/ 958086 w 1139825"/>
                  <a:gd name="connsiteY57" fmla="*/ 795338 h 1290638"/>
                  <a:gd name="connsiteX58" fmla="*/ 1062804 w 1139825"/>
                  <a:gd name="connsiteY58" fmla="*/ 795338 h 1290638"/>
                  <a:gd name="connsiteX59" fmla="*/ 1069976 w 1139825"/>
                  <a:gd name="connsiteY59" fmla="*/ 788109 h 1290638"/>
                  <a:gd name="connsiteX60" fmla="*/ 1069976 w 1139825"/>
                  <a:gd name="connsiteY60" fmla="*/ 721604 h 1290638"/>
                  <a:gd name="connsiteX61" fmla="*/ 1062804 w 1139825"/>
                  <a:gd name="connsiteY61" fmla="*/ 714375 h 1290638"/>
                  <a:gd name="connsiteX62" fmla="*/ 958086 w 1139825"/>
                  <a:gd name="connsiteY62" fmla="*/ 714375 h 1290638"/>
                  <a:gd name="connsiteX63" fmla="*/ 792890 w 1139825"/>
                  <a:gd name="connsiteY63" fmla="*/ 714375 h 1290638"/>
                  <a:gd name="connsiteX64" fmla="*/ 785813 w 1139825"/>
                  <a:gd name="connsiteY64" fmla="*/ 721604 h 1290638"/>
                  <a:gd name="connsiteX65" fmla="*/ 785813 w 1139825"/>
                  <a:gd name="connsiteY65" fmla="*/ 788109 h 1290638"/>
                  <a:gd name="connsiteX66" fmla="*/ 792890 w 1139825"/>
                  <a:gd name="connsiteY66" fmla="*/ 795338 h 1290638"/>
                  <a:gd name="connsiteX67" fmla="*/ 896211 w 1139825"/>
                  <a:gd name="connsiteY67" fmla="*/ 795338 h 1290638"/>
                  <a:gd name="connsiteX68" fmla="*/ 903288 w 1139825"/>
                  <a:gd name="connsiteY68" fmla="*/ 788109 h 1290638"/>
                  <a:gd name="connsiteX69" fmla="*/ 903288 w 1139825"/>
                  <a:gd name="connsiteY69" fmla="*/ 721604 h 1290638"/>
                  <a:gd name="connsiteX70" fmla="*/ 896211 w 1139825"/>
                  <a:gd name="connsiteY70" fmla="*/ 714375 h 1290638"/>
                  <a:gd name="connsiteX71" fmla="*/ 792890 w 1139825"/>
                  <a:gd name="connsiteY71" fmla="*/ 714375 h 1290638"/>
                  <a:gd name="connsiteX72" fmla="*/ 453345 w 1139825"/>
                  <a:gd name="connsiteY72" fmla="*/ 628650 h 1290638"/>
                  <a:gd name="connsiteX73" fmla="*/ 446088 w 1139825"/>
                  <a:gd name="connsiteY73" fmla="*/ 635801 h 1290638"/>
                  <a:gd name="connsiteX74" fmla="*/ 446088 w 1139825"/>
                  <a:gd name="connsiteY74" fmla="*/ 700874 h 1290638"/>
                  <a:gd name="connsiteX75" fmla="*/ 453345 w 1139825"/>
                  <a:gd name="connsiteY75" fmla="*/ 708025 h 1290638"/>
                  <a:gd name="connsiteX76" fmla="*/ 489631 w 1139825"/>
                  <a:gd name="connsiteY76" fmla="*/ 708025 h 1290638"/>
                  <a:gd name="connsiteX77" fmla="*/ 496888 w 1139825"/>
                  <a:gd name="connsiteY77" fmla="*/ 700874 h 1290638"/>
                  <a:gd name="connsiteX78" fmla="*/ 496888 w 1139825"/>
                  <a:gd name="connsiteY78" fmla="*/ 635801 h 1290638"/>
                  <a:gd name="connsiteX79" fmla="*/ 489631 w 1139825"/>
                  <a:gd name="connsiteY79" fmla="*/ 628650 h 1290638"/>
                  <a:gd name="connsiteX80" fmla="*/ 453345 w 1139825"/>
                  <a:gd name="connsiteY80" fmla="*/ 628650 h 1290638"/>
                  <a:gd name="connsiteX81" fmla="*/ 362631 w 1139825"/>
                  <a:gd name="connsiteY81" fmla="*/ 628650 h 1290638"/>
                  <a:gd name="connsiteX82" fmla="*/ 355600 w 1139825"/>
                  <a:gd name="connsiteY82" fmla="*/ 635801 h 1290638"/>
                  <a:gd name="connsiteX83" fmla="*/ 355600 w 1139825"/>
                  <a:gd name="connsiteY83" fmla="*/ 700874 h 1290638"/>
                  <a:gd name="connsiteX84" fmla="*/ 362631 w 1139825"/>
                  <a:gd name="connsiteY84" fmla="*/ 708025 h 1290638"/>
                  <a:gd name="connsiteX85" fmla="*/ 397783 w 1139825"/>
                  <a:gd name="connsiteY85" fmla="*/ 708025 h 1290638"/>
                  <a:gd name="connsiteX86" fmla="*/ 404813 w 1139825"/>
                  <a:gd name="connsiteY86" fmla="*/ 700874 h 1290638"/>
                  <a:gd name="connsiteX87" fmla="*/ 404813 w 1139825"/>
                  <a:gd name="connsiteY87" fmla="*/ 635801 h 1290638"/>
                  <a:gd name="connsiteX88" fmla="*/ 397783 w 1139825"/>
                  <a:gd name="connsiteY88" fmla="*/ 628650 h 1290638"/>
                  <a:gd name="connsiteX89" fmla="*/ 362631 w 1139825"/>
                  <a:gd name="connsiteY89" fmla="*/ 628650 h 1290638"/>
                  <a:gd name="connsiteX90" fmla="*/ 272246 w 1139825"/>
                  <a:gd name="connsiteY90" fmla="*/ 628650 h 1290638"/>
                  <a:gd name="connsiteX91" fmla="*/ 265113 w 1139825"/>
                  <a:gd name="connsiteY91" fmla="*/ 635801 h 1290638"/>
                  <a:gd name="connsiteX92" fmla="*/ 265113 w 1139825"/>
                  <a:gd name="connsiteY92" fmla="*/ 700874 h 1290638"/>
                  <a:gd name="connsiteX93" fmla="*/ 272246 w 1139825"/>
                  <a:gd name="connsiteY93" fmla="*/ 708025 h 1290638"/>
                  <a:gd name="connsiteX94" fmla="*/ 307194 w 1139825"/>
                  <a:gd name="connsiteY94" fmla="*/ 708025 h 1290638"/>
                  <a:gd name="connsiteX95" fmla="*/ 314326 w 1139825"/>
                  <a:gd name="connsiteY95" fmla="*/ 700874 h 1290638"/>
                  <a:gd name="connsiteX96" fmla="*/ 314326 w 1139825"/>
                  <a:gd name="connsiteY96" fmla="*/ 635801 h 1290638"/>
                  <a:gd name="connsiteX97" fmla="*/ 307194 w 1139825"/>
                  <a:gd name="connsiteY97" fmla="*/ 628650 h 1290638"/>
                  <a:gd name="connsiteX98" fmla="*/ 272246 w 1139825"/>
                  <a:gd name="connsiteY98" fmla="*/ 628650 h 1290638"/>
                  <a:gd name="connsiteX99" fmla="*/ 181882 w 1139825"/>
                  <a:gd name="connsiteY99" fmla="*/ 628650 h 1290638"/>
                  <a:gd name="connsiteX100" fmla="*/ 174625 w 1139825"/>
                  <a:gd name="connsiteY100" fmla="*/ 635801 h 1290638"/>
                  <a:gd name="connsiteX101" fmla="*/ 174625 w 1139825"/>
                  <a:gd name="connsiteY101" fmla="*/ 700874 h 1290638"/>
                  <a:gd name="connsiteX102" fmla="*/ 181882 w 1139825"/>
                  <a:gd name="connsiteY102" fmla="*/ 708025 h 1290638"/>
                  <a:gd name="connsiteX103" fmla="*/ 218168 w 1139825"/>
                  <a:gd name="connsiteY103" fmla="*/ 708025 h 1290638"/>
                  <a:gd name="connsiteX104" fmla="*/ 225425 w 1139825"/>
                  <a:gd name="connsiteY104" fmla="*/ 700874 h 1290638"/>
                  <a:gd name="connsiteX105" fmla="*/ 225425 w 1139825"/>
                  <a:gd name="connsiteY105" fmla="*/ 635801 h 1290638"/>
                  <a:gd name="connsiteX106" fmla="*/ 218168 w 1139825"/>
                  <a:gd name="connsiteY106" fmla="*/ 628650 h 1290638"/>
                  <a:gd name="connsiteX107" fmla="*/ 181882 w 1139825"/>
                  <a:gd name="connsiteY107" fmla="*/ 628650 h 1290638"/>
                  <a:gd name="connsiteX108" fmla="*/ 958086 w 1139825"/>
                  <a:gd name="connsiteY108" fmla="*/ 596900 h 1290638"/>
                  <a:gd name="connsiteX109" fmla="*/ 950913 w 1139825"/>
                  <a:gd name="connsiteY109" fmla="*/ 603987 h 1290638"/>
                  <a:gd name="connsiteX110" fmla="*/ 950913 w 1139825"/>
                  <a:gd name="connsiteY110" fmla="*/ 669188 h 1290638"/>
                  <a:gd name="connsiteX111" fmla="*/ 958086 w 1139825"/>
                  <a:gd name="connsiteY111" fmla="*/ 676275 h 1290638"/>
                  <a:gd name="connsiteX112" fmla="*/ 1062804 w 1139825"/>
                  <a:gd name="connsiteY112" fmla="*/ 676275 h 1290638"/>
                  <a:gd name="connsiteX113" fmla="*/ 1069976 w 1139825"/>
                  <a:gd name="connsiteY113" fmla="*/ 669188 h 1290638"/>
                  <a:gd name="connsiteX114" fmla="*/ 1069976 w 1139825"/>
                  <a:gd name="connsiteY114" fmla="*/ 603987 h 1290638"/>
                  <a:gd name="connsiteX115" fmla="*/ 1062804 w 1139825"/>
                  <a:gd name="connsiteY115" fmla="*/ 596900 h 1290638"/>
                  <a:gd name="connsiteX116" fmla="*/ 958086 w 1139825"/>
                  <a:gd name="connsiteY116" fmla="*/ 596900 h 1290638"/>
                  <a:gd name="connsiteX117" fmla="*/ 792890 w 1139825"/>
                  <a:gd name="connsiteY117" fmla="*/ 596900 h 1290638"/>
                  <a:gd name="connsiteX118" fmla="*/ 785813 w 1139825"/>
                  <a:gd name="connsiteY118" fmla="*/ 603987 h 1290638"/>
                  <a:gd name="connsiteX119" fmla="*/ 785813 w 1139825"/>
                  <a:gd name="connsiteY119" fmla="*/ 669188 h 1290638"/>
                  <a:gd name="connsiteX120" fmla="*/ 792890 w 1139825"/>
                  <a:gd name="connsiteY120" fmla="*/ 676275 h 1290638"/>
                  <a:gd name="connsiteX121" fmla="*/ 896211 w 1139825"/>
                  <a:gd name="connsiteY121" fmla="*/ 676275 h 1290638"/>
                  <a:gd name="connsiteX122" fmla="*/ 903288 w 1139825"/>
                  <a:gd name="connsiteY122" fmla="*/ 669188 h 1290638"/>
                  <a:gd name="connsiteX123" fmla="*/ 903288 w 1139825"/>
                  <a:gd name="connsiteY123" fmla="*/ 603987 h 1290638"/>
                  <a:gd name="connsiteX124" fmla="*/ 896211 w 1139825"/>
                  <a:gd name="connsiteY124" fmla="*/ 596900 h 1290638"/>
                  <a:gd name="connsiteX125" fmla="*/ 792890 w 1139825"/>
                  <a:gd name="connsiteY125" fmla="*/ 596900 h 1290638"/>
                  <a:gd name="connsiteX126" fmla="*/ 453345 w 1139825"/>
                  <a:gd name="connsiteY126" fmla="*/ 487362 h 1290638"/>
                  <a:gd name="connsiteX127" fmla="*/ 446088 w 1139825"/>
                  <a:gd name="connsiteY127" fmla="*/ 494513 h 1290638"/>
                  <a:gd name="connsiteX128" fmla="*/ 446088 w 1139825"/>
                  <a:gd name="connsiteY128" fmla="*/ 559586 h 1290638"/>
                  <a:gd name="connsiteX129" fmla="*/ 453345 w 1139825"/>
                  <a:gd name="connsiteY129" fmla="*/ 566737 h 1290638"/>
                  <a:gd name="connsiteX130" fmla="*/ 489631 w 1139825"/>
                  <a:gd name="connsiteY130" fmla="*/ 566737 h 1290638"/>
                  <a:gd name="connsiteX131" fmla="*/ 496888 w 1139825"/>
                  <a:gd name="connsiteY131" fmla="*/ 559586 h 1290638"/>
                  <a:gd name="connsiteX132" fmla="*/ 496888 w 1139825"/>
                  <a:gd name="connsiteY132" fmla="*/ 494513 h 1290638"/>
                  <a:gd name="connsiteX133" fmla="*/ 489631 w 1139825"/>
                  <a:gd name="connsiteY133" fmla="*/ 487362 h 1290638"/>
                  <a:gd name="connsiteX134" fmla="*/ 453345 w 1139825"/>
                  <a:gd name="connsiteY134" fmla="*/ 487362 h 1290638"/>
                  <a:gd name="connsiteX135" fmla="*/ 362631 w 1139825"/>
                  <a:gd name="connsiteY135" fmla="*/ 487362 h 1290638"/>
                  <a:gd name="connsiteX136" fmla="*/ 355600 w 1139825"/>
                  <a:gd name="connsiteY136" fmla="*/ 494513 h 1290638"/>
                  <a:gd name="connsiteX137" fmla="*/ 355600 w 1139825"/>
                  <a:gd name="connsiteY137" fmla="*/ 559586 h 1290638"/>
                  <a:gd name="connsiteX138" fmla="*/ 362631 w 1139825"/>
                  <a:gd name="connsiteY138" fmla="*/ 566737 h 1290638"/>
                  <a:gd name="connsiteX139" fmla="*/ 397783 w 1139825"/>
                  <a:gd name="connsiteY139" fmla="*/ 566737 h 1290638"/>
                  <a:gd name="connsiteX140" fmla="*/ 404813 w 1139825"/>
                  <a:gd name="connsiteY140" fmla="*/ 559586 h 1290638"/>
                  <a:gd name="connsiteX141" fmla="*/ 404813 w 1139825"/>
                  <a:gd name="connsiteY141" fmla="*/ 494513 h 1290638"/>
                  <a:gd name="connsiteX142" fmla="*/ 397783 w 1139825"/>
                  <a:gd name="connsiteY142" fmla="*/ 487362 h 1290638"/>
                  <a:gd name="connsiteX143" fmla="*/ 362631 w 1139825"/>
                  <a:gd name="connsiteY143" fmla="*/ 487362 h 1290638"/>
                  <a:gd name="connsiteX144" fmla="*/ 272246 w 1139825"/>
                  <a:gd name="connsiteY144" fmla="*/ 487362 h 1290638"/>
                  <a:gd name="connsiteX145" fmla="*/ 265113 w 1139825"/>
                  <a:gd name="connsiteY145" fmla="*/ 494513 h 1290638"/>
                  <a:gd name="connsiteX146" fmla="*/ 265113 w 1139825"/>
                  <a:gd name="connsiteY146" fmla="*/ 559586 h 1290638"/>
                  <a:gd name="connsiteX147" fmla="*/ 272246 w 1139825"/>
                  <a:gd name="connsiteY147" fmla="*/ 566737 h 1290638"/>
                  <a:gd name="connsiteX148" fmla="*/ 307194 w 1139825"/>
                  <a:gd name="connsiteY148" fmla="*/ 566737 h 1290638"/>
                  <a:gd name="connsiteX149" fmla="*/ 314326 w 1139825"/>
                  <a:gd name="connsiteY149" fmla="*/ 559586 h 1290638"/>
                  <a:gd name="connsiteX150" fmla="*/ 314326 w 1139825"/>
                  <a:gd name="connsiteY150" fmla="*/ 494513 h 1290638"/>
                  <a:gd name="connsiteX151" fmla="*/ 307194 w 1139825"/>
                  <a:gd name="connsiteY151" fmla="*/ 487362 h 1290638"/>
                  <a:gd name="connsiteX152" fmla="*/ 272246 w 1139825"/>
                  <a:gd name="connsiteY152" fmla="*/ 487362 h 1290638"/>
                  <a:gd name="connsiteX153" fmla="*/ 958086 w 1139825"/>
                  <a:gd name="connsiteY153" fmla="*/ 477837 h 1290638"/>
                  <a:gd name="connsiteX154" fmla="*/ 950913 w 1139825"/>
                  <a:gd name="connsiteY154" fmla="*/ 484924 h 1290638"/>
                  <a:gd name="connsiteX155" fmla="*/ 950913 w 1139825"/>
                  <a:gd name="connsiteY155" fmla="*/ 550125 h 1290638"/>
                  <a:gd name="connsiteX156" fmla="*/ 958086 w 1139825"/>
                  <a:gd name="connsiteY156" fmla="*/ 557212 h 1290638"/>
                  <a:gd name="connsiteX157" fmla="*/ 1062804 w 1139825"/>
                  <a:gd name="connsiteY157" fmla="*/ 557212 h 1290638"/>
                  <a:gd name="connsiteX158" fmla="*/ 1069976 w 1139825"/>
                  <a:gd name="connsiteY158" fmla="*/ 550125 h 1290638"/>
                  <a:gd name="connsiteX159" fmla="*/ 1069976 w 1139825"/>
                  <a:gd name="connsiteY159" fmla="*/ 484924 h 1290638"/>
                  <a:gd name="connsiteX160" fmla="*/ 1062804 w 1139825"/>
                  <a:gd name="connsiteY160" fmla="*/ 477837 h 1290638"/>
                  <a:gd name="connsiteX161" fmla="*/ 958086 w 1139825"/>
                  <a:gd name="connsiteY161" fmla="*/ 477837 h 1290638"/>
                  <a:gd name="connsiteX162" fmla="*/ 792890 w 1139825"/>
                  <a:gd name="connsiteY162" fmla="*/ 477837 h 1290638"/>
                  <a:gd name="connsiteX163" fmla="*/ 785813 w 1139825"/>
                  <a:gd name="connsiteY163" fmla="*/ 484924 h 1290638"/>
                  <a:gd name="connsiteX164" fmla="*/ 785813 w 1139825"/>
                  <a:gd name="connsiteY164" fmla="*/ 550125 h 1290638"/>
                  <a:gd name="connsiteX165" fmla="*/ 792890 w 1139825"/>
                  <a:gd name="connsiteY165" fmla="*/ 557212 h 1290638"/>
                  <a:gd name="connsiteX166" fmla="*/ 896211 w 1139825"/>
                  <a:gd name="connsiteY166" fmla="*/ 557212 h 1290638"/>
                  <a:gd name="connsiteX167" fmla="*/ 903288 w 1139825"/>
                  <a:gd name="connsiteY167" fmla="*/ 550125 h 1290638"/>
                  <a:gd name="connsiteX168" fmla="*/ 903288 w 1139825"/>
                  <a:gd name="connsiteY168" fmla="*/ 484924 h 1290638"/>
                  <a:gd name="connsiteX169" fmla="*/ 896211 w 1139825"/>
                  <a:gd name="connsiteY169" fmla="*/ 477837 h 1290638"/>
                  <a:gd name="connsiteX170" fmla="*/ 792890 w 1139825"/>
                  <a:gd name="connsiteY170" fmla="*/ 477837 h 1290638"/>
                  <a:gd name="connsiteX171" fmla="*/ 958086 w 1139825"/>
                  <a:gd name="connsiteY171" fmla="*/ 358775 h 1290638"/>
                  <a:gd name="connsiteX172" fmla="*/ 950913 w 1139825"/>
                  <a:gd name="connsiteY172" fmla="*/ 366004 h 1290638"/>
                  <a:gd name="connsiteX173" fmla="*/ 950913 w 1139825"/>
                  <a:gd name="connsiteY173" fmla="*/ 432509 h 1290638"/>
                  <a:gd name="connsiteX174" fmla="*/ 958086 w 1139825"/>
                  <a:gd name="connsiteY174" fmla="*/ 439738 h 1290638"/>
                  <a:gd name="connsiteX175" fmla="*/ 1062804 w 1139825"/>
                  <a:gd name="connsiteY175" fmla="*/ 439738 h 1290638"/>
                  <a:gd name="connsiteX176" fmla="*/ 1069976 w 1139825"/>
                  <a:gd name="connsiteY176" fmla="*/ 432509 h 1290638"/>
                  <a:gd name="connsiteX177" fmla="*/ 1069976 w 1139825"/>
                  <a:gd name="connsiteY177" fmla="*/ 366004 h 1290638"/>
                  <a:gd name="connsiteX178" fmla="*/ 1062804 w 1139825"/>
                  <a:gd name="connsiteY178" fmla="*/ 358775 h 1290638"/>
                  <a:gd name="connsiteX179" fmla="*/ 958086 w 1139825"/>
                  <a:gd name="connsiteY179" fmla="*/ 358775 h 1290638"/>
                  <a:gd name="connsiteX180" fmla="*/ 792890 w 1139825"/>
                  <a:gd name="connsiteY180" fmla="*/ 358775 h 1290638"/>
                  <a:gd name="connsiteX181" fmla="*/ 785813 w 1139825"/>
                  <a:gd name="connsiteY181" fmla="*/ 366004 h 1290638"/>
                  <a:gd name="connsiteX182" fmla="*/ 785813 w 1139825"/>
                  <a:gd name="connsiteY182" fmla="*/ 432509 h 1290638"/>
                  <a:gd name="connsiteX183" fmla="*/ 792890 w 1139825"/>
                  <a:gd name="connsiteY183" fmla="*/ 439738 h 1290638"/>
                  <a:gd name="connsiteX184" fmla="*/ 896211 w 1139825"/>
                  <a:gd name="connsiteY184" fmla="*/ 439738 h 1290638"/>
                  <a:gd name="connsiteX185" fmla="*/ 903288 w 1139825"/>
                  <a:gd name="connsiteY185" fmla="*/ 432509 h 1290638"/>
                  <a:gd name="connsiteX186" fmla="*/ 903288 w 1139825"/>
                  <a:gd name="connsiteY186" fmla="*/ 366004 h 1290638"/>
                  <a:gd name="connsiteX187" fmla="*/ 896211 w 1139825"/>
                  <a:gd name="connsiteY187" fmla="*/ 358775 h 1290638"/>
                  <a:gd name="connsiteX188" fmla="*/ 792890 w 1139825"/>
                  <a:gd name="connsiteY188" fmla="*/ 358775 h 1290638"/>
                  <a:gd name="connsiteX189" fmla="*/ 453345 w 1139825"/>
                  <a:gd name="connsiteY189" fmla="*/ 346075 h 1290638"/>
                  <a:gd name="connsiteX190" fmla="*/ 446088 w 1139825"/>
                  <a:gd name="connsiteY190" fmla="*/ 353304 h 1290638"/>
                  <a:gd name="connsiteX191" fmla="*/ 446088 w 1139825"/>
                  <a:gd name="connsiteY191" fmla="*/ 419809 h 1290638"/>
                  <a:gd name="connsiteX192" fmla="*/ 453345 w 1139825"/>
                  <a:gd name="connsiteY192" fmla="*/ 427038 h 1290638"/>
                  <a:gd name="connsiteX193" fmla="*/ 489631 w 1139825"/>
                  <a:gd name="connsiteY193" fmla="*/ 427038 h 1290638"/>
                  <a:gd name="connsiteX194" fmla="*/ 496888 w 1139825"/>
                  <a:gd name="connsiteY194" fmla="*/ 419809 h 1290638"/>
                  <a:gd name="connsiteX195" fmla="*/ 496888 w 1139825"/>
                  <a:gd name="connsiteY195" fmla="*/ 353304 h 1290638"/>
                  <a:gd name="connsiteX196" fmla="*/ 489631 w 1139825"/>
                  <a:gd name="connsiteY196" fmla="*/ 346075 h 1290638"/>
                  <a:gd name="connsiteX197" fmla="*/ 453345 w 1139825"/>
                  <a:gd name="connsiteY197" fmla="*/ 346075 h 1290638"/>
                  <a:gd name="connsiteX198" fmla="*/ 362631 w 1139825"/>
                  <a:gd name="connsiteY198" fmla="*/ 346075 h 1290638"/>
                  <a:gd name="connsiteX199" fmla="*/ 355600 w 1139825"/>
                  <a:gd name="connsiteY199" fmla="*/ 353304 h 1290638"/>
                  <a:gd name="connsiteX200" fmla="*/ 355600 w 1139825"/>
                  <a:gd name="connsiteY200" fmla="*/ 419809 h 1290638"/>
                  <a:gd name="connsiteX201" fmla="*/ 362631 w 1139825"/>
                  <a:gd name="connsiteY201" fmla="*/ 427038 h 1290638"/>
                  <a:gd name="connsiteX202" fmla="*/ 397783 w 1139825"/>
                  <a:gd name="connsiteY202" fmla="*/ 427038 h 1290638"/>
                  <a:gd name="connsiteX203" fmla="*/ 404813 w 1139825"/>
                  <a:gd name="connsiteY203" fmla="*/ 419809 h 1290638"/>
                  <a:gd name="connsiteX204" fmla="*/ 404813 w 1139825"/>
                  <a:gd name="connsiteY204" fmla="*/ 353304 h 1290638"/>
                  <a:gd name="connsiteX205" fmla="*/ 397783 w 1139825"/>
                  <a:gd name="connsiteY205" fmla="*/ 346075 h 1290638"/>
                  <a:gd name="connsiteX206" fmla="*/ 362631 w 1139825"/>
                  <a:gd name="connsiteY206" fmla="*/ 346075 h 1290638"/>
                  <a:gd name="connsiteX207" fmla="*/ 285558 w 1139825"/>
                  <a:gd name="connsiteY207" fmla="*/ 266700 h 1290638"/>
                  <a:gd name="connsiteX208" fmla="*/ 573258 w 1139825"/>
                  <a:gd name="connsiteY208" fmla="*/ 266700 h 1290638"/>
                  <a:gd name="connsiteX209" fmla="*/ 588963 w 1139825"/>
                  <a:gd name="connsiteY209" fmla="*/ 282398 h 1290638"/>
                  <a:gd name="connsiteX210" fmla="*/ 588963 w 1139825"/>
                  <a:gd name="connsiteY210" fmla="*/ 858229 h 1290638"/>
                  <a:gd name="connsiteX211" fmla="*/ 566832 w 1139825"/>
                  <a:gd name="connsiteY211" fmla="*/ 861084 h 1290638"/>
                  <a:gd name="connsiteX212" fmla="*/ 491160 w 1139825"/>
                  <a:gd name="connsiteY212" fmla="*/ 874641 h 1290638"/>
                  <a:gd name="connsiteX213" fmla="*/ 305547 w 1139825"/>
                  <a:gd name="connsiteY213" fmla="*/ 950277 h 1290638"/>
                  <a:gd name="connsiteX214" fmla="*/ 285558 w 1139825"/>
                  <a:gd name="connsiteY214" fmla="*/ 962407 h 1290638"/>
                  <a:gd name="connsiteX215" fmla="*/ 284130 w 1139825"/>
                  <a:gd name="connsiteY215" fmla="*/ 958839 h 1290638"/>
                  <a:gd name="connsiteX216" fmla="*/ 240583 w 1139825"/>
                  <a:gd name="connsiteY216" fmla="*/ 930298 h 1290638"/>
                  <a:gd name="connsiteX217" fmla="*/ 185613 w 1139825"/>
                  <a:gd name="connsiteY217" fmla="*/ 930298 h 1290638"/>
                  <a:gd name="connsiteX218" fmla="*/ 138496 w 1139825"/>
                  <a:gd name="connsiteY218" fmla="*/ 973110 h 1290638"/>
                  <a:gd name="connsiteX219" fmla="*/ 107084 w 1139825"/>
                  <a:gd name="connsiteY219" fmla="*/ 1290638 h 1290638"/>
                  <a:gd name="connsiteX220" fmla="*/ 31412 w 1139825"/>
                  <a:gd name="connsiteY220" fmla="*/ 1290638 h 1290638"/>
                  <a:gd name="connsiteX221" fmla="*/ 15706 w 1139825"/>
                  <a:gd name="connsiteY221" fmla="*/ 1290638 h 1290638"/>
                  <a:gd name="connsiteX222" fmla="*/ 0 w 1139825"/>
                  <a:gd name="connsiteY222" fmla="*/ 1290638 h 1290638"/>
                  <a:gd name="connsiteX223" fmla="*/ 0 w 1139825"/>
                  <a:gd name="connsiteY223" fmla="*/ 788302 h 1290638"/>
                  <a:gd name="connsiteX224" fmla="*/ 2142 w 1139825"/>
                  <a:gd name="connsiteY224" fmla="*/ 780453 h 1290638"/>
                  <a:gd name="connsiteX225" fmla="*/ 269852 w 1139825"/>
                  <a:gd name="connsiteY225" fmla="*/ 343763 h 1290638"/>
                  <a:gd name="connsiteX226" fmla="*/ 269852 w 1139825"/>
                  <a:gd name="connsiteY226" fmla="*/ 282398 h 1290638"/>
                  <a:gd name="connsiteX227" fmla="*/ 285558 w 1139825"/>
                  <a:gd name="connsiteY227" fmla="*/ 266700 h 1290638"/>
                  <a:gd name="connsiteX228" fmla="*/ 958086 w 1139825"/>
                  <a:gd name="connsiteY228" fmla="*/ 241300 h 1290638"/>
                  <a:gd name="connsiteX229" fmla="*/ 950913 w 1139825"/>
                  <a:gd name="connsiteY229" fmla="*/ 248387 h 1290638"/>
                  <a:gd name="connsiteX230" fmla="*/ 950913 w 1139825"/>
                  <a:gd name="connsiteY230" fmla="*/ 313588 h 1290638"/>
                  <a:gd name="connsiteX231" fmla="*/ 958086 w 1139825"/>
                  <a:gd name="connsiteY231" fmla="*/ 320675 h 1290638"/>
                  <a:gd name="connsiteX232" fmla="*/ 1062804 w 1139825"/>
                  <a:gd name="connsiteY232" fmla="*/ 320675 h 1290638"/>
                  <a:gd name="connsiteX233" fmla="*/ 1069976 w 1139825"/>
                  <a:gd name="connsiteY233" fmla="*/ 313588 h 1290638"/>
                  <a:gd name="connsiteX234" fmla="*/ 1069976 w 1139825"/>
                  <a:gd name="connsiteY234" fmla="*/ 248387 h 1290638"/>
                  <a:gd name="connsiteX235" fmla="*/ 1062804 w 1139825"/>
                  <a:gd name="connsiteY235" fmla="*/ 241300 h 1290638"/>
                  <a:gd name="connsiteX236" fmla="*/ 958086 w 1139825"/>
                  <a:gd name="connsiteY236" fmla="*/ 241300 h 1290638"/>
                  <a:gd name="connsiteX237" fmla="*/ 792890 w 1139825"/>
                  <a:gd name="connsiteY237" fmla="*/ 241300 h 1290638"/>
                  <a:gd name="connsiteX238" fmla="*/ 785813 w 1139825"/>
                  <a:gd name="connsiteY238" fmla="*/ 248387 h 1290638"/>
                  <a:gd name="connsiteX239" fmla="*/ 785813 w 1139825"/>
                  <a:gd name="connsiteY239" fmla="*/ 313588 h 1290638"/>
                  <a:gd name="connsiteX240" fmla="*/ 792890 w 1139825"/>
                  <a:gd name="connsiteY240" fmla="*/ 320675 h 1290638"/>
                  <a:gd name="connsiteX241" fmla="*/ 896211 w 1139825"/>
                  <a:gd name="connsiteY241" fmla="*/ 320675 h 1290638"/>
                  <a:gd name="connsiteX242" fmla="*/ 903288 w 1139825"/>
                  <a:gd name="connsiteY242" fmla="*/ 313588 h 1290638"/>
                  <a:gd name="connsiteX243" fmla="*/ 903288 w 1139825"/>
                  <a:gd name="connsiteY243" fmla="*/ 248387 h 1290638"/>
                  <a:gd name="connsiteX244" fmla="*/ 896211 w 1139825"/>
                  <a:gd name="connsiteY244" fmla="*/ 241300 h 1290638"/>
                  <a:gd name="connsiteX245" fmla="*/ 792890 w 1139825"/>
                  <a:gd name="connsiteY245" fmla="*/ 241300 h 1290638"/>
                  <a:gd name="connsiteX246" fmla="*/ 927458 w 1139825"/>
                  <a:gd name="connsiteY246" fmla="*/ 0 h 1290638"/>
                  <a:gd name="connsiteX247" fmla="*/ 943189 w 1139825"/>
                  <a:gd name="connsiteY247" fmla="*/ 15692 h 1290638"/>
                  <a:gd name="connsiteX248" fmla="*/ 943189 w 1139825"/>
                  <a:gd name="connsiteY248" fmla="*/ 108416 h 1290638"/>
                  <a:gd name="connsiteX249" fmla="*/ 1081192 w 1139825"/>
                  <a:gd name="connsiteY249" fmla="*/ 108416 h 1290638"/>
                  <a:gd name="connsiteX250" fmla="*/ 1096923 w 1139825"/>
                  <a:gd name="connsiteY250" fmla="*/ 124107 h 1290638"/>
                  <a:gd name="connsiteX251" fmla="*/ 1096923 w 1139825"/>
                  <a:gd name="connsiteY251" fmla="*/ 169043 h 1290638"/>
                  <a:gd name="connsiteX252" fmla="*/ 1124809 w 1139825"/>
                  <a:gd name="connsiteY252" fmla="*/ 169043 h 1290638"/>
                  <a:gd name="connsiteX253" fmla="*/ 1139825 w 1139825"/>
                  <a:gd name="connsiteY253" fmla="*/ 184734 h 1290638"/>
                  <a:gd name="connsiteX254" fmla="*/ 1139825 w 1139825"/>
                  <a:gd name="connsiteY254" fmla="*/ 933656 h 1290638"/>
                  <a:gd name="connsiteX255" fmla="*/ 1126954 w 1139825"/>
                  <a:gd name="connsiteY255" fmla="*/ 931516 h 1290638"/>
                  <a:gd name="connsiteX256" fmla="*/ 1124809 w 1139825"/>
                  <a:gd name="connsiteY256" fmla="*/ 931516 h 1290638"/>
                  <a:gd name="connsiteX257" fmla="*/ 1109078 w 1139825"/>
                  <a:gd name="connsiteY257" fmla="*/ 931516 h 1290638"/>
                  <a:gd name="connsiteX258" fmla="*/ 1071896 w 1139825"/>
                  <a:gd name="connsiteY258" fmla="*/ 931516 h 1290638"/>
                  <a:gd name="connsiteX259" fmla="*/ 1026849 w 1139825"/>
                  <a:gd name="connsiteY259" fmla="*/ 963613 h 1290638"/>
                  <a:gd name="connsiteX260" fmla="*/ 903861 w 1139825"/>
                  <a:gd name="connsiteY260" fmla="*/ 901560 h 1290638"/>
                  <a:gd name="connsiteX261" fmla="*/ 903861 w 1139825"/>
                  <a:gd name="connsiteY261" fmla="*/ 840219 h 1290638"/>
                  <a:gd name="connsiteX262" fmla="*/ 896711 w 1139825"/>
                  <a:gd name="connsiteY262" fmla="*/ 833087 h 1290638"/>
                  <a:gd name="connsiteX263" fmla="*/ 792315 w 1139825"/>
                  <a:gd name="connsiteY263" fmla="*/ 833087 h 1290638"/>
                  <a:gd name="connsiteX264" fmla="*/ 785164 w 1139825"/>
                  <a:gd name="connsiteY264" fmla="*/ 840219 h 1290638"/>
                  <a:gd name="connsiteX265" fmla="*/ 785164 w 1139825"/>
                  <a:gd name="connsiteY265" fmla="*/ 868036 h 1290638"/>
                  <a:gd name="connsiteX266" fmla="*/ 745837 w 1139825"/>
                  <a:gd name="connsiteY266" fmla="*/ 861617 h 1290638"/>
                  <a:gd name="connsiteX267" fmla="*/ 730106 w 1139825"/>
                  <a:gd name="connsiteY267" fmla="*/ 860191 h 1290638"/>
                  <a:gd name="connsiteX268" fmla="*/ 714375 w 1139825"/>
                  <a:gd name="connsiteY268" fmla="*/ 858051 h 1290638"/>
                  <a:gd name="connsiteX269" fmla="*/ 714375 w 1139825"/>
                  <a:gd name="connsiteY269" fmla="*/ 184734 h 1290638"/>
                  <a:gd name="connsiteX270" fmla="*/ 730106 w 1139825"/>
                  <a:gd name="connsiteY270" fmla="*/ 169043 h 1290638"/>
                  <a:gd name="connsiteX271" fmla="*/ 758708 w 1139825"/>
                  <a:gd name="connsiteY271" fmla="*/ 169043 h 1290638"/>
                  <a:gd name="connsiteX272" fmla="*/ 758708 w 1139825"/>
                  <a:gd name="connsiteY272" fmla="*/ 124107 h 1290638"/>
                  <a:gd name="connsiteX273" fmla="*/ 774439 w 1139825"/>
                  <a:gd name="connsiteY273" fmla="*/ 108416 h 1290638"/>
                  <a:gd name="connsiteX274" fmla="*/ 911727 w 1139825"/>
                  <a:gd name="connsiteY274" fmla="*/ 108416 h 1290638"/>
                  <a:gd name="connsiteX275" fmla="*/ 911727 w 1139825"/>
                  <a:gd name="connsiteY275" fmla="*/ 15692 h 1290638"/>
                  <a:gd name="connsiteX276" fmla="*/ 927458 w 1139825"/>
                  <a:gd name="connsiteY276" fmla="*/ 0 h 129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Lst>
                <a:rect l="l" t="t" r="r" b="b"/>
                <a:pathLst>
                  <a:path w="1139825" h="1290638">
                    <a:moveTo>
                      <a:pt x="958086" y="833437"/>
                    </a:moveTo>
                    <a:cubicBezTo>
                      <a:pt x="953782" y="833437"/>
                      <a:pt x="950913" y="836981"/>
                      <a:pt x="950913" y="840524"/>
                    </a:cubicBezTo>
                    <a:cubicBezTo>
                      <a:pt x="950913" y="840524"/>
                      <a:pt x="950913" y="840524"/>
                      <a:pt x="950913" y="905725"/>
                    </a:cubicBezTo>
                    <a:cubicBezTo>
                      <a:pt x="950913" y="909977"/>
                      <a:pt x="953782" y="912812"/>
                      <a:pt x="958086" y="912812"/>
                    </a:cubicBezTo>
                    <a:cubicBezTo>
                      <a:pt x="958086" y="912812"/>
                      <a:pt x="958086" y="912812"/>
                      <a:pt x="1062804" y="912812"/>
                    </a:cubicBezTo>
                    <a:cubicBezTo>
                      <a:pt x="1067107" y="912812"/>
                      <a:pt x="1069976" y="909977"/>
                      <a:pt x="1069976" y="905725"/>
                    </a:cubicBezTo>
                    <a:cubicBezTo>
                      <a:pt x="1069976" y="905725"/>
                      <a:pt x="1069976" y="905725"/>
                      <a:pt x="1069976" y="840524"/>
                    </a:cubicBezTo>
                    <a:cubicBezTo>
                      <a:pt x="1069976" y="836981"/>
                      <a:pt x="1067107" y="833437"/>
                      <a:pt x="1062804" y="833437"/>
                    </a:cubicBezTo>
                    <a:cubicBezTo>
                      <a:pt x="1062804" y="833437"/>
                      <a:pt x="1062804" y="833437"/>
                      <a:pt x="958086" y="833437"/>
                    </a:cubicBezTo>
                    <a:close/>
                    <a:moveTo>
                      <a:pt x="453345" y="769937"/>
                    </a:moveTo>
                    <a:cubicBezTo>
                      <a:pt x="449717" y="769937"/>
                      <a:pt x="446088" y="773481"/>
                      <a:pt x="446088" y="777024"/>
                    </a:cubicBezTo>
                    <a:cubicBezTo>
                      <a:pt x="446088" y="777024"/>
                      <a:pt x="446088" y="777024"/>
                      <a:pt x="446088" y="842225"/>
                    </a:cubicBezTo>
                    <a:cubicBezTo>
                      <a:pt x="446088" y="846477"/>
                      <a:pt x="449717" y="849312"/>
                      <a:pt x="453345" y="849312"/>
                    </a:cubicBezTo>
                    <a:cubicBezTo>
                      <a:pt x="453345" y="849312"/>
                      <a:pt x="453345" y="849312"/>
                      <a:pt x="489631" y="849312"/>
                    </a:cubicBezTo>
                    <a:cubicBezTo>
                      <a:pt x="493985" y="849312"/>
                      <a:pt x="496888" y="846477"/>
                      <a:pt x="496888" y="842225"/>
                    </a:cubicBezTo>
                    <a:cubicBezTo>
                      <a:pt x="496888" y="842225"/>
                      <a:pt x="496888" y="842225"/>
                      <a:pt x="496888" y="777024"/>
                    </a:cubicBezTo>
                    <a:cubicBezTo>
                      <a:pt x="496888" y="773481"/>
                      <a:pt x="493985" y="769937"/>
                      <a:pt x="489631" y="769937"/>
                    </a:cubicBezTo>
                    <a:cubicBezTo>
                      <a:pt x="489631" y="769937"/>
                      <a:pt x="489631" y="769937"/>
                      <a:pt x="453345" y="769937"/>
                    </a:cubicBezTo>
                    <a:close/>
                    <a:moveTo>
                      <a:pt x="362631" y="769937"/>
                    </a:moveTo>
                    <a:cubicBezTo>
                      <a:pt x="359115" y="769937"/>
                      <a:pt x="355600" y="773481"/>
                      <a:pt x="355600" y="777024"/>
                    </a:cubicBezTo>
                    <a:cubicBezTo>
                      <a:pt x="355600" y="777024"/>
                      <a:pt x="355600" y="777024"/>
                      <a:pt x="355600" y="842225"/>
                    </a:cubicBezTo>
                    <a:cubicBezTo>
                      <a:pt x="355600" y="846477"/>
                      <a:pt x="359115" y="849312"/>
                      <a:pt x="362631" y="849312"/>
                    </a:cubicBezTo>
                    <a:cubicBezTo>
                      <a:pt x="362631" y="849312"/>
                      <a:pt x="362631" y="849312"/>
                      <a:pt x="397783" y="849312"/>
                    </a:cubicBezTo>
                    <a:cubicBezTo>
                      <a:pt x="402001" y="849312"/>
                      <a:pt x="404813" y="846477"/>
                      <a:pt x="404813" y="842225"/>
                    </a:cubicBezTo>
                    <a:cubicBezTo>
                      <a:pt x="404813" y="842225"/>
                      <a:pt x="404813" y="842225"/>
                      <a:pt x="404813" y="777024"/>
                    </a:cubicBezTo>
                    <a:cubicBezTo>
                      <a:pt x="404813" y="773481"/>
                      <a:pt x="402001" y="769937"/>
                      <a:pt x="397783" y="769937"/>
                    </a:cubicBezTo>
                    <a:cubicBezTo>
                      <a:pt x="397783" y="769937"/>
                      <a:pt x="397783" y="769937"/>
                      <a:pt x="362631" y="769937"/>
                    </a:cubicBezTo>
                    <a:close/>
                    <a:moveTo>
                      <a:pt x="272246" y="769937"/>
                    </a:moveTo>
                    <a:cubicBezTo>
                      <a:pt x="268679" y="769937"/>
                      <a:pt x="265113" y="773481"/>
                      <a:pt x="265113" y="777024"/>
                    </a:cubicBezTo>
                    <a:cubicBezTo>
                      <a:pt x="265113" y="777024"/>
                      <a:pt x="265113" y="777024"/>
                      <a:pt x="265113" y="842225"/>
                    </a:cubicBezTo>
                    <a:cubicBezTo>
                      <a:pt x="265113" y="846477"/>
                      <a:pt x="268679" y="849312"/>
                      <a:pt x="272246" y="849312"/>
                    </a:cubicBezTo>
                    <a:cubicBezTo>
                      <a:pt x="272246" y="849312"/>
                      <a:pt x="272246" y="849312"/>
                      <a:pt x="307194" y="849312"/>
                    </a:cubicBezTo>
                    <a:cubicBezTo>
                      <a:pt x="311473" y="849312"/>
                      <a:pt x="314326" y="846477"/>
                      <a:pt x="314326" y="842225"/>
                    </a:cubicBezTo>
                    <a:cubicBezTo>
                      <a:pt x="314326" y="842225"/>
                      <a:pt x="314326" y="842225"/>
                      <a:pt x="314326" y="777024"/>
                    </a:cubicBezTo>
                    <a:cubicBezTo>
                      <a:pt x="314326" y="773481"/>
                      <a:pt x="311473" y="769937"/>
                      <a:pt x="307194" y="769937"/>
                    </a:cubicBezTo>
                    <a:cubicBezTo>
                      <a:pt x="307194" y="769937"/>
                      <a:pt x="307194" y="769937"/>
                      <a:pt x="272246" y="769937"/>
                    </a:cubicBezTo>
                    <a:close/>
                    <a:moveTo>
                      <a:pt x="181882" y="769937"/>
                    </a:moveTo>
                    <a:cubicBezTo>
                      <a:pt x="178254" y="769937"/>
                      <a:pt x="174625" y="773481"/>
                      <a:pt x="174625" y="777024"/>
                    </a:cubicBezTo>
                    <a:cubicBezTo>
                      <a:pt x="174625" y="777024"/>
                      <a:pt x="174625" y="777024"/>
                      <a:pt x="174625" y="842225"/>
                    </a:cubicBezTo>
                    <a:cubicBezTo>
                      <a:pt x="174625" y="846477"/>
                      <a:pt x="178254" y="849312"/>
                      <a:pt x="181882" y="849312"/>
                    </a:cubicBezTo>
                    <a:cubicBezTo>
                      <a:pt x="181882" y="849312"/>
                      <a:pt x="181882" y="849312"/>
                      <a:pt x="218168" y="849312"/>
                    </a:cubicBezTo>
                    <a:cubicBezTo>
                      <a:pt x="222522" y="849312"/>
                      <a:pt x="225425" y="846477"/>
                      <a:pt x="225425" y="842225"/>
                    </a:cubicBezTo>
                    <a:cubicBezTo>
                      <a:pt x="225425" y="842225"/>
                      <a:pt x="225425" y="842225"/>
                      <a:pt x="225425" y="777024"/>
                    </a:cubicBezTo>
                    <a:cubicBezTo>
                      <a:pt x="225425" y="773481"/>
                      <a:pt x="222522" y="769937"/>
                      <a:pt x="218168" y="769937"/>
                    </a:cubicBezTo>
                    <a:cubicBezTo>
                      <a:pt x="218168" y="769937"/>
                      <a:pt x="218168" y="769937"/>
                      <a:pt x="181882" y="769937"/>
                    </a:cubicBezTo>
                    <a:close/>
                    <a:moveTo>
                      <a:pt x="91395" y="769937"/>
                    </a:moveTo>
                    <a:cubicBezTo>
                      <a:pt x="87767" y="769937"/>
                      <a:pt x="84138" y="773481"/>
                      <a:pt x="84138" y="777024"/>
                    </a:cubicBezTo>
                    <a:cubicBezTo>
                      <a:pt x="84138" y="777024"/>
                      <a:pt x="84138" y="777024"/>
                      <a:pt x="84138" y="842225"/>
                    </a:cubicBezTo>
                    <a:cubicBezTo>
                      <a:pt x="84138" y="846477"/>
                      <a:pt x="87767" y="849312"/>
                      <a:pt x="91395" y="849312"/>
                    </a:cubicBezTo>
                    <a:cubicBezTo>
                      <a:pt x="91395" y="849312"/>
                      <a:pt x="91395" y="849312"/>
                      <a:pt x="127681" y="849312"/>
                    </a:cubicBezTo>
                    <a:cubicBezTo>
                      <a:pt x="132035" y="849312"/>
                      <a:pt x="134938" y="846477"/>
                      <a:pt x="134938" y="842225"/>
                    </a:cubicBezTo>
                    <a:cubicBezTo>
                      <a:pt x="134938" y="842225"/>
                      <a:pt x="134938" y="842225"/>
                      <a:pt x="134938" y="777024"/>
                    </a:cubicBezTo>
                    <a:cubicBezTo>
                      <a:pt x="134938" y="773481"/>
                      <a:pt x="132035" y="769937"/>
                      <a:pt x="127681" y="769937"/>
                    </a:cubicBezTo>
                    <a:cubicBezTo>
                      <a:pt x="127681" y="769937"/>
                      <a:pt x="127681" y="769937"/>
                      <a:pt x="91395" y="769937"/>
                    </a:cubicBezTo>
                    <a:close/>
                    <a:moveTo>
                      <a:pt x="958086" y="714375"/>
                    </a:moveTo>
                    <a:cubicBezTo>
                      <a:pt x="953782" y="714375"/>
                      <a:pt x="950913" y="717990"/>
                      <a:pt x="950913" y="721604"/>
                    </a:cubicBezTo>
                    <a:cubicBezTo>
                      <a:pt x="950913" y="721604"/>
                      <a:pt x="950913" y="721604"/>
                      <a:pt x="950913" y="788109"/>
                    </a:cubicBezTo>
                    <a:cubicBezTo>
                      <a:pt x="950913" y="792447"/>
                      <a:pt x="953782" y="795338"/>
                      <a:pt x="958086" y="795338"/>
                    </a:cubicBezTo>
                    <a:cubicBezTo>
                      <a:pt x="958086" y="795338"/>
                      <a:pt x="958086" y="795338"/>
                      <a:pt x="1062804" y="795338"/>
                    </a:cubicBezTo>
                    <a:cubicBezTo>
                      <a:pt x="1067107" y="795338"/>
                      <a:pt x="1069976" y="792447"/>
                      <a:pt x="1069976" y="788109"/>
                    </a:cubicBezTo>
                    <a:cubicBezTo>
                      <a:pt x="1069976" y="788109"/>
                      <a:pt x="1069976" y="788109"/>
                      <a:pt x="1069976" y="721604"/>
                    </a:cubicBezTo>
                    <a:cubicBezTo>
                      <a:pt x="1069976" y="717990"/>
                      <a:pt x="1067107" y="714375"/>
                      <a:pt x="1062804" y="714375"/>
                    </a:cubicBezTo>
                    <a:cubicBezTo>
                      <a:pt x="1062804" y="714375"/>
                      <a:pt x="1062804" y="714375"/>
                      <a:pt x="958086" y="714375"/>
                    </a:cubicBezTo>
                    <a:close/>
                    <a:moveTo>
                      <a:pt x="792890" y="714375"/>
                    </a:moveTo>
                    <a:cubicBezTo>
                      <a:pt x="788644" y="714375"/>
                      <a:pt x="785813" y="717990"/>
                      <a:pt x="785813" y="721604"/>
                    </a:cubicBezTo>
                    <a:cubicBezTo>
                      <a:pt x="785813" y="721604"/>
                      <a:pt x="785813" y="721604"/>
                      <a:pt x="785813" y="788109"/>
                    </a:cubicBezTo>
                    <a:cubicBezTo>
                      <a:pt x="785813" y="792447"/>
                      <a:pt x="788644" y="795338"/>
                      <a:pt x="792890" y="795338"/>
                    </a:cubicBezTo>
                    <a:cubicBezTo>
                      <a:pt x="792890" y="795338"/>
                      <a:pt x="792890" y="795338"/>
                      <a:pt x="896211" y="795338"/>
                    </a:cubicBezTo>
                    <a:cubicBezTo>
                      <a:pt x="899750" y="795338"/>
                      <a:pt x="903288" y="792447"/>
                      <a:pt x="903288" y="788109"/>
                    </a:cubicBezTo>
                    <a:cubicBezTo>
                      <a:pt x="903288" y="788109"/>
                      <a:pt x="903288" y="788109"/>
                      <a:pt x="903288" y="721604"/>
                    </a:cubicBezTo>
                    <a:cubicBezTo>
                      <a:pt x="903288" y="717990"/>
                      <a:pt x="899750" y="714375"/>
                      <a:pt x="896211" y="714375"/>
                    </a:cubicBezTo>
                    <a:cubicBezTo>
                      <a:pt x="896211" y="714375"/>
                      <a:pt x="896211" y="714375"/>
                      <a:pt x="792890" y="714375"/>
                    </a:cubicBezTo>
                    <a:close/>
                    <a:moveTo>
                      <a:pt x="453345" y="628650"/>
                    </a:moveTo>
                    <a:cubicBezTo>
                      <a:pt x="449717" y="628650"/>
                      <a:pt x="446088" y="631510"/>
                      <a:pt x="446088" y="635801"/>
                    </a:cubicBezTo>
                    <a:cubicBezTo>
                      <a:pt x="446088" y="635801"/>
                      <a:pt x="446088" y="635801"/>
                      <a:pt x="446088" y="700874"/>
                    </a:cubicBezTo>
                    <a:cubicBezTo>
                      <a:pt x="446088" y="704450"/>
                      <a:pt x="449717" y="708025"/>
                      <a:pt x="453345" y="708025"/>
                    </a:cubicBezTo>
                    <a:cubicBezTo>
                      <a:pt x="453345" y="708025"/>
                      <a:pt x="453345" y="708025"/>
                      <a:pt x="489631" y="708025"/>
                    </a:cubicBezTo>
                    <a:cubicBezTo>
                      <a:pt x="493985" y="708025"/>
                      <a:pt x="496888" y="704450"/>
                      <a:pt x="496888" y="700874"/>
                    </a:cubicBezTo>
                    <a:cubicBezTo>
                      <a:pt x="496888" y="700874"/>
                      <a:pt x="496888" y="700874"/>
                      <a:pt x="496888" y="635801"/>
                    </a:cubicBezTo>
                    <a:cubicBezTo>
                      <a:pt x="496888" y="631510"/>
                      <a:pt x="493985" y="628650"/>
                      <a:pt x="489631" y="628650"/>
                    </a:cubicBezTo>
                    <a:cubicBezTo>
                      <a:pt x="489631" y="628650"/>
                      <a:pt x="489631" y="628650"/>
                      <a:pt x="453345" y="628650"/>
                    </a:cubicBezTo>
                    <a:close/>
                    <a:moveTo>
                      <a:pt x="362631" y="628650"/>
                    </a:moveTo>
                    <a:cubicBezTo>
                      <a:pt x="359115" y="628650"/>
                      <a:pt x="355600" y="631510"/>
                      <a:pt x="355600" y="635801"/>
                    </a:cubicBezTo>
                    <a:cubicBezTo>
                      <a:pt x="355600" y="635801"/>
                      <a:pt x="355600" y="635801"/>
                      <a:pt x="355600" y="700874"/>
                    </a:cubicBezTo>
                    <a:cubicBezTo>
                      <a:pt x="355600" y="704450"/>
                      <a:pt x="359115" y="708025"/>
                      <a:pt x="362631" y="708025"/>
                    </a:cubicBezTo>
                    <a:cubicBezTo>
                      <a:pt x="362631" y="708025"/>
                      <a:pt x="362631" y="708025"/>
                      <a:pt x="397783" y="708025"/>
                    </a:cubicBezTo>
                    <a:cubicBezTo>
                      <a:pt x="402001" y="708025"/>
                      <a:pt x="404813" y="704450"/>
                      <a:pt x="404813" y="700874"/>
                    </a:cubicBezTo>
                    <a:cubicBezTo>
                      <a:pt x="404813" y="700874"/>
                      <a:pt x="404813" y="700874"/>
                      <a:pt x="404813" y="635801"/>
                    </a:cubicBezTo>
                    <a:cubicBezTo>
                      <a:pt x="404813" y="631510"/>
                      <a:pt x="402001" y="628650"/>
                      <a:pt x="397783" y="628650"/>
                    </a:cubicBezTo>
                    <a:cubicBezTo>
                      <a:pt x="397783" y="628650"/>
                      <a:pt x="397783" y="628650"/>
                      <a:pt x="362631" y="628650"/>
                    </a:cubicBezTo>
                    <a:close/>
                    <a:moveTo>
                      <a:pt x="272246" y="628650"/>
                    </a:moveTo>
                    <a:cubicBezTo>
                      <a:pt x="268679" y="628650"/>
                      <a:pt x="265113" y="631510"/>
                      <a:pt x="265113" y="635801"/>
                    </a:cubicBezTo>
                    <a:cubicBezTo>
                      <a:pt x="265113" y="635801"/>
                      <a:pt x="265113" y="635801"/>
                      <a:pt x="265113" y="700874"/>
                    </a:cubicBezTo>
                    <a:cubicBezTo>
                      <a:pt x="265113" y="704450"/>
                      <a:pt x="268679" y="708025"/>
                      <a:pt x="272246" y="708025"/>
                    </a:cubicBezTo>
                    <a:cubicBezTo>
                      <a:pt x="272246" y="708025"/>
                      <a:pt x="272246" y="708025"/>
                      <a:pt x="307194" y="708025"/>
                    </a:cubicBezTo>
                    <a:cubicBezTo>
                      <a:pt x="311473" y="708025"/>
                      <a:pt x="314326" y="704450"/>
                      <a:pt x="314326" y="700874"/>
                    </a:cubicBezTo>
                    <a:cubicBezTo>
                      <a:pt x="314326" y="700874"/>
                      <a:pt x="314326" y="700874"/>
                      <a:pt x="314326" y="635801"/>
                    </a:cubicBezTo>
                    <a:cubicBezTo>
                      <a:pt x="314326" y="631510"/>
                      <a:pt x="311473" y="628650"/>
                      <a:pt x="307194" y="628650"/>
                    </a:cubicBezTo>
                    <a:cubicBezTo>
                      <a:pt x="307194" y="628650"/>
                      <a:pt x="307194" y="628650"/>
                      <a:pt x="272246" y="628650"/>
                    </a:cubicBezTo>
                    <a:close/>
                    <a:moveTo>
                      <a:pt x="181882" y="628650"/>
                    </a:moveTo>
                    <a:cubicBezTo>
                      <a:pt x="178254" y="628650"/>
                      <a:pt x="174625" y="631510"/>
                      <a:pt x="174625" y="635801"/>
                    </a:cubicBezTo>
                    <a:cubicBezTo>
                      <a:pt x="174625" y="635801"/>
                      <a:pt x="174625" y="635801"/>
                      <a:pt x="174625" y="700874"/>
                    </a:cubicBezTo>
                    <a:cubicBezTo>
                      <a:pt x="174625" y="704450"/>
                      <a:pt x="178254" y="708025"/>
                      <a:pt x="181882" y="708025"/>
                    </a:cubicBezTo>
                    <a:cubicBezTo>
                      <a:pt x="181882" y="708025"/>
                      <a:pt x="181882" y="708025"/>
                      <a:pt x="218168" y="708025"/>
                    </a:cubicBezTo>
                    <a:cubicBezTo>
                      <a:pt x="222522" y="708025"/>
                      <a:pt x="225425" y="704450"/>
                      <a:pt x="225425" y="700874"/>
                    </a:cubicBezTo>
                    <a:cubicBezTo>
                      <a:pt x="225425" y="700874"/>
                      <a:pt x="225425" y="700874"/>
                      <a:pt x="225425" y="635801"/>
                    </a:cubicBezTo>
                    <a:cubicBezTo>
                      <a:pt x="225425" y="631510"/>
                      <a:pt x="222522" y="628650"/>
                      <a:pt x="218168" y="628650"/>
                    </a:cubicBezTo>
                    <a:cubicBezTo>
                      <a:pt x="218168" y="628650"/>
                      <a:pt x="218168" y="628650"/>
                      <a:pt x="181882" y="628650"/>
                    </a:cubicBezTo>
                    <a:close/>
                    <a:moveTo>
                      <a:pt x="958086" y="596900"/>
                    </a:moveTo>
                    <a:cubicBezTo>
                      <a:pt x="953782" y="596900"/>
                      <a:pt x="950913" y="600444"/>
                      <a:pt x="950913" y="603987"/>
                    </a:cubicBezTo>
                    <a:cubicBezTo>
                      <a:pt x="950913" y="603987"/>
                      <a:pt x="950913" y="603987"/>
                      <a:pt x="950913" y="669188"/>
                    </a:cubicBezTo>
                    <a:cubicBezTo>
                      <a:pt x="950913" y="673440"/>
                      <a:pt x="953782" y="676275"/>
                      <a:pt x="958086" y="676275"/>
                    </a:cubicBezTo>
                    <a:cubicBezTo>
                      <a:pt x="958086" y="676275"/>
                      <a:pt x="958086" y="676275"/>
                      <a:pt x="1062804" y="676275"/>
                    </a:cubicBezTo>
                    <a:cubicBezTo>
                      <a:pt x="1067107" y="676275"/>
                      <a:pt x="1069976" y="673440"/>
                      <a:pt x="1069976" y="669188"/>
                    </a:cubicBezTo>
                    <a:cubicBezTo>
                      <a:pt x="1069976" y="669188"/>
                      <a:pt x="1069976" y="669188"/>
                      <a:pt x="1069976" y="603987"/>
                    </a:cubicBezTo>
                    <a:cubicBezTo>
                      <a:pt x="1069976" y="600444"/>
                      <a:pt x="1067107" y="596900"/>
                      <a:pt x="1062804" y="596900"/>
                    </a:cubicBezTo>
                    <a:cubicBezTo>
                      <a:pt x="1062804" y="596900"/>
                      <a:pt x="1062804" y="596900"/>
                      <a:pt x="958086" y="596900"/>
                    </a:cubicBezTo>
                    <a:close/>
                    <a:moveTo>
                      <a:pt x="792890" y="596900"/>
                    </a:moveTo>
                    <a:cubicBezTo>
                      <a:pt x="788644" y="596900"/>
                      <a:pt x="785813" y="600444"/>
                      <a:pt x="785813" y="603987"/>
                    </a:cubicBezTo>
                    <a:cubicBezTo>
                      <a:pt x="785813" y="603987"/>
                      <a:pt x="785813" y="603987"/>
                      <a:pt x="785813" y="669188"/>
                    </a:cubicBezTo>
                    <a:cubicBezTo>
                      <a:pt x="785813" y="673440"/>
                      <a:pt x="788644" y="676275"/>
                      <a:pt x="792890" y="676275"/>
                    </a:cubicBezTo>
                    <a:cubicBezTo>
                      <a:pt x="792890" y="676275"/>
                      <a:pt x="792890" y="676275"/>
                      <a:pt x="896211" y="676275"/>
                    </a:cubicBezTo>
                    <a:cubicBezTo>
                      <a:pt x="899750" y="676275"/>
                      <a:pt x="903288" y="673440"/>
                      <a:pt x="903288" y="669188"/>
                    </a:cubicBezTo>
                    <a:cubicBezTo>
                      <a:pt x="903288" y="669188"/>
                      <a:pt x="903288" y="669188"/>
                      <a:pt x="903288" y="603987"/>
                    </a:cubicBezTo>
                    <a:cubicBezTo>
                      <a:pt x="903288" y="600444"/>
                      <a:pt x="899750" y="596900"/>
                      <a:pt x="896211" y="596900"/>
                    </a:cubicBezTo>
                    <a:cubicBezTo>
                      <a:pt x="896211" y="596900"/>
                      <a:pt x="896211" y="596900"/>
                      <a:pt x="792890" y="596900"/>
                    </a:cubicBezTo>
                    <a:close/>
                    <a:moveTo>
                      <a:pt x="453345" y="487362"/>
                    </a:moveTo>
                    <a:cubicBezTo>
                      <a:pt x="449717" y="487362"/>
                      <a:pt x="446088" y="490938"/>
                      <a:pt x="446088" y="494513"/>
                    </a:cubicBezTo>
                    <a:cubicBezTo>
                      <a:pt x="446088" y="494513"/>
                      <a:pt x="446088" y="494513"/>
                      <a:pt x="446088" y="559586"/>
                    </a:cubicBezTo>
                    <a:cubicBezTo>
                      <a:pt x="446088" y="563877"/>
                      <a:pt x="449717" y="566737"/>
                      <a:pt x="453345" y="566737"/>
                    </a:cubicBezTo>
                    <a:cubicBezTo>
                      <a:pt x="453345" y="566737"/>
                      <a:pt x="453345" y="566737"/>
                      <a:pt x="489631" y="566737"/>
                    </a:cubicBezTo>
                    <a:cubicBezTo>
                      <a:pt x="493985" y="566737"/>
                      <a:pt x="496888" y="563877"/>
                      <a:pt x="496888" y="559586"/>
                    </a:cubicBezTo>
                    <a:cubicBezTo>
                      <a:pt x="496888" y="559586"/>
                      <a:pt x="496888" y="559586"/>
                      <a:pt x="496888" y="494513"/>
                    </a:cubicBezTo>
                    <a:cubicBezTo>
                      <a:pt x="496888" y="490938"/>
                      <a:pt x="493985" y="487362"/>
                      <a:pt x="489631" y="487362"/>
                    </a:cubicBezTo>
                    <a:cubicBezTo>
                      <a:pt x="489631" y="487362"/>
                      <a:pt x="489631" y="487362"/>
                      <a:pt x="453345" y="487362"/>
                    </a:cubicBezTo>
                    <a:close/>
                    <a:moveTo>
                      <a:pt x="362631" y="487362"/>
                    </a:moveTo>
                    <a:cubicBezTo>
                      <a:pt x="359115" y="487362"/>
                      <a:pt x="355600" y="490938"/>
                      <a:pt x="355600" y="494513"/>
                    </a:cubicBezTo>
                    <a:cubicBezTo>
                      <a:pt x="355600" y="494513"/>
                      <a:pt x="355600" y="494513"/>
                      <a:pt x="355600" y="559586"/>
                    </a:cubicBezTo>
                    <a:cubicBezTo>
                      <a:pt x="355600" y="563877"/>
                      <a:pt x="359115" y="566737"/>
                      <a:pt x="362631" y="566737"/>
                    </a:cubicBezTo>
                    <a:cubicBezTo>
                      <a:pt x="362631" y="566737"/>
                      <a:pt x="362631" y="566737"/>
                      <a:pt x="397783" y="566737"/>
                    </a:cubicBezTo>
                    <a:cubicBezTo>
                      <a:pt x="402001" y="566737"/>
                      <a:pt x="404813" y="563877"/>
                      <a:pt x="404813" y="559586"/>
                    </a:cubicBezTo>
                    <a:cubicBezTo>
                      <a:pt x="404813" y="559586"/>
                      <a:pt x="404813" y="559586"/>
                      <a:pt x="404813" y="494513"/>
                    </a:cubicBezTo>
                    <a:cubicBezTo>
                      <a:pt x="404813" y="490938"/>
                      <a:pt x="402001" y="487362"/>
                      <a:pt x="397783" y="487362"/>
                    </a:cubicBezTo>
                    <a:cubicBezTo>
                      <a:pt x="397783" y="487362"/>
                      <a:pt x="397783" y="487362"/>
                      <a:pt x="362631" y="487362"/>
                    </a:cubicBezTo>
                    <a:close/>
                    <a:moveTo>
                      <a:pt x="272246" y="487362"/>
                    </a:moveTo>
                    <a:cubicBezTo>
                      <a:pt x="268679" y="487362"/>
                      <a:pt x="265113" y="490938"/>
                      <a:pt x="265113" y="494513"/>
                    </a:cubicBezTo>
                    <a:cubicBezTo>
                      <a:pt x="265113" y="494513"/>
                      <a:pt x="265113" y="494513"/>
                      <a:pt x="265113" y="559586"/>
                    </a:cubicBezTo>
                    <a:cubicBezTo>
                      <a:pt x="265113" y="563877"/>
                      <a:pt x="268679" y="566737"/>
                      <a:pt x="272246" y="566737"/>
                    </a:cubicBezTo>
                    <a:cubicBezTo>
                      <a:pt x="272246" y="566737"/>
                      <a:pt x="272246" y="566737"/>
                      <a:pt x="307194" y="566737"/>
                    </a:cubicBezTo>
                    <a:cubicBezTo>
                      <a:pt x="311473" y="566737"/>
                      <a:pt x="314326" y="563877"/>
                      <a:pt x="314326" y="559586"/>
                    </a:cubicBezTo>
                    <a:cubicBezTo>
                      <a:pt x="314326" y="559586"/>
                      <a:pt x="314326" y="559586"/>
                      <a:pt x="314326" y="494513"/>
                    </a:cubicBezTo>
                    <a:cubicBezTo>
                      <a:pt x="314326" y="490938"/>
                      <a:pt x="311473" y="487362"/>
                      <a:pt x="307194" y="487362"/>
                    </a:cubicBezTo>
                    <a:cubicBezTo>
                      <a:pt x="307194" y="487362"/>
                      <a:pt x="307194" y="487362"/>
                      <a:pt x="272246" y="487362"/>
                    </a:cubicBezTo>
                    <a:close/>
                    <a:moveTo>
                      <a:pt x="958086" y="477837"/>
                    </a:moveTo>
                    <a:cubicBezTo>
                      <a:pt x="953782" y="477837"/>
                      <a:pt x="950913" y="481381"/>
                      <a:pt x="950913" y="484924"/>
                    </a:cubicBezTo>
                    <a:cubicBezTo>
                      <a:pt x="950913" y="484924"/>
                      <a:pt x="950913" y="484924"/>
                      <a:pt x="950913" y="550125"/>
                    </a:cubicBezTo>
                    <a:cubicBezTo>
                      <a:pt x="950913" y="554377"/>
                      <a:pt x="953782" y="557212"/>
                      <a:pt x="958086" y="557212"/>
                    </a:cubicBezTo>
                    <a:cubicBezTo>
                      <a:pt x="958086" y="557212"/>
                      <a:pt x="958086" y="557212"/>
                      <a:pt x="1062804" y="557212"/>
                    </a:cubicBezTo>
                    <a:cubicBezTo>
                      <a:pt x="1067107" y="557212"/>
                      <a:pt x="1069976" y="554377"/>
                      <a:pt x="1069976" y="550125"/>
                    </a:cubicBezTo>
                    <a:cubicBezTo>
                      <a:pt x="1069976" y="550125"/>
                      <a:pt x="1069976" y="550125"/>
                      <a:pt x="1069976" y="484924"/>
                    </a:cubicBezTo>
                    <a:cubicBezTo>
                      <a:pt x="1069976" y="481381"/>
                      <a:pt x="1067107" y="477837"/>
                      <a:pt x="1062804" y="477837"/>
                    </a:cubicBezTo>
                    <a:cubicBezTo>
                      <a:pt x="1062804" y="477837"/>
                      <a:pt x="1062804" y="477837"/>
                      <a:pt x="958086" y="477837"/>
                    </a:cubicBezTo>
                    <a:close/>
                    <a:moveTo>
                      <a:pt x="792890" y="477837"/>
                    </a:moveTo>
                    <a:cubicBezTo>
                      <a:pt x="788644" y="477837"/>
                      <a:pt x="785813" y="481381"/>
                      <a:pt x="785813" y="484924"/>
                    </a:cubicBezTo>
                    <a:cubicBezTo>
                      <a:pt x="785813" y="484924"/>
                      <a:pt x="785813" y="484924"/>
                      <a:pt x="785813" y="550125"/>
                    </a:cubicBezTo>
                    <a:cubicBezTo>
                      <a:pt x="785813" y="554377"/>
                      <a:pt x="788644" y="557212"/>
                      <a:pt x="792890" y="557212"/>
                    </a:cubicBezTo>
                    <a:cubicBezTo>
                      <a:pt x="792890" y="557212"/>
                      <a:pt x="792890" y="557212"/>
                      <a:pt x="896211" y="557212"/>
                    </a:cubicBezTo>
                    <a:cubicBezTo>
                      <a:pt x="899750" y="557212"/>
                      <a:pt x="903288" y="554377"/>
                      <a:pt x="903288" y="550125"/>
                    </a:cubicBezTo>
                    <a:cubicBezTo>
                      <a:pt x="903288" y="550125"/>
                      <a:pt x="903288" y="550125"/>
                      <a:pt x="903288" y="484924"/>
                    </a:cubicBezTo>
                    <a:cubicBezTo>
                      <a:pt x="903288" y="481381"/>
                      <a:pt x="899750" y="477837"/>
                      <a:pt x="896211" y="477837"/>
                    </a:cubicBezTo>
                    <a:cubicBezTo>
                      <a:pt x="896211" y="477837"/>
                      <a:pt x="896211" y="477837"/>
                      <a:pt x="792890" y="477837"/>
                    </a:cubicBezTo>
                    <a:close/>
                    <a:moveTo>
                      <a:pt x="958086" y="358775"/>
                    </a:moveTo>
                    <a:cubicBezTo>
                      <a:pt x="953782" y="358775"/>
                      <a:pt x="950913" y="362390"/>
                      <a:pt x="950913" y="366004"/>
                    </a:cubicBezTo>
                    <a:cubicBezTo>
                      <a:pt x="950913" y="366004"/>
                      <a:pt x="950913" y="366004"/>
                      <a:pt x="950913" y="432509"/>
                    </a:cubicBezTo>
                    <a:cubicBezTo>
                      <a:pt x="950913" y="436847"/>
                      <a:pt x="953782" y="439738"/>
                      <a:pt x="958086" y="439738"/>
                    </a:cubicBezTo>
                    <a:cubicBezTo>
                      <a:pt x="958086" y="439738"/>
                      <a:pt x="958086" y="439738"/>
                      <a:pt x="1062804" y="439738"/>
                    </a:cubicBezTo>
                    <a:cubicBezTo>
                      <a:pt x="1067107" y="439738"/>
                      <a:pt x="1069976" y="436847"/>
                      <a:pt x="1069976" y="432509"/>
                    </a:cubicBezTo>
                    <a:cubicBezTo>
                      <a:pt x="1069976" y="432509"/>
                      <a:pt x="1069976" y="432509"/>
                      <a:pt x="1069976" y="366004"/>
                    </a:cubicBezTo>
                    <a:cubicBezTo>
                      <a:pt x="1069976" y="362390"/>
                      <a:pt x="1067107" y="358775"/>
                      <a:pt x="1062804" y="358775"/>
                    </a:cubicBezTo>
                    <a:cubicBezTo>
                      <a:pt x="1062804" y="358775"/>
                      <a:pt x="1062804" y="358775"/>
                      <a:pt x="958086" y="358775"/>
                    </a:cubicBezTo>
                    <a:close/>
                    <a:moveTo>
                      <a:pt x="792890" y="358775"/>
                    </a:moveTo>
                    <a:cubicBezTo>
                      <a:pt x="788644" y="358775"/>
                      <a:pt x="785813" y="362390"/>
                      <a:pt x="785813" y="366004"/>
                    </a:cubicBezTo>
                    <a:cubicBezTo>
                      <a:pt x="785813" y="366004"/>
                      <a:pt x="785813" y="366004"/>
                      <a:pt x="785813" y="432509"/>
                    </a:cubicBezTo>
                    <a:cubicBezTo>
                      <a:pt x="785813" y="436847"/>
                      <a:pt x="788644" y="439738"/>
                      <a:pt x="792890" y="439738"/>
                    </a:cubicBezTo>
                    <a:cubicBezTo>
                      <a:pt x="792890" y="439738"/>
                      <a:pt x="792890" y="439738"/>
                      <a:pt x="896211" y="439738"/>
                    </a:cubicBezTo>
                    <a:cubicBezTo>
                      <a:pt x="899750" y="439738"/>
                      <a:pt x="903288" y="436847"/>
                      <a:pt x="903288" y="432509"/>
                    </a:cubicBezTo>
                    <a:cubicBezTo>
                      <a:pt x="903288" y="432509"/>
                      <a:pt x="903288" y="432509"/>
                      <a:pt x="903288" y="366004"/>
                    </a:cubicBezTo>
                    <a:cubicBezTo>
                      <a:pt x="903288" y="362390"/>
                      <a:pt x="899750" y="358775"/>
                      <a:pt x="896211" y="358775"/>
                    </a:cubicBezTo>
                    <a:cubicBezTo>
                      <a:pt x="896211" y="358775"/>
                      <a:pt x="896211" y="358775"/>
                      <a:pt x="792890" y="358775"/>
                    </a:cubicBezTo>
                    <a:close/>
                    <a:moveTo>
                      <a:pt x="453345" y="346075"/>
                    </a:moveTo>
                    <a:cubicBezTo>
                      <a:pt x="449717" y="346075"/>
                      <a:pt x="446088" y="348967"/>
                      <a:pt x="446088" y="353304"/>
                    </a:cubicBezTo>
                    <a:cubicBezTo>
                      <a:pt x="446088" y="353304"/>
                      <a:pt x="446088" y="353304"/>
                      <a:pt x="446088" y="419809"/>
                    </a:cubicBezTo>
                    <a:cubicBezTo>
                      <a:pt x="446088" y="423424"/>
                      <a:pt x="449717" y="427038"/>
                      <a:pt x="453345" y="427038"/>
                    </a:cubicBezTo>
                    <a:cubicBezTo>
                      <a:pt x="453345" y="427038"/>
                      <a:pt x="453345" y="427038"/>
                      <a:pt x="489631" y="427038"/>
                    </a:cubicBezTo>
                    <a:cubicBezTo>
                      <a:pt x="493985" y="427038"/>
                      <a:pt x="496888" y="423424"/>
                      <a:pt x="496888" y="419809"/>
                    </a:cubicBezTo>
                    <a:cubicBezTo>
                      <a:pt x="496888" y="419809"/>
                      <a:pt x="496888" y="419809"/>
                      <a:pt x="496888" y="353304"/>
                    </a:cubicBezTo>
                    <a:cubicBezTo>
                      <a:pt x="496888" y="348967"/>
                      <a:pt x="493985" y="346075"/>
                      <a:pt x="489631" y="346075"/>
                    </a:cubicBezTo>
                    <a:cubicBezTo>
                      <a:pt x="489631" y="346075"/>
                      <a:pt x="489631" y="346075"/>
                      <a:pt x="453345" y="346075"/>
                    </a:cubicBezTo>
                    <a:close/>
                    <a:moveTo>
                      <a:pt x="362631" y="346075"/>
                    </a:moveTo>
                    <a:cubicBezTo>
                      <a:pt x="359115" y="346075"/>
                      <a:pt x="355600" y="348967"/>
                      <a:pt x="355600" y="353304"/>
                    </a:cubicBezTo>
                    <a:cubicBezTo>
                      <a:pt x="355600" y="353304"/>
                      <a:pt x="355600" y="353304"/>
                      <a:pt x="355600" y="419809"/>
                    </a:cubicBezTo>
                    <a:cubicBezTo>
                      <a:pt x="355600" y="423424"/>
                      <a:pt x="359115" y="427038"/>
                      <a:pt x="362631" y="427038"/>
                    </a:cubicBezTo>
                    <a:cubicBezTo>
                      <a:pt x="362631" y="427038"/>
                      <a:pt x="362631" y="427038"/>
                      <a:pt x="397783" y="427038"/>
                    </a:cubicBezTo>
                    <a:cubicBezTo>
                      <a:pt x="402001" y="427038"/>
                      <a:pt x="404813" y="423424"/>
                      <a:pt x="404813" y="419809"/>
                    </a:cubicBezTo>
                    <a:cubicBezTo>
                      <a:pt x="404813" y="419809"/>
                      <a:pt x="404813" y="419809"/>
                      <a:pt x="404813" y="353304"/>
                    </a:cubicBezTo>
                    <a:cubicBezTo>
                      <a:pt x="404813" y="348967"/>
                      <a:pt x="402001" y="346075"/>
                      <a:pt x="397783" y="346075"/>
                    </a:cubicBezTo>
                    <a:cubicBezTo>
                      <a:pt x="397783" y="346075"/>
                      <a:pt x="397783" y="346075"/>
                      <a:pt x="362631" y="346075"/>
                    </a:cubicBezTo>
                    <a:close/>
                    <a:moveTo>
                      <a:pt x="285558" y="266700"/>
                    </a:moveTo>
                    <a:cubicBezTo>
                      <a:pt x="285558" y="266700"/>
                      <a:pt x="285558" y="266700"/>
                      <a:pt x="573258" y="266700"/>
                    </a:cubicBezTo>
                    <a:cubicBezTo>
                      <a:pt x="581824" y="266700"/>
                      <a:pt x="588963" y="273836"/>
                      <a:pt x="588963" y="282398"/>
                    </a:cubicBezTo>
                    <a:cubicBezTo>
                      <a:pt x="588963" y="282398"/>
                      <a:pt x="588963" y="282398"/>
                      <a:pt x="588963" y="858229"/>
                    </a:cubicBezTo>
                    <a:cubicBezTo>
                      <a:pt x="581110" y="858943"/>
                      <a:pt x="573971" y="860370"/>
                      <a:pt x="566832" y="861084"/>
                    </a:cubicBezTo>
                    <a:cubicBezTo>
                      <a:pt x="541846" y="863938"/>
                      <a:pt x="516146" y="868933"/>
                      <a:pt x="491160" y="874641"/>
                    </a:cubicBezTo>
                    <a:cubicBezTo>
                      <a:pt x="425481" y="891053"/>
                      <a:pt x="363373" y="916027"/>
                      <a:pt x="305547" y="950277"/>
                    </a:cubicBezTo>
                    <a:cubicBezTo>
                      <a:pt x="299122" y="953845"/>
                      <a:pt x="291983" y="958126"/>
                      <a:pt x="285558" y="962407"/>
                    </a:cubicBezTo>
                    <a:cubicBezTo>
                      <a:pt x="284844" y="961694"/>
                      <a:pt x="284130" y="960267"/>
                      <a:pt x="284130" y="958839"/>
                    </a:cubicBezTo>
                    <a:cubicBezTo>
                      <a:pt x="276991" y="941714"/>
                      <a:pt x="259858" y="930298"/>
                      <a:pt x="240583" y="930298"/>
                    </a:cubicBezTo>
                    <a:cubicBezTo>
                      <a:pt x="240583" y="930298"/>
                      <a:pt x="240583" y="930298"/>
                      <a:pt x="185613" y="930298"/>
                    </a:cubicBezTo>
                    <a:cubicBezTo>
                      <a:pt x="161340" y="930298"/>
                      <a:pt x="140637" y="948850"/>
                      <a:pt x="138496" y="973110"/>
                    </a:cubicBezTo>
                    <a:cubicBezTo>
                      <a:pt x="138496" y="973110"/>
                      <a:pt x="138496" y="973110"/>
                      <a:pt x="107084" y="1290638"/>
                    </a:cubicBezTo>
                    <a:cubicBezTo>
                      <a:pt x="107084" y="1290638"/>
                      <a:pt x="107084" y="1290638"/>
                      <a:pt x="31412" y="1290638"/>
                    </a:cubicBezTo>
                    <a:cubicBezTo>
                      <a:pt x="31412" y="1290638"/>
                      <a:pt x="31412" y="1290638"/>
                      <a:pt x="15706" y="1290638"/>
                    </a:cubicBezTo>
                    <a:cubicBezTo>
                      <a:pt x="15706" y="1290638"/>
                      <a:pt x="15706" y="1290638"/>
                      <a:pt x="0" y="1290638"/>
                    </a:cubicBezTo>
                    <a:cubicBezTo>
                      <a:pt x="0" y="1290638"/>
                      <a:pt x="0" y="1290638"/>
                      <a:pt x="0" y="788302"/>
                    </a:cubicBezTo>
                    <a:cubicBezTo>
                      <a:pt x="0" y="785448"/>
                      <a:pt x="714" y="782594"/>
                      <a:pt x="2142" y="780453"/>
                    </a:cubicBezTo>
                    <a:cubicBezTo>
                      <a:pt x="2142" y="780453"/>
                      <a:pt x="2142" y="780453"/>
                      <a:pt x="269852" y="343763"/>
                    </a:cubicBezTo>
                    <a:cubicBezTo>
                      <a:pt x="269852" y="343763"/>
                      <a:pt x="269852" y="343763"/>
                      <a:pt x="269852" y="282398"/>
                    </a:cubicBezTo>
                    <a:cubicBezTo>
                      <a:pt x="269852" y="273836"/>
                      <a:pt x="276991" y="266700"/>
                      <a:pt x="285558" y="266700"/>
                    </a:cubicBezTo>
                    <a:close/>
                    <a:moveTo>
                      <a:pt x="958086" y="241300"/>
                    </a:moveTo>
                    <a:cubicBezTo>
                      <a:pt x="953782" y="241300"/>
                      <a:pt x="950913" y="244844"/>
                      <a:pt x="950913" y="248387"/>
                    </a:cubicBezTo>
                    <a:cubicBezTo>
                      <a:pt x="950913" y="248387"/>
                      <a:pt x="950913" y="248387"/>
                      <a:pt x="950913" y="313588"/>
                    </a:cubicBezTo>
                    <a:cubicBezTo>
                      <a:pt x="950913" y="317840"/>
                      <a:pt x="953782" y="320675"/>
                      <a:pt x="958086" y="320675"/>
                    </a:cubicBezTo>
                    <a:cubicBezTo>
                      <a:pt x="958086" y="320675"/>
                      <a:pt x="958086" y="320675"/>
                      <a:pt x="1062804" y="320675"/>
                    </a:cubicBezTo>
                    <a:cubicBezTo>
                      <a:pt x="1067107" y="320675"/>
                      <a:pt x="1069976" y="317840"/>
                      <a:pt x="1069976" y="313588"/>
                    </a:cubicBezTo>
                    <a:cubicBezTo>
                      <a:pt x="1069976" y="313588"/>
                      <a:pt x="1069976" y="313588"/>
                      <a:pt x="1069976" y="248387"/>
                    </a:cubicBezTo>
                    <a:cubicBezTo>
                      <a:pt x="1069976" y="244844"/>
                      <a:pt x="1067107" y="241300"/>
                      <a:pt x="1062804" y="241300"/>
                    </a:cubicBezTo>
                    <a:cubicBezTo>
                      <a:pt x="1062804" y="241300"/>
                      <a:pt x="1062804" y="241300"/>
                      <a:pt x="958086" y="241300"/>
                    </a:cubicBezTo>
                    <a:close/>
                    <a:moveTo>
                      <a:pt x="792890" y="241300"/>
                    </a:moveTo>
                    <a:cubicBezTo>
                      <a:pt x="788644" y="241300"/>
                      <a:pt x="785813" y="244844"/>
                      <a:pt x="785813" y="248387"/>
                    </a:cubicBezTo>
                    <a:cubicBezTo>
                      <a:pt x="785813" y="248387"/>
                      <a:pt x="785813" y="248387"/>
                      <a:pt x="785813" y="313588"/>
                    </a:cubicBezTo>
                    <a:cubicBezTo>
                      <a:pt x="785813" y="317840"/>
                      <a:pt x="788644" y="320675"/>
                      <a:pt x="792890" y="320675"/>
                    </a:cubicBezTo>
                    <a:cubicBezTo>
                      <a:pt x="792890" y="320675"/>
                      <a:pt x="792890" y="320675"/>
                      <a:pt x="896211" y="320675"/>
                    </a:cubicBezTo>
                    <a:cubicBezTo>
                      <a:pt x="899750" y="320675"/>
                      <a:pt x="903288" y="317840"/>
                      <a:pt x="903288" y="313588"/>
                    </a:cubicBezTo>
                    <a:cubicBezTo>
                      <a:pt x="903288" y="313588"/>
                      <a:pt x="903288" y="313588"/>
                      <a:pt x="903288" y="248387"/>
                    </a:cubicBezTo>
                    <a:cubicBezTo>
                      <a:pt x="903288" y="244844"/>
                      <a:pt x="899750" y="241300"/>
                      <a:pt x="896211" y="241300"/>
                    </a:cubicBezTo>
                    <a:cubicBezTo>
                      <a:pt x="896211" y="241300"/>
                      <a:pt x="896211" y="241300"/>
                      <a:pt x="792890" y="241300"/>
                    </a:cubicBezTo>
                    <a:close/>
                    <a:moveTo>
                      <a:pt x="927458" y="0"/>
                    </a:moveTo>
                    <a:cubicBezTo>
                      <a:pt x="936038" y="0"/>
                      <a:pt x="943189" y="7133"/>
                      <a:pt x="943189" y="15692"/>
                    </a:cubicBezTo>
                    <a:cubicBezTo>
                      <a:pt x="943189" y="15692"/>
                      <a:pt x="943189" y="15692"/>
                      <a:pt x="943189" y="108416"/>
                    </a:cubicBezTo>
                    <a:cubicBezTo>
                      <a:pt x="943189" y="108416"/>
                      <a:pt x="943189" y="108416"/>
                      <a:pt x="1081192" y="108416"/>
                    </a:cubicBezTo>
                    <a:cubicBezTo>
                      <a:pt x="1089772" y="108416"/>
                      <a:pt x="1096923" y="115548"/>
                      <a:pt x="1096923" y="124107"/>
                    </a:cubicBezTo>
                    <a:cubicBezTo>
                      <a:pt x="1096923" y="124107"/>
                      <a:pt x="1096923" y="124107"/>
                      <a:pt x="1096923" y="169043"/>
                    </a:cubicBezTo>
                    <a:cubicBezTo>
                      <a:pt x="1096923" y="169043"/>
                      <a:pt x="1096923" y="169043"/>
                      <a:pt x="1124809" y="169043"/>
                    </a:cubicBezTo>
                    <a:cubicBezTo>
                      <a:pt x="1132675" y="169043"/>
                      <a:pt x="1139825" y="176175"/>
                      <a:pt x="1139825" y="184734"/>
                    </a:cubicBezTo>
                    <a:cubicBezTo>
                      <a:pt x="1139825" y="184734"/>
                      <a:pt x="1139825" y="184734"/>
                      <a:pt x="1139825" y="933656"/>
                    </a:cubicBezTo>
                    <a:cubicBezTo>
                      <a:pt x="1135535" y="932230"/>
                      <a:pt x="1131960" y="931516"/>
                      <a:pt x="1126954" y="931516"/>
                    </a:cubicBezTo>
                    <a:cubicBezTo>
                      <a:pt x="1126954" y="931516"/>
                      <a:pt x="1126954" y="931516"/>
                      <a:pt x="1124809" y="931516"/>
                    </a:cubicBezTo>
                    <a:cubicBezTo>
                      <a:pt x="1124809" y="931516"/>
                      <a:pt x="1124809" y="931516"/>
                      <a:pt x="1109078" y="931516"/>
                    </a:cubicBezTo>
                    <a:cubicBezTo>
                      <a:pt x="1109078" y="931516"/>
                      <a:pt x="1109078" y="931516"/>
                      <a:pt x="1071896" y="931516"/>
                    </a:cubicBezTo>
                    <a:cubicBezTo>
                      <a:pt x="1051160" y="931516"/>
                      <a:pt x="1033284" y="945068"/>
                      <a:pt x="1026849" y="963613"/>
                    </a:cubicBezTo>
                    <a:cubicBezTo>
                      <a:pt x="988236" y="938649"/>
                      <a:pt x="946764" y="917965"/>
                      <a:pt x="903861" y="901560"/>
                    </a:cubicBezTo>
                    <a:cubicBezTo>
                      <a:pt x="903861" y="901560"/>
                      <a:pt x="903861" y="901560"/>
                      <a:pt x="903861" y="840219"/>
                    </a:cubicBezTo>
                    <a:cubicBezTo>
                      <a:pt x="903861" y="836653"/>
                      <a:pt x="900286" y="833087"/>
                      <a:pt x="896711" y="833087"/>
                    </a:cubicBezTo>
                    <a:cubicBezTo>
                      <a:pt x="896711" y="833087"/>
                      <a:pt x="896711" y="833087"/>
                      <a:pt x="792315" y="833087"/>
                    </a:cubicBezTo>
                    <a:cubicBezTo>
                      <a:pt x="788025" y="833087"/>
                      <a:pt x="785164" y="836653"/>
                      <a:pt x="785164" y="840219"/>
                    </a:cubicBezTo>
                    <a:cubicBezTo>
                      <a:pt x="785164" y="840219"/>
                      <a:pt x="785164" y="840219"/>
                      <a:pt x="785164" y="868036"/>
                    </a:cubicBezTo>
                    <a:cubicBezTo>
                      <a:pt x="772294" y="865183"/>
                      <a:pt x="758708" y="863044"/>
                      <a:pt x="745837" y="861617"/>
                    </a:cubicBezTo>
                    <a:cubicBezTo>
                      <a:pt x="740832" y="860904"/>
                      <a:pt x="735111" y="860191"/>
                      <a:pt x="730106" y="860191"/>
                    </a:cubicBezTo>
                    <a:cubicBezTo>
                      <a:pt x="725101" y="859477"/>
                      <a:pt x="719381" y="858764"/>
                      <a:pt x="714375" y="858051"/>
                    </a:cubicBezTo>
                    <a:cubicBezTo>
                      <a:pt x="714375" y="858051"/>
                      <a:pt x="714375" y="858051"/>
                      <a:pt x="714375" y="184734"/>
                    </a:cubicBezTo>
                    <a:cubicBezTo>
                      <a:pt x="714375" y="176175"/>
                      <a:pt x="721526" y="169043"/>
                      <a:pt x="730106" y="169043"/>
                    </a:cubicBezTo>
                    <a:cubicBezTo>
                      <a:pt x="730106" y="169043"/>
                      <a:pt x="730106" y="169043"/>
                      <a:pt x="758708" y="169043"/>
                    </a:cubicBezTo>
                    <a:cubicBezTo>
                      <a:pt x="758708" y="169043"/>
                      <a:pt x="758708" y="169043"/>
                      <a:pt x="758708" y="124107"/>
                    </a:cubicBezTo>
                    <a:cubicBezTo>
                      <a:pt x="758708" y="115548"/>
                      <a:pt x="765858" y="108416"/>
                      <a:pt x="774439" y="108416"/>
                    </a:cubicBezTo>
                    <a:cubicBezTo>
                      <a:pt x="774439" y="108416"/>
                      <a:pt x="774439" y="108416"/>
                      <a:pt x="911727" y="108416"/>
                    </a:cubicBezTo>
                    <a:cubicBezTo>
                      <a:pt x="911727" y="108416"/>
                      <a:pt x="911727" y="108416"/>
                      <a:pt x="911727" y="15692"/>
                    </a:cubicBezTo>
                    <a:cubicBezTo>
                      <a:pt x="911727" y="7133"/>
                      <a:pt x="918877" y="0"/>
                      <a:pt x="92745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grpSp>
      </p:grpSp>
      <p:grpSp>
        <p:nvGrpSpPr>
          <p:cNvPr id="4" name="bcgIcons_Large Group of People/Public ">
            <a:extLst>
              <a:ext uri="{FF2B5EF4-FFF2-40B4-BE49-F238E27FC236}">
                <a16:creationId xmlns:a16="http://schemas.microsoft.com/office/drawing/2014/main" id="{479A0F22-70DE-3CFF-DA21-0399DC56190C}"/>
              </a:ext>
            </a:extLst>
          </p:cNvPr>
          <p:cNvGrpSpPr>
            <a:grpSpLocks noChangeAspect="1"/>
          </p:cNvGrpSpPr>
          <p:nvPr/>
        </p:nvGrpSpPr>
        <p:grpSpPr>
          <a:xfrm>
            <a:off x="6956987" y="2402138"/>
            <a:ext cx="1188280" cy="1189381"/>
            <a:chOff x="5273803" y="2606040"/>
            <a:chExt cx="1644396" cy="1645920"/>
          </a:xfrm>
        </p:grpSpPr>
        <p:sp>
          <p:nvSpPr>
            <p:cNvPr id="5" name="AutoShape 18">
              <a:extLst>
                <a:ext uri="{FF2B5EF4-FFF2-40B4-BE49-F238E27FC236}">
                  <a16:creationId xmlns:a16="http://schemas.microsoft.com/office/drawing/2014/main" id="{28D0D87C-E1A2-F818-20E6-DFD8A14F43DA}"/>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6" name="Group 5">
              <a:extLst>
                <a:ext uri="{FF2B5EF4-FFF2-40B4-BE49-F238E27FC236}">
                  <a16:creationId xmlns:a16="http://schemas.microsoft.com/office/drawing/2014/main" id="{2A637E1A-A468-CC4F-EEB8-342FF6C1672E}"/>
                </a:ext>
              </a:extLst>
            </p:cNvPr>
            <p:cNvGrpSpPr/>
            <p:nvPr/>
          </p:nvGrpSpPr>
          <p:grpSpPr>
            <a:xfrm>
              <a:off x="5336668" y="2770251"/>
              <a:ext cx="1515999" cy="1311783"/>
              <a:chOff x="5336668" y="2770251"/>
              <a:chExt cx="1515999" cy="1311783"/>
            </a:xfrm>
          </p:grpSpPr>
          <p:sp>
            <p:nvSpPr>
              <p:cNvPr id="7" name="Freeform 20">
                <a:extLst>
                  <a:ext uri="{FF2B5EF4-FFF2-40B4-BE49-F238E27FC236}">
                    <a16:creationId xmlns:a16="http://schemas.microsoft.com/office/drawing/2014/main" id="{8C409E8F-CBDC-67B1-2456-81BED963645E}"/>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8" name="Freeform 21">
                <a:extLst>
                  <a:ext uri="{FF2B5EF4-FFF2-40B4-BE49-F238E27FC236}">
                    <a16:creationId xmlns:a16="http://schemas.microsoft.com/office/drawing/2014/main" id="{B583B759-2C0B-FF11-75D4-4719D37C1C28}"/>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grpSp>
      </p:grpSp>
      <p:grpSp>
        <p:nvGrpSpPr>
          <p:cNvPr id="11" name="bcgIcons_Geopolitics ">
            <a:extLst>
              <a:ext uri="{FF2B5EF4-FFF2-40B4-BE49-F238E27FC236}">
                <a16:creationId xmlns:a16="http://schemas.microsoft.com/office/drawing/2014/main" id="{098B4B3E-9F99-E7D8-2F1C-F6B705F5633F}"/>
              </a:ext>
            </a:extLst>
          </p:cNvPr>
          <p:cNvGrpSpPr>
            <a:grpSpLocks noChangeAspect="1"/>
          </p:cNvGrpSpPr>
          <p:nvPr/>
        </p:nvGrpSpPr>
        <p:grpSpPr bwMode="auto">
          <a:xfrm>
            <a:off x="9623327" y="2300858"/>
            <a:ext cx="1497318" cy="1498706"/>
            <a:chOff x="1682" y="0"/>
            <a:chExt cx="4316" cy="4320"/>
          </a:xfrm>
        </p:grpSpPr>
        <p:sp>
          <p:nvSpPr>
            <p:cNvPr id="17" name="AutoShape 3">
              <a:extLst>
                <a:ext uri="{FF2B5EF4-FFF2-40B4-BE49-F238E27FC236}">
                  <a16:creationId xmlns:a16="http://schemas.microsoft.com/office/drawing/2014/main" id="{EB24FE26-DB7B-F8E8-BAEA-0EC0C36532C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8" name="Freeform 5">
              <a:extLst>
                <a:ext uri="{FF2B5EF4-FFF2-40B4-BE49-F238E27FC236}">
                  <a16:creationId xmlns:a16="http://schemas.microsoft.com/office/drawing/2014/main" id="{388DC628-4C29-42F9-73E3-11490D6F192F}"/>
                </a:ext>
              </a:extLst>
            </p:cNvPr>
            <p:cNvSpPr>
              <a:spLocks noEditPoints="1"/>
            </p:cNvSpPr>
            <p:nvPr/>
          </p:nvSpPr>
          <p:spPr bwMode="auto">
            <a:xfrm>
              <a:off x="2295" y="611"/>
              <a:ext cx="3094" cy="3098"/>
            </a:xfrm>
            <a:custGeom>
              <a:avLst/>
              <a:gdLst>
                <a:gd name="T0" fmla="*/ 769 w 1652"/>
                <a:gd name="T1" fmla="*/ 804 h 1652"/>
                <a:gd name="T2" fmla="*/ 382 w 1652"/>
                <a:gd name="T3" fmla="*/ 579 h 1652"/>
                <a:gd name="T4" fmla="*/ 475 w 1652"/>
                <a:gd name="T5" fmla="*/ 375 h 1652"/>
                <a:gd name="T6" fmla="*/ 804 w 1652"/>
                <a:gd name="T7" fmla="*/ 452 h 1652"/>
                <a:gd name="T8" fmla="*/ 882 w 1652"/>
                <a:gd name="T9" fmla="*/ 372 h 1652"/>
                <a:gd name="T10" fmla="*/ 1074 w 1652"/>
                <a:gd name="T11" fmla="*/ 339 h 1652"/>
                <a:gd name="T12" fmla="*/ 909 w 1652"/>
                <a:gd name="T13" fmla="*/ 4 h 1652"/>
                <a:gd name="T14" fmla="*/ 848 w 1652"/>
                <a:gd name="T15" fmla="*/ 338 h 1652"/>
                <a:gd name="T16" fmla="*/ 1251 w 1652"/>
                <a:gd name="T17" fmla="*/ 490 h 1652"/>
                <a:gd name="T18" fmla="*/ 1084 w 1652"/>
                <a:gd name="T19" fmla="*/ 395 h 1652"/>
                <a:gd name="T20" fmla="*/ 848 w 1652"/>
                <a:gd name="T21" fmla="*/ 452 h 1652"/>
                <a:gd name="T22" fmla="*/ 883 w 1652"/>
                <a:gd name="T23" fmla="*/ 804 h 1652"/>
                <a:gd name="T24" fmla="*/ 1290 w 1652"/>
                <a:gd name="T25" fmla="*/ 770 h 1652"/>
                <a:gd name="T26" fmla="*/ 589 w 1652"/>
                <a:gd name="T27" fmla="*/ 848 h 1652"/>
                <a:gd name="T28" fmla="*/ 427 w 1652"/>
                <a:gd name="T29" fmla="*/ 1252 h 1652"/>
                <a:gd name="T30" fmla="*/ 647 w 1652"/>
                <a:gd name="T31" fmla="*/ 1245 h 1652"/>
                <a:gd name="T32" fmla="*/ 804 w 1652"/>
                <a:gd name="T33" fmla="*/ 883 h 1652"/>
                <a:gd name="T34" fmla="*/ 589 w 1652"/>
                <a:gd name="T35" fmla="*/ 848 h 1652"/>
                <a:gd name="T36" fmla="*/ 1256 w 1652"/>
                <a:gd name="T37" fmla="*/ 848 h 1652"/>
                <a:gd name="T38" fmla="*/ 848 w 1652"/>
                <a:gd name="T39" fmla="*/ 883 h 1652"/>
                <a:gd name="T40" fmla="*/ 1005 w 1652"/>
                <a:gd name="T41" fmla="*/ 1245 h 1652"/>
                <a:gd name="T42" fmla="*/ 1225 w 1652"/>
                <a:gd name="T43" fmla="*/ 1252 h 1652"/>
                <a:gd name="T44" fmla="*/ 1379 w 1652"/>
                <a:gd name="T45" fmla="*/ 339 h 1652"/>
                <a:gd name="T46" fmla="*/ 1334 w 1652"/>
                <a:gd name="T47" fmla="*/ 769 h 1652"/>
                <a:gd name="T48" fmla="*/ 1652 w 1652"/>
                <a:gd name="T49" fmla="*/ 804 h 1652"/>
                <a:gd name="T50" fmla="*/ 1376 w 1652"/>
                <a:gd name="T51" fmla="*/ 306 h 1652"/>
                <a:gd name="T52" fmla="*/ 1151 w 1652"/>
                <a:gd name="T53" fmla="*/ 1421 h 1652"/>
                <a:gd name="T54" fmla="*/ 1166 w 1652"/>
                <a:gd name="T55" fmla="*/ 1319 h 1652"/>
                <a:gd name="T56" fmla="*/ 848 w 1652"/>
                <a:gd name="T57" fmla="*/ 1435 h 1652"/>
                <a:gd name="T58" fmla="*/ 909 w 1652"/>
                <a:gd name="T59" fmla="*/ 1648 h 1652"/>
                <a:gd name="T60" fmla="*/ 1180 w 1652"/>
                <a:gd name="T61" fmla="*/ 193 h 1652"/>
                <a:gd name="T62" fmla="*/ 1360 w 1652"/>
                <a:gd name="T63" fmla="*/ 265 h 1652"/>
                <a:gd name="T64" fmla="*/ 1042 w 1652"/>
                <a:gd name="T65" fmla="*/ 29 h 1652"/>
                <a:gd name="T66" fmla="*/ 1274 w 1652"/>
                <a:gd name="T67" fmla="*/ 1352 h 1652"/>
                <a:gd name="T68" fmla="*/ 1225 w 1652"/>
                <a:gd name="T69" fmla="*/ 1374 h 1652"/>
                <a:gd name="T70" fmla="*/ 1042 w 1652"/>
                <a:gd name="T71" fmla="*/ 1623 h 1652"/>
                <a:gd name="T72" fmla="*/ 1274 w 1652"/>
                <a:gd name="T73" fmla="*/ 1352 h 1652"/>
                <a:gd name="T74" fmla="*/ 427 w 1652"/>
                <a:gd name="T75" fmla="*/ 1374 h 1652"/>
                <a:gd name="T76" fmla="*/ 378 w 1652"/>
                <a:gd name="T77" fmla="*/ 1352 h 1652"/>
                <a:gd name="T78" fmla="*/ 610 w 1652"/>
                <a:gd name="T79" fmla="*/ 1623 h 1652"/>
                <a:gd name="T80" fmla="*/ 650 w 1652"/>
                <a:gd name="T81" fmla="*/ 1289 h 1652"/>
                <a:gd name="T82" fmla="*/ 468 w 1652"/>
                <a:gd name="T83" fmla="*/ 1357 h 1652"/>
                <a:gd name="T84" fmla="*/ 743 w 1652"/>
                <a:gd name="T85" fmla="*/ 1648 h 1652"/>
                <a:gd name="T86" fmla="*/ 804 w 1652"/>
                <a:gd name="T87" fmla="*/ 1435 h 1652"/>
                <a:gd name="T88" fmla="*/ 1370 w 1652"/>
                <a:gd name="T89" fmla="*/ 848 h 1652"/>
                <a:gd name="T90" fmla="*/ 1267 w 1652"/>
                <a:gd name="T91" fmla="*/ 1267 h 1652"/>
                <a:gd name="T92" fmla="*/ 1440 w 1652"/>
                <a:gd name="T93" fmla="*/ 1378 h 1652"/>
                <a:gd name="T94" fmla="*/ 1370 w 1652"/>
                <a:gd name="T95" fmla="*/ 848 h 1652"/>
                <a:gd name="T96" fmla="*/ 338 w 1652"/>
                <a:gd name="T97" fmla="*/ 575 h 1652"/>
                <a:gd name="T98" fmla="*/ 365 w 1652"/>
                <a:gd name="T99" fmla="*/ 342 h 1652"/>
                <a:gd name="T100" fmla="*/ 0 w 1652"/>
                <a:gd name="T101" fmla="*/ 804 h 1652"/>
                <a:gd name="T102" fmla="*/ 385 w 1652"/>
                <a:gd name="T103" fmla="*/ 1267 h 1652"/>
                <a:gd name="T104" fmla="*/ 90 w 1652"/>
                <a:gd name="T105" fmla="*/ 848 h 1652"/>
                <a:gd name="T106" fmla="*/ 212 w 1652"/>
                <a:gd name="T107" fmla="*/ 1378 h 1652"/>
                <a:gd name="T108" fmla="*/ 385 w 1652"/>
                <a:gd name="T109" fmla="*/ 1267 h 1652"/>
                <a:gd name="T110" fmla="*/ 426 w 1652"/>
                <a:gd name="T111" fmla="*/ 278 h 1652"/>
                <a:gd name="T112" fmla="*/ 463 w 1652"/>
                <a:gd name="T113" fmla="*/ 209 h 1652"/>
                <a:gd name="T114" fmla="*/ 244 w 1652"/>
                <a:gd name="T115" fmla="*/ 241 h 1652"/>
                <a:gd name="T116" fmla="*/ 804 w 1652"/>
                <a:gd name="T117" fmla="*/ 0 h 1652"/>
                <a:gd name="T118" fmla="*/ 501 w 1652"/>
                <a:gd name="T119" fmla="*/ 231 h 1652"/>
                <a:gd name="T120" fmla="*/ 486 w 1652"/>
                <a:gd name="T121" fmla="*/ 333 h 1652"/>
                <a:gd name="T122" fmla="*/ 804 w 1652"/>
                <a:gd name="T123" fmla="*/ 338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2" h="1652">
                  <a:moveTo>
                    <a:pt x="804" y="769"/>
                  </a:moveTo>
                  <a:cubicBezTo>
                    <a:pt x="788" y="775"/>
                    <a:pt x="775" y="788"/>
                    <a:pt x="769" y="804"/>
                  </a:cubicBezTo>
                  <a:cubicBezTo>
                    <a:pt x="589" y="804"/>
                    <a:pt x="589" y="804"/>
                    <a:pt x="589" y="804"/>
                  </a:cubicBezTo>
                  <a:cubicBezTo>
                    <a:pt x="579" y="690"/>
                    <a:pt x="493" y="598"/>
                    <a:pt x="382" y="579"/>
                  </a:cubicBezTo>
                  <a:cubicBezTo>
                    <a:pt x="393" y="516"/>
                    <a:pt x="408" y="456"/>
                    <a:pt x="427" y="400"/>
                  </a:cubicBezTo>
                  <a:cubicBezTo>
                    <a:pt x="446" y="400"/>
                    <a:pt x="464" y="390"/>
                    <a:pt x="475" y="375"/>
                  </a:cubicBezTo>
                  <a:cubicBezTo>
                    <a:pt x="567" y="398"/>
                    <a:pt x="666" y="412"/>
                    <a:pt x="769" y="416"/>
                  </a:cubicBezTo>
                  <a:cubicBezTo>
                    <a:pt x="775" y="432"/>
                    <a:pt x="788" y="446"/>
                    <a:pt x="804" y="452"/>
                  </a:cubicBezTo>
                  <a:lnTo>
                    <a:pt x="804" y="769"/>
                  </a:lnTo>
                  <a:close/>
                  <a:moveTo>
                    <a:pt x="882" y="372"/>
                  </a:moveTo>
                  <a:cubicBezTo>
                    <a:pt x="948" y="369"/>
                    <a:pt x="1012" y="363"/>
                    <a:pt x="1074" y="352"/>
                  </a:cubicBezTo>
                  <a:cubicBezTo>
                    <a:pt x="1074" y="348"/>
                    <a:pt x="1074" y="343"/>
                    <a:pt x="1074" y="339"/>
                  </a:cubicBezTo>
                  <a:cubicBezTo>
                    <a:pt x="1074" y="287"/>
                    <a:pt x="1100" y="240"/>
                    <a:pt x="1140" y="213"/>
                  </a:cubicBezTo>
                  <a:cubicBezTo>
                    <a:pt x="1075" y="104"/>
                    <a:pt x="995" y="32"/>
                    <a:pt x="909" y="4"/>
                  </a:cubicBezTo>
                  <a:cubicBezTo>
                    <a:pt x="889" y="2"/>
                    <a:pt x="869" y="1"/>
                    <a:pt x="848" y="0"/>
                  </a:cubicBezTo>
                  <a:cubicBezTo>
                    <a:pt x="848" y="338"/>
                    <a:pt x="848" y="338"/>
                    <a:pt x="848" y="338"/>
                  </a:cubicBezTo>
                  <a:cubicBezTo>
                    <a:pt x="864" y="344"/>
                    <a:pt x="876" y="356"/>
                    <a:pt x="882" y="372"/>
                  </a:cubicBezTo>
                  <a:close/>
                  <a:moveTo>
                    <a:pt x="1251" y="490"/>
                  </a:moveTo>
                  <a:cubicBezTo>
                    <a:pt x="1243" y="491"/>
                    <a:pt x="1235" y="492"/>
                    <a:pt x="1227" y="492"/>
                  </a:cubicBezTo>
                  <a:cubicBezTo>
                    <a:pt x="1162" y="492"/>
                    <a:pt x="1107" y="452"/>
                    <a:pt x="1084" y="395"/>
                  </a:cubicBezTo>
                  <a:cubicBezTo>
                    <a:pt x="1020" y="406"/>
                    <a:pt x="952" y="413"/>
                    <a:pt x="883" y="416"/>
                  </a:cubicBezTo>
                  <a:cubicBezTo>
                    <a:pt x="877" y="432"/>
                    <a:pt x="864" y="446"/>
                    <a:pt x="848" y="452"/>
                  </a:cubicBezTo>
                  <a:cubicBezTo>
                    <a:pt x="848" y="769"/>
                    <a:pt x="848" y="769"/>
                    <a:pt x="848" y="769"/>
                  </a:cubicBezTo>
                  <a:cubicBezTo>
                    <a:pt x="864" y="775"/>
                    <a:pt x="877" y="788"/>
                    <a:pt x="883" y="804"/>
                  </a:cubicBezTo>
                  <a:cubicBezTo>
                    <a:pt x="1256" y="804"/>
                    <a:pt x="1256" y="804"/>
                    <a:pt x="1256" y="804"/>
                  </a:cubicBezTo>
                  <a:cubicBezTo>
                    <a:pt x="1262" y="788"/>
                    <a:pt x="1274" y="776"/>
                    <a:pt x="1290" y="770"/>
                  </a:cubicBezTo>
                  <a:cubicBezTo>
                    <a:pt x="1286" y="672"/>
                    <a:pt x="1273" y="578"/>
                    <a:pt x="1251" y="490"/>
                  </a:cubicBezTo>
                  <a:close/>
                  <a:moveTo>
                    <a:pt x="589" y="848"/>
                  </a:moveTo>
                  <a:cubicBezTo>
                    <a:pt x="579" y="962"/>
                    <a:pt x="493" y="1054"/>
                    <a:pt x="382" y="1073"/>
                  </a:cubicBezTo>
                  <a:cubicBezTo>
                    <a:pt x="393" y="1136"/>
                    <a:pt x="408" y="1196"/>
                    <a:pt x="427" y="1252"/>
                  </a:cubicBezTo>
                  <a:cubicBezTo>
                    <a:pt x="446" y="1252"/>
                    <a:pt x="464" y="1262"/>
                    <a:pt x="475" y="1277"/>
                  </a:cubicBezTo>
                  <a:cubicBezTo>
                    <a:pt x="530" y="1263"/>
                    <a:pt x="588" y="1252"/>
                    <a:pt x="647" y="1245"/>
                  </a:cubicBezTo>
                  <a:cubicBezTo>
                    <a:pt x="653" y="1159"/>
                    <a:pt x="719" y="1090"/>
                    <a:pt x="804" y="1079"/>
                  </a:cubicBezTo>
                  <a:cubicBezTo>
                    <a:pt x="804" y="883"/>
                    <a:pt x="804" y="883"/>
                    <a:pt x="804" y="883"/>
                  </a:cubicBezTo>
                  <a:cubicBezTo>
                    <a:pt x="788" y="877"/>
                    <a:pt x="775" y="864"/>
                    <a:pt x="769" y="848"/>
                  </a:cubicBezTo>
                  <a:lnTo>
                    <a:pt x="589" y="848"/>
                  </a:lnTo>
                  <a:close/>
                  <a:moveTo>
                    <a:pt x="1290" y="882"/>
                  </a:moveTo>
                  <a:cubicBezTo>
                    <a:pt x="1274" y="876"/>
                    <a:pt x="1262" y="864"/>
                    <a:pt x="1256" y="848"/>
                  </a:cubicBezTo>
                  <a:cubicBezTo>
                    <a:pt x="883" y="848"/>
                    <a:pt x="883" y="848"/>
                    <a:pt x="883" y="848"/>
                  </a:cubicBezTo>
                  <a:cubicBezTo>
                    <a:pt x="877" y="864"/>
                    <a:pt x="864" y="877"/>
                    <a:pt x="848" y="883"/>
                  </a:cubicBezTo>
                  <a:cubicBezTo>
                    <a:pt x="848" y="1079"/>
                    <a:pt x="848" y="1079"/>
                    <a:pt x="848" y="1079"/>
                  </a:cubicBezTo>
                  <a:cubicBezTo>
                    <a:pt x="933" y="1090"/>
                    <a:pt x="999" y="1159"/>
                    <a:pt x="1005" y="1245"/>
                  </a:cubicBezTo>
                  <a:cubicBezTo>
                    <a:pt x="1064" y="1252"/>
                    <a:pt x="1122" y="1263"/>
                    <a:pt x="1177" y="1277"/>
                  </a:cubicBezTo>
                  <a:cubicBezTo>
                    <a:pt x="1188" y="1262"/>
                    <a:pt x="1206" y="1252"/>
                    <a:pt x="1225" y="1252"/>
                  </a:cubicBezTo>
                  <a:cubicBezTo>
                    <a:pt x="1263" y="1140"/>
                    <a:pt x="1285" y="1014"/>
                    <a:pt x="1290" y="882"/>
                  </a:cubicBezTo>
                  <a:close/>
                  <a:moveTo>
                    <a:pt x="1379" y="339"/>
                  </a:moveTo>
                  <a:cubicBezTo>
                    <a:pt x="1379" y="399"/>
                    <a:pt x="1344" y="452"/>
                    <a:pt x="1293" y="477"/>
                  </a:cubicBezTo>
                  <a:cubicBezTo>
                    <a:pt x="1316" y="568"/>
                    <a:pt x="1330" y="667"/>
                    <a:pt x="1334" y="769"/>
                  </a:cubicBezTo>
                  <a:cubicBezTo>
                    <a:pt x="1350" y="775"/>
                    <a:pt x="1363" y="788"/>
                    <a:pt x="1370" y="804"/>
                  </a:cubicBezTo>
                  <a:cubicBezTo>
                    <a:pt x="1652" y="804"/>
                    <a:pt x="1652" y="804"/>
                    <a:pt x="1652" y="804"/>
                  </a:cubicBezTo>
                  <a:cubicBezTo>
                    <a:pt x="1646" y="600"/>
                    <a:pt x="1567" y="415"/>
                    <a:pt x="1440" y="274"/>
                  </a:cubicBezTo>
                  <a:cubicBezTo>
                    <a:pt x="1419" y="285"/>
                    <a:pt x="1398" y="296"/>
                    <a:pt x="1376" y="306"/>
                  </a:cubicBezTo>
                  <a:cubicBezTo>
                    <a:pt x="1378" y="317"/>
                    <a:pt x="1379" y="328"/>
                    <a:pt x="1379" y="339"/>
                  </a:cubicBezTo>
                  <a:close/>
                  <a:moveTo>
                    <a:pt x="1151" y="1421"/>
                  </a:moveTo>
                  <a:cubicBezTo>
                    <a:pt x="1163" y="1401"/>
                    <a:pt x="1174" y="1379"/>
                    <a:pt x="1184" y="1357"/>
                  </a:cubicBezTo>
                  <a:cubicBezTo>
                    <a:pt x="1174" y="1347"/>
                    <a:pt x="1167" y="1334"/>
                    <a:pt x="1166" y="1319"/>
                  </a:cubicBezTo>
                  <a:cubicBezTo>
                    <a:pt x="1113" y="1306"/>
                    <a:pt x="1059" y="1296"/>
                    <a:pt x="1002" y="1289"/>
                  </a:cubicBezTo>
                  <a:cubicBezTo>
                    <a:pt x="988" y="1366"/>
                    <a:pt x="926" y="1425"/>
                    <a:pt x="848" y="1435"/>
                  </a:cubicBezTo>
                  <a:cubicBezTo>
                    <a:pt x="848" y="1652"/>
                    <a:pt x="848" y="1652"/>
                    <a:pt x="848" y="1652"/>
                  </a:cubicBezTo>
                  <a:cubicBezTo>
                    <a:pt x="869" y="1651"/>
                    <a:pt x="889" y="1650"/>
                    <a:pt x="909" y="1648"/>
                  </a:cubicBezTo>
                  <a:cubicBezTo>
                    <a:pt x="1000" y="1618"/>
                    <a:pt x="1083" y="1540"/>
                    <a:pt x="1151" y="1421"/>
                  </a:cubicBezTo>
                  <a:close/>
                  <a:moveTo>
                    <a:pt x="1180" y="193"/>
                  </a:moveTo>
                  <a:cubicBezTo>
                    <a:pt x="1195" y="189"/>
                    <a:pt x="1210" y="186"/>
                    <a:pt x="1227" y="186"/>
                  </a:cubicBezTo>
                  <a:cubicBezTo>
                    <a:pt x="1284" y="186"/>
                    <a:pt x="1334" y="218"/>
                    <a:pt x="1360" y="265"/>
                  </a:cubicBezTo>
                  <a:cubicBezTo>
                    <a:pt x="1377" y="257"/>
                    <a:pt x="1393" y="249"/>
                    <a:pt x="1408" y="241"/>
                  </a:cubicBezTo>
                  <a:cubicBezTo>
                    <a:pt x="1308" y="141"/>
                    <a:pt x="1183" y="67"/>
                    <a:pt x="1042" y="29"/>
                  </a:cubicBezTo>
                  <a:cubicBezTo>
                    <a:pt x="1093" y="69"/>
                    <a:pt x="1139" y="125"/>
                    <a:pt x="1180" y="193"/>
                  </a:cubicBezTo>
                  <a:close/>
                  <a:moveTo>
                    <a:pt x="1274" y="1352"/>
                  </a:moveTo>
                  <a:cubicBezTo>
                    <a:pt x="1262" y="1365"/>
                    <a:pt x="1245" y="1374"/>
                    <a:pt x="1227" y="1374"/>
                  </a:cubicBezTo>
                  <a:cubicBezTo>
                    <a:pt x="1226" y="1374"/>
                    <a:pt x="1225" y="1374"/>
                    <a:pt x="1225" y="1374"/>
                  </a:cubicBezTo>
                  <a:cubicBezTo>
                    <a:pt x="1214" y="1398"/>
                    <a:pt x="1202" y="1421"/>
                    <a:pt x="1189" y="1443"/>
                  </a:cubicBezTo>
                  <a:cubicBezTo>
                    <a:pt x="1146" y="1519"/>
                    <a:pt x="1096" y="1579"/>
                    <a:pt x="1042" y="1623"/>
                  </a:cubicBezTo>
                  <a:cubicBezTo>
                    <a:pt x="1182" y="1585"/>
                    <a:pt x="1308" y="1511"/>
                    <a:pt x="1408" y="1411"/>
                  </a:cubicBezTo>
                  <a:cubicBezTo>
                    <a:pt x="1367" y="1389"/>
                    <a:pt x="1321" y="1369"/>
                    <a:pt x="1274" y="1352"/>
                  </a:cubicBezTo>
                  <a:close/>
                  <a:moveTo>
                    <a:pt x="463" y="1443"/>
                  </a:moveTo>
                  <a:cubicBezTo>
                    <a:pt x="450" y="1421"/>
                    <a:pt x="438" y="1398"/>
                    <a:pt x="427" y="1374"/>
                  </a:cubicBezTo>
                  <a:cubicBezTo>
                    <a:pt x="427" y="1374"/>
                    <a:pt x="426" y="1374"/>
                    <a:pt x="426" y="1374"/>
                  </a:cubicBezTo>
                  <a:cubicBezTo>
                    <a:pt x="407" y="1374"/>
                    <a:pt x="390" y="1365"/>
                    <a:pt x="378" y="1352"/>
                  </a:cubicBezTo>
                  <a:cubicBezTo>
                    <a:pt x="331" y="1369"/>
                    <a:pt x="285" y="1389"/>
                    <a:pt x="244" y="1411"/>
                  </a:cubicBezTo>
                  <a:cubicBezTo>
                    <a:pt x="344" y="1511"/>
                    <a:pt x="470" y="1585"/>
                    <a:pt x="610" y="1623"/>
                  </a:cubicBezTo>
                  <a:cubicBezTo>
                    <a:pt x="556" y="1579"/>
                    <a:pt x="506" y="1519"/>
                    <a:pt x="463" y="1443"/>
                  </a:cubicBezTo>
                  <a:close/>
                  <a:moveTo>
                    <a:pt x="650" y="1289"/>
                  </a:moveTo>
                  <a:cubicBezTo>
                    <a:pt x="593" y="1296"/>
                    <a:pt x="539" y="1306"/>
                    <a:pt x="486" y="1319"/>
                  </a:cubicBezTo>
                  <a:cubicBezTo>
                    <a:pt x="485" y="1334"/>
                    <a:pt x="478" y="1347"/>
                    <a:pt x="468" y="1357"/>
                  </a:cubicBezTo>
                  <a:cubicBezTo>
                    <a:pt x="478" y="1379"/>
                    <a:pt x="489" y="1401"/>
                    <a:pt x="501" y="1421"/>
                  </a:cubicBezTo>
                  <a:cubicBezTo>
                    <a:pt x="569" y="1540"/>
                    <a:pt x="652" y="1618"/>
                    <a:pt x="743" y="1648"/>
                  </a:cubicBezTo>
                  <a:cubicBezTo>
                    <a:pt x="763" y="1650"/>
                    <a:pt x="783" y="1651"/>
                    <a:pt x="804" y="1652"/>
                  </a:cubicBezTo>
                  <a:cubicBezTo>
                    <a:pt x="804" y="1435"/>
                    <a:pt x="804" y="1435"/>
                    <a:pt x="804" y="1435"/>
                  </a:cubicBezTo>
                  <a:cubicBezTo>
                    <a:pt x="726" y="1425"/>
                    <a:pt x="664" y="1366"/>
                    <a:pt x="650" y="1289"/>
                  </a:cubicBezTo>
                  <a:close/>
                  <a:moveTo>
                    <a:pt x="1370" y="848"/>
                  </a:moveTo>
                  <a:cubicBezTo>
                    <a:pt x="1363" y="864"/>
                    <a:pt x="1350" y="877"/>
                    <a:pt x="1334" y="883"/>
                  </a:cubicBezTo>
                  <a:cubicBezTo>
                    <a:pt x="1329" y="1020"/>
                    <a:pt x="1306" y="1151"/>
                    <a:pt x="1267" y="1267"/>
                  </a:cubicBezTo>
                  <a:cubicBezTo>
                    <a:pt x="1279" y="1278"/>
                    <a:pt x="1287" y="1293"/>
                    <a:pt x="1287" y="1310"/>
                  </a:cubicBezTo>
                  <a:cubicBezTo>
                    <a:pt x="1342" y="1329"/>
                    <a:pt x="1393" y="1352"/>
                    <a:pt x="1440" y="1378"/>
                  </a:cubicBezTo>
                  <a:cubicBezTo>
                    <a:pt x="1567" y="1237"/>
                    <a:pt x="1646" y="1052"/>
                    <a:pt x="1652" y="848"/>
                  </a:cubicBezTo>
                  <a:lnTo>
                    <a:pt x="1370" y="848"/>
                  </a:lnTo>
                  <a:close/>
                  <a:moveTo>
                    <a:pt x="90" y="804"/>
                  </a:moveTo>
                  <a:cubicBezTo>
                    <a:pt x="101" y="676"/>
                    <a:pt x="208" y="576"/>
                    <a:pt x="338" y="575"/>
                  </a:cubicBezTo>
                  <a:cubicBezTo>
                    <a:pt x="349" y="509"/>
                    <a:pt x="365" y="445"/>
                    <a:pt x="385" y="385"/>
                  </a:cubicBezTo>
                  <a:cubicBezTo>
                    <a:pt x="373" y="374"/>
                    <a:pt x="365" y="359"/>
                    <a:pt x="365" y="342"/>
                  </a:cubicBezTo>
                  <a:cubicBezTo>
                    <a:pt x="310" y="323"/>
                    <a:pt x="259" y="300"/>
                    <a:pt x="212" y="274"/>
                  </a:cubicBezTo>
                  <a:cubicBezTo>
                    <a:pt x="85" y="415"/>
                    <a:pt x="6" y="600"/>
                    <a:pt x="0" y="804"/>
                  </a:cubicBezTo>
                  <a:lnTo>
                    <a:pt x="90" y="804"/>
                  </a:lnTo>
                  <a:close/>
                  <a:moveTo>
                    <a:pt x="385" y="1267"/>
                  </a:moveTo>
                  <a:cubicBezTo>
                    <a:pt x="365" y="1207"/>
                    <a:pt x="349" y="1143"/>
                    <a:pt x="338" y="1077"/>
                  </a:cubicBezTo>
                  <a:cubicBezTo>
                    <a:pt x="208" y="1076"/>
                    <a:pt x="101" y="976"/>
                    <a:pt x="90" y="848"/>
                  </a:cubicBezTo>
                  <a:cubicBezTo>
                    <a:pt x="0" y="848"/>
                    <a:pt x="0" y="848"/>
                    <a:pt x="0" y="848"/>
                  </a:cubicBezTo>
                  <a:cubicBezTo>
                    <a:pt x="6" y="1052"/>
                    <a:pt x="85" y="1237"/>
                    <a:pt x="212" y="1378"/>
                  </a:cubicBezTo>
                  <a:cubicBezTo>
                    <a:pt x="259" y="1352"/>
                    <a:pt x="310" y="1329"/>
                    <a:pt x="365" y="1310"/>
                  </a:cubicBezTo>
                  <a:cubicBezTo>
                    <a:pt x="365" y="1293"/>
                    <a:pt x="373" y="1278"/>
                    <a:pt x="385" y="1267"/>
                  </a:cubicBezTo>
                  <a:close/>
                  <a:moveTo>
                    <a:pt x="378" y="300"/>
                  </a:moveTo>
                  <a:cubicBezTo>
                    <a:pt x="390" y="287"/>
                    <a:pt x="407" y="278"/>
                    <a:pt x="426" y="278"/>
                  </a:cubicBezTo>
                  <a:cubicBezTo>
                    <a:pt x="426" y="278"/>
                    <a:pt x="427" y="278"/>
                    <a:pt x="427" y="278"/>
                  </a:cubicBezTo>
                  <a:cubicBezTo>
                    <a:pt x="438" y="254"/>
                    <a:pt x="450" y="231"/>
                    <a:pt x="463" y="209"/>
                  </a:cubicBezTo>
                  <a:cubicBezTo>
                    <a:pt x="506" y="133"/>
                    <a:pt x="556" y="73"/>
                    <a:pt x="610" y="29"/>
                  </a:cubicBezTo>
                  <a:cubicBezTo>
                    <a:pt x="470" y="67"/>
                    <a:pt x="344" y="141"/>
                    <a:pt x="244" y="241"/>
                  </a:cubicBezTo>
                  <a:cubicBezTo>
                    <a:pt x="285" y="263"/>
                    <a:pt x="331" y="283"/>
                    <a:pt x="378" y="300"/>
                  </a:cubicBezTo>
                  <a:close/>
                  <a:moveTo>
                    <a:pt x="804" y="0"/>
                  </a:moveTo>
                  <a:cubicBezTo>
                    <a:pt x="783" y="1"/>
                    <a:pt x="763" y="2"/>
                    <a:pt x="743" y="4"/>
                  </a:cubicBezTo>
                  <a:cubicBezTo>
                    <a:pt x="652" y="34"/>
                    <a:pt x="569" y="112"/>
                    <a:pt x="501" y="231"/>
                  </a:cubicBezTo>
                  <a:cubicBezTo>
                    <a:pt x="489" y="251"/>
                    <a:pt x="478" y="273"/>
                    <a:pt x="468" y="295"/>
                  </a:cubicBezTo>
                  <a:cubicBezTo>
                    <a:pt x="478" y="305"/>
                    <a:pt x="485" y="318"/>
                    <a:pt x="486" y="333"/>
                  </a:cubicBezTo>
                  <a:cubicBezTo>
                    <a:pt x="575" y="355"/>
                    <a:pt x="671" y="368"/>
                    <a:pt x="770" y="372"/>
                  </a:cubicBezTo>
                  <a:cubicBezTo>
                    <a:pt x="776" y="356"/>
                    <a:pt x="788" y="344"/>
                    <a:pt x="804" y="338"/>
                  </a:cubicBezTo>
                  <a:lnTo>
                    <a:pt x="804"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9" name="Freeform 6">
              <a:extLst>
                <a:ext uri="{FF2B5EF4-FFF2-40B4-BE49-F238E27FC236}">
                  <a16:creationId xmlns:a16="http://schemas.microsoft.com/office/drawing/2014/main" id="{1AB515C2-A4DD-51CD-ED9D-D811C1EF2BB5}"/>
                </a:ext>
              </a:extLst>
            </p:cNvPr>
            <p:cNvSpPr>
              <a:spLocks noEditPoints="1"/>
            </p:cNvSpPr>
            <p:nvPr/>
          </p:nvSpPr>
          <p:spPr bwMode="auto">
            <a:xfrm>
              <a:off x="2130" y="446"/>
              <a:ext cx="3424" cy="3428"/>
            </a:xfrm>
            <a:custGeom>
              <a:avLst/>
              <a:gdLst>
                <a:gd name="T0" fmla="*/ 268 w 1828"/>
                <a:gd name="T1" fmla="*/ 1560 h 1828"/>
                <a:gd name="T2" fmla="*/ 268 w 1828"/>
                <a:gd name="T3" fmla="*/ 268 h 1828"/>
                <a:gd name="T4" fmla="*/ 1560 w 1828"/>
                <a:gd name="T5" fmla="*/ 268 h 1828"/>
                <a:gd name="T6" fmla="*/ 1560 w 1828"/>
                <a:gd name="T7" fmla="*/ 1560 h 1828"/>
                <a:gd name="T8" fmla="*/ 914 w 1828"/>
                <a:gd name="T9" fmla="*/ 44 h 1828"/>
                <a:gd name="T10" fmla="*/ 914 w 1828"/>
                <a:gd name="T11" fmla="*/ 1784 h 1828"/>
                <a:gd name="T12" fmla="*/ 914 w 1828"/>
                <a:gd name="T13" fmla="*/ 44 h 1828"/>
                <a:gd name="T14" fmla="*/ 989 w 1828"/>
                <a:gd name="T15" fmla="*/ 1335 h 1828"/>
                <a:gd name="T16" fmla="*/ 979 w 1828"/>
                <a:gd name="T17" fmla="*/ 1311 h 1828"/>
                <a:gd name="T18" fmla="*/ 973 w 1828"/>
                <a:gd name="T19" fmla="*/ 1277 h 1828"/>
                <a:gd name="T20" fmla="*/ 976 w 1828"/>
                <a:gd name="T21" fmla="*/ 1277 h 1828"/>
                <a:gd name="T22" fmla="*/ 904 w 1828"/>
                <a:gd name="T23" fmla="*/ 1237 h 1828"/>
                <a:gd name="T24" fmla="*/ 853 w 1828"/>
                <a:gd name="T25" fmla="*/ 1388 h 1828"/>
                <a:gd name="T26" fmla="*/ 856 w 1828"/>
                <a:gd name="T27" fmla="*/ 1440 h 1828"/>
                <a:gd name="T28" fmla="*/ 931 w 1828"/>
                <a:gd name="T29" fmla="*/ 1453 h 1828"/>
                <a:gd name="T30" fmla="*/ 936 w 1828"/>
                <a:gd name="T31" fmla="*/ 1416 h 1828"/>
                <a:gd name="T32" fmla="*/ 981 w 1828"/>
                <a:gd name="T33" fmla="*/ 1392 h 1828"/>
                <a:gd name="T34" fmla="*/ 980 w 1828"/>
                <a:gd name="T35" fmla="*/ 1365 h 1828"/>
                <a:gd name="T36" fmla="*/ 990 w 1828"/>
                <a:gd name="T37" fmla="*/ 1337 h 1828"/>
                <a:gd name="T38" fmla="*/ 359 w 1828"/>
                <a:gd name="T39" fmla="*/ 1052 h 1828"/>
                <a:gd name="T40" fmla="*/ 444 w 1828"/>
                <a:gd name="T41" fmla="*/ 1078 h 1828"/>
                <a:gd name="T42" fmla="*/ 458 w 1828"/>
                <a:gd name="T43" fmla="*/ 1070 h 1828"/>
                <a:gd name="T44" fmla="*/ 481 w 1828"/>
                <a:gd name="T45" fmla="*/ 1016 h 1828"/>
                <a:gd name="T46" fmla="*/ 528 w 1828"/>
                <a:gd name="T47" fmla="*/ 967 h 1828"/>
                <a:gd name="T48" fmla="*/ 558 w 1828"/>
                <a:gd name="T49" fmla="*/ 929 h 1828"/>
                <a:gd name="T50" fmla="*/ 532 w 1828"/>
                <a:gd name="T51" fmla="*/ 880 h 1828"/>
                <a:gd name="T52" fmla="*/ 519 w 1828"/>
                <a:gd name="T53" fmla="*/ 811 h 1828"/>
                <a:gd name="T54" fmla="*/ 417 w 1828"/>
                <a:gd name="T55" fmla="*/ 750 h 1828"/>
                <a:gd name="T56" fmla="*/ 357 w 1828"/>
                <a:gd name="T57" fmla="*/ 1016 h 1828"/>
                <a:gd name="T58" fmla="*/ 1258 w 1828"/>
                <a:gd name="T59" fmla="*/ 444 h 1828"/>
                <a:gd name="T60" fmla="*/ 1257 w 1828"/>
                <a:gd name="T61" fmla="*/ 467 h 1828"/>
                <a:gd name="T62" fmla="*/ 1296 w 1828"/>
                <a:gd name="T63" fmla="*/ 487 h 1828"/>
                <a:gd name="T64" fmla="*/ 1300 w 1828"/>
                <a:gd name="T65" fmla="*/ 519 h 1828"/>
                <a:gd name="T66" fmla="*/ 1364 w 1828"/>
                <a:gd name="T67" fmla="*/ 508 h 1828"/>
                <a:gd name="T68" fmla="*/ 1367 w 1828"/>
                <a:gd name="T69" fmla="*/ 464 h 1828"/>
                <a:gd name="T70" fmla="*/ 1323 w 1828"/>
                <a:gd name="T71" fmla="*/ 335 h 1828"/>
                <a:gd name="T72" fmla="*/ 1262 w 1828"/>
                <a:gd name="T73" fmla="*/ 369 h 1828"/>
                <a:gd name="T74" fmla="*/ 1264 w 1828"/>
                <a:gd name="T75" fmla="*/ 369 h 1828"/>
                <a:gd name="T76" fmla="*/ 1259 w 1828"/>
                <a:gd name="T77" fmla="*/ 398 h 1828"/>
                <a:gd name="T78" fmla="*/ 1251 w 1828"/>
                <a:gd name="T79" fmla="*/ 419 h 1828"/>
                <a:gd name="T80" fmla="*/ 1242 w 1828"/>
                <a:gd name="T81" fmla="*/ 435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moveTo>
                    <a:pt x="990" y="1337"/>
                  </a:moveTo>
                  <a:cubicBezTo>
                    <a:pt x="990" y="1336"/>
                    <a:pt x="989" y="1336"/>
                    <a:pt x="989" y="1335"/>
                  </a:cubicBezTo>
                  <a:cubicBezTo>
                    <a:pt x="986" y="1332"/>
                    <a:pt x="983" y="1327"/>
                    <a:pt x="981" y="1319"/>
                  </a:cubicBezTo>
                  <a:cubicBezTo>
                    <a:pt x="980" y="1317"/>
                    <a:pt x="980" y="1314"/>
                    <a:pt x="979" y="1311"/>
                  </a:cubicBezTo>
                  <a:cubicBezTo>
                    <a:pt x="978" y="1307"/>
                    <a:pt x="977" y="1303"/>
                    <a:pt x="976" y="1299"/>
                  </a:cubicBezTo>
                  <a:cubicBezTo>
                    <a:pt x="975" y="1295"/>
                    <a:pt x="974" y="1283"/>
                    <a:pt x="973" y="1277"/>
                  </a:cubicBezTo>
                  <a:cubicBezTo>
                    <a:pt x="974" y="1277"/>
                    <a:pt x="975" y="1277"/>
                    <a:pt x="976" y="1277"/>
                  </a:cubicBezTo>
                  <a:cubicBezTo>
                    <a:pt x="976" y="1277"/>
                    <a:pt x="976" y="1277"/>
                    <a:pt x="976" y="1277"/>
                  </a:cubicBezTo>
                  <a:cubicBezTo>
                    <a:pt x="979" y="1266"/>
                    <a:pt x="994" y="1249"/>
                    <a:pt x="989" y="1249"/>
                  </a:cubicBezTo>
                  <a:cubicBezTo>
                    <a:pt x="941" y="1250"/>
                    <a:pt x="956" y="1237"/>
                    <a:pt x="904" y="1237"/>
                  </a:cubicBezTo>
                  <a:cubicBezTo>
                    <a:pt x="859" y="1237"/>
                    <a:pt x="836" y="1264"/>
                    <a:pt x="825" y="1287"/>
                  </a:cubicBezTo>
                  <a:cubicBezTo>
                    <a:pt x="805" y="1329"/>
                    <a:pt x="837" y="1371"/>
                    <a:pt x="853" y="1388"/>
                  </a:cubicBezTo>
                  <a:cubicBezTo>
                    <a:pt x="853" y="1436"/>
                    <a:pt x="853" y="1436"/>
                    <a:pt x="853" y="1436"/>
                  </a:cubicBezTo>
                  <a:cubicBezTo>
                    <a:pt x="853" y="1438"/>
                    <a:pt x="854" y="1439"/>
                    <a:pt x="856" y="1440"/>
                  </a:cubicBezTo>
                  <a:cubicBezTo>
                    <a:pt x="888" y="1453"/>
                    <a:pt x="928" y="1453"/>
                    <a:pt x="931" y="1453"/>
                  </a:cubicBezTo>
                  <a:cubicBezTo>
                    <a:pt x="931" y="1453"/>
                    <a:pt x="931" y="1453"/>
                    <a:pt x="931" y="1453"/>
                  </a:cubicBezTo>
                  <a:cubicBezTo>
                    <a:pt x="934" y="1453"/>
                    <a:pt x="936" y="1451"/>
                    <a:pt x="936" y="1449"/>
                  </a:cubicBezTo>
                  <a:cubicBezTo>
                    <a:pt x="936" y="1416"/>
                    <a:pt x="936" y="1416"/>
                    <a:pt x="936" y="1416"/>
                  </a:cubicBezTo>
                  <a:cubicBezTo>
                    <a:pt x="956" y="1418"/>
                    <a:pt x="970" y="1416"/>
                    <a:pt x="975" y="1413"/>
                  </a:cubicBezTo>
                  <a:cubicBezTo>
                    <a:pt x="980" y="1411"/>
                    <a:pt x="980" y="1404"/>
                    <a:pt x="981" y="1392"/>
                  </a:cubicBezTo>
                  <a:cubicBezTo>
                    <a:pt x="981" y="1391"/>
                    <a:pt x="981" y="1391"/>
                    <a:pt x="981" y="1391"/>
                  </a:cubicBezTo>
                  <a:cubicBezTo>
                    <a:pt x="982" y="1383"/>
                    <a:pt x="981" y="1371"/>
                    <a:pt x="980" y="1365"/>
                  </a:cubicBezTo>
                  <a:cubicBezTo>
                    <a:pt x="995" y="1364"/>
                    <a:pt x="998" y="1357"/>
                    <a:pt x="999" y="1354"/>
                  </a:cubicBezTo>
                  <a:cubicBezTo>
                    <a:pt x="1001" y="1349"/>
                    <a:pt x="996" y="1343"/>
                    <a:pt x="990" y="1337"/>
                  </a:cubicBezTo>
                  <a:close/>
                  <a:moveTo>
                    <a:pt x="357" y="1016"/>
                  </a:moveTo>
                  <a:cubicBezTo>
                    <a:pt x="359" y="1052"/>
                    <a:pt x="359" y="1052"/>
                    <a:pt x="359" y="1052"/>
                  </a:cubicBezTo>
                  <a:cubicBezTo>
                    <a:pt x="359" y="1055"/>
                    <a:pt x="361" y="1057"/>
                    <a:pt x="363" y="1058"/>
                  </a:cubicBezTo>
                  <a:cubicBezTo>
                    <a:pt x="392" y="1076"/>
                    <a:pt x="429" y="1078"/>
                    <a:pt x="444" y="1078"/>
                  </a:cubicBezTo>
                  <a:cubicBezTo>
                    <a:pt x="448" y="1078"/>
                    <a:pt x="451" y="1078"/>
                    <a:pt x="451" y="1078"/>
                  </a:cubicBezTo>
                  <a:cubicBezTo>
                    <a:pt x="455" y="1077"/>
                    <a:pt x="458" y="1074"/>
                    <a:pt x="458" y="1070"/>
                  </a:cubicBezTo>
                  <a:cubicBezTo>
                    <a:pt x="458" y="1015"/>
                    <a:pt x="458" y="1015"/>
                    <a:pt x="458" y="1015"/>
                  </a:cubicBezTo>
                  <a:cubicBezTo>
                    <a:pt x="466" y="1016"/>
                    <a:pt x="476" y="1016"/>
                    <a:pt x="481" y="1016"/>
                  </a:cubicBezTo>
                  <a:cubicBezTo>
                    <a:pt x="510" y="1016"/>
                    <a:pt x="517" y="1012"/>
                    <a:pt x="521" y="1009"/>
                  </a:cubicBezTo>
                  <a:cubicBezTo>
                    <a:pt x="525" y="1005"/>
                    <a:pt x="528" y="997"/>
                    <a:pt x="528" y="967"/>
                  </a:cubicBezTo>
                  <a:cubicBezTo>
                    <a:pt x="528" y="958"/>
                    <a:pt x="528" y="950"/>
                    <a:pt x="528" y="944"/>
                  </a:cubicBezTo>
                  <a:cubicBezTo>
                    <a:pt x="546" y="944"/>
                    <a:pt x="555" y="935"/>
                    <a:pt x="558" y="929"/>
                  </a:cubicBezTo>
                  <a:cubicBezTo>
                    <a:pt x="561" y="921"/>
                    <a:pt x="552" y="908"/>
                    <a:pt x="546" y="902"/>
                  </a:cubicBezTo>
                  <a:cubicBezTo>
                    <a:pt x="540" y="896"/>
                    <a:pt x="535" y="887"/>
                    <a:pt x="532" y="880"/>
                  </a:cubicBezTo>
                  <a:cubicBezTo>
                    <a:pt x="530" y="876"/>
                    <a:pt x="529" y="859"/>
                    <a:pt x="530" y="848"/>
                  </a:cubicBezTo>
                  <a:cubicBezTo>
                    <a:pt x="531" y="828"/>
                    <a:pt x="522" y="815"/>
                    <a:pt x="519" y="811"/>
                  </a:cubicBezTo>
                  <a:cubicBezTo>
                    <a:pt x="521" y="808"/>
                    <a:pt x="522" y="805"/>
                    <a:pt x="524" y="802"/>
                  </a:cubicBezTo>
                  <a:cubicBezTo>
                    <a:pt x="527" y="786"/>
                    <a:pt x="495" y="750"/>
                    <a:pt x="417" y="750"/>
                  </a:cubicBezTo>
                  <a:cubicBezTo>
                    <a:pt x="349" y="750"/>
                    <a:pt x="308" y="787"/>
                    <a:pt x="291" y="823"/>
                  </a:cubicBezTo>
                  <a:cubicBezTo>
                    <a:pt x="234" y="941"/>
                    <a:pt x="310" y="997"/>
                    <a:pt x="357" y="1016"/>
                  </a:cubicBezTo>
                  <a:close/>
                  <a:moveTo>
                    <a:pt x="1242" y="435"/>
                  </a:moveTo>
                  <a:cubicBezTo>
                    <a:pt x="1242" y="437"/>
                    <a:pt x="1246" y="444"/>
                    <a:pt x="1258" y="444"/>
                  </a:cubicBezTo>
                  <a:cubicBezTo>
                    <a:pt x="1258" y="450"/>
                    <a:pt x="1257" y="460"/>
                    <a:pt x="1257" y="466"/>
                  </a:cubicBezTo>
                  <a:cubicBezTo>
                    <a:pt x="1257" y="467"/>
                    <a:pt x="1257" y="467"/>
                    <a:pt x="1257" y="467"/>
                  </a:cubicBezTo>
                  <a:cubicBezTo>
                    <a:pt x="1258" y="477"/>
                    <a:pt x="1258" y="483"/>
                    <a:pt x="1263" y="485"/>
                  </a:cubicBezTo>
                  <a:cubicBezTo>
                    <a:pt x="1266" y="487"/>
                    <a:pt x="1279" y="489"/>
                    <a:pt x="1296" y="487"/>
                  </a:cubicBezTo>
                  <a:cubicBezTo>
                    <a:pt x="1296" y="515"/>
                    <a:pt x="1296" y="515"/>
                    <a:pt x="1296" y="515"/>
                  </a:cubicBezTo>
                  <a:cubicBezTo>
                    <a:pt x="1296" y="518"/>
                    <a:pt x="1297" y="519"/>
                    <a:pt x="1300" y="519"/>
                  </a:cubicBezTo>
                  <a:cubicBezTo>
                    <a:pt x="1300" y="519"/>
                    <a:pt x="1300" y="519"/>
                    <a:pt x="1300" y="519"/>
                  </a:cubicBezTo>
                  <a:cubicBezTo>
                    <a:pt x="1302" y="519"/>
                    <a:pt x="1337" y="519"/>
                    <a:pt x="1364" y="508"/>
                  </a:cubicBezTo>
                  <a:cubicBezTo>
                    <a:pt x="1366" y="508"/>
                    <a:pt x="1367" y="506"/>
                    <a:pt x="1367" y="504"/>
                  </a:cubicBezTo>
                  <a:cubicBezTo>
                    <a:pt x="1367" y="464"/>
                    <a:pt x="1367" y="464"/>
                    <a:pt x="1367" y="464"/>
                  </a:cubicBezTo>
                  <a:cubicBezTo>
                    <a:pt x="1380" y="449"/>
                    <a:pt x="1408" y="414"/>
                    <a:pt x="1391" y="378"/>
                  </a:cubicBezTo>
                  <a:cubicBezTo>
                    <a:pt x="1381" y="358"/>
                    <a:pt x="1362" y="335"/>
                    <a:pt x="1323" y="335"/>
                  </a:cubicBezTo>
                  <a:cubicBezTo>
                    <a:pt x="1279" y="335"/>
                    <a:pt x="1292" y="346"/>
                    <a:pt x="1251" y="345"/>
                  </a:cubicBezTo>
                  <a:cubicBezTo>
                    <a:pt x="1246" y="345"/>
                    <a:pt x="1259" y="360"/>
                    <a:pt x="1262" y="369"/>
                  </a:cubicBezTo>
                  <a:cubicBezTo>
                    <a:pt x="1262" y="369"/>
                    <a:pt x="1262" y="369"/>
                    <a:pt x="1262" y="369"/>
                  </a:cubicBezTo>
                  <a:cubicBezTo>
                    <a:pt x="1262" y="369"/>
                    <a:pt x="1263" y="369"/>
                    <a:pt x="1264" y="369"/>
                  </a:cubicBezTo>
                  <a:cubicBezTo>
                    <a:pt x="1264" y="374"/>
                    <a:pt x="1263" y="384"/>
                    <a:pt x="1262" y="388"/>
                  </a:cubicBezTo>
                  <a:cubicBezTo>
                    <a:pt x="1261" y="391"/>
                    <a:pt x="1260" y="395"/>
                    <a:pt x="1259" y="398"/>
                  </a:cubicBezTo>
                  <a:cubicBezTo>
                    <a:pt x="1259" y="401"/>
                    <a:pt x="1258" y="404"/>
                    <a:pt x="1257" y="405"/>
                  </a:cubicBezTo>
                  <a:cubicBezTo>
                    <a:pt x="1255" y="411"/>
                    <a:pt x="1253" y="416"/>
                    <a:pt x="1251" y="419"/>
                  </a:cubicBezTo>
                  <a:cubicBezTo>
                    <a:pt x="1250" y="419"/>
                    <a:pt x="1250" y="420"/>
                    <a:pt x="1249" y="420"/>
                  </a:cubicBezTo>
                  <a:cubicBezTo>
                    <a:pt x="1244" y="425"/>
                    <a:pt x="1240" y="430"/>
                    <a:pt x="1242" y="43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grpSp>
      <p:grpSp>
        <p:nvGrpSpPr>
          <p:cNvPr id="25" name="bcgIcons_Economic Advantage of Nations ">
            <a:extLst>
              <a:ext uri="{FF2B5EF4-FFF2-40B4-BE49-F238E27FC236}">
                <a16:creationId xmlns:a16="http://schemas.microsoft.com/office/drawing/2014/main" id="{CF5A3B51-C393-7196-416A-9DB848D461F0}"/>
              </a:ext>
            </a:extLst>
          </p:cNvPr>
          <p:cNvGrpSpPr>
            <a:grpSpLocks noChangeAspect="1"/>
          </p:cNvGrpSpPr>
          <p:nvPr/>
        </p:nvGrpSpPr>
        <p:grpSpPr>
          <a:xfrm>
            <a:off x="3885961" y="2204689"/>
            <a:ext cx="1671920" cy="1671920"/>
            <a:chOff x="1446213" y="2606675"/>
            <a:chExt cx="1644650" cy="1644650"/>
          </a:xfrm>
        </p:grpSpPr>
        <p:sp>
          <p:nvSpPr>
            <p:cNvPr id="26" name="AutoShape 3">
              <a:extLst>
                <a:ext uri="{FF2B5EF4-FFF2-40B4-BE49-F238E27FC236}">
                  <a16:creationId xmlns:a16="http://schemas.microsoft.com/office/drawing/2014/main" id="{DC7C0DC7-8C73-54A1-AF59-CB9A7E3D9F55}"/>
                </a:ext>
              </a:extLst>
            </p:cNvPr>
            <p:cNvSpPr>
              <a:spLocks noChangeAspect="1" noChangeArrowheads="1" noTextEdit="1"/>
            </p:cNvSpPr>
            <p:nvPr/>
          </p:nvSpPr>
          <p:spPr bwMode="auto">
            <a:xfrm>
              <a:off x="144621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27" name="Group 26">
              <a:extLst>
                <a:ext uri="{FF2B5EF4-FFF2-40B4-BE49-F238E27FC236}">
                  <a16:creationId xmlns:a16="http://schemas.microsoft.com/office/drawing/2014/main" id="{4514604C-12BB-CDFA-0BA3-888398709F5F}"/>
                </a:ext>
              </a:extLst>
            </p:cNvPr>
            <p:cNvGrpSpPr/>
            <p:nvPr/>
          </p:nvGrpSpPr>
          <p:grpSpPr>
            <a:xfrm>
              <a:off x="1616076" y="2778125"/>
              <a:ext cx="1304925" cy="1300163"/>
              <a:chOff x="1616076" y="2778125"/>
              <a:chExt cx="1304925" cy="1300163"/>
            </a:xfrm>
          </p:grpSpPr>
          <p:sp>
            <p:nvSpPr>
              <p:cNvPr id="28" name="Freeform 5">
                <a:extLst>
                  <a:ext uri="{FF2B5EF4-FFF2-40B4-BE49-F238E27FC236}">
                    <a16:creationId xmlns:a16="http://schemas.microsoft.com/office/drawing/2014/main" id="{C4BC3B48-BF94-E524-B437-6CF14917AEB6}"/>
                  </a:ext>
                </a:extLst>
              </p:cNvPr>
              <p:cNvSpPr>
                <a:spLocks noEditPoints="1"/>
              </p:cNvSpPr>
              <p:nvPr/>
            </p:nvSpPr>
            <p:spPr bwMode="auto">
              <a:xfrm>
                <a:off x="2263776" y="2849563"/>
                <a:ext cx="657225" cy="1109663"/>
              </a:xfrm>
              <a:custGeom>
                <a:avLst/>
                <a:gdLst>
                  <a:gd name="T0" fmla="*/ 858 w 919"/>
                  <a:gd name="T1" fmla="*/ 484 h 1555"/>
                  <a:gd name="T2" fmla="*/ 622 w 919"/>
                  <a:gd name="T3" fmla="*/ 138 h 1555"/>
                  <a:gd name="T4" fmla="*/ 424 w 919"/>
                  <a:gd name="T5" fmla="*/ 0 h 1555"/>
                  <a:gd name="T6" fmla="*/ 272 w 919"/>
                  <a:gd name="T7" fmla="*/ 319 h 1555"/>
                  <a:gd name="T8" fmla="*/ 232 w 919"/>
                  <a:gd name="T9" fmla="*/ 281 h 1555"/>
                  <a:gd name="T10" fmla="*/ 229 w 919"/>
                  <a:gd name="T11" fmla="*/ 280 h 1555"/>
                  <a:gd name="T12" fmla="*/ 33 w 919"/>
                  <a:gd name="T13" fmla="*/ 312 h 1555"/>
                  <a:gd name="T14" fmla="*/ 111 w 919"/>
                  <a:gd name="T15" fmla="*/ 498 h 1555"/>
                  <a:gd name="T16" fmla="*/ 123 w 919"/>
                  <a:gd name="T17" fmla="*/ 503 h 1555"/>
                  <a:gd name="T18" fmla="*/ 181 w 919"/>
                  <a:gd name="T19" fmla="*/ 511 h 1555"/>
                  <a:gd name="T20" fmla="*/ 35 w 919"/>
                  <a:gd name="T21" fmla="*/ 818 h 1555"/>
                  <a:gd name="T22" fmla="*/ 164 w 919"/>
                  <a:gd name="T23" fmla="*/ 1007 h 1555"/>
                  <a:gd name="T24" fmla="*/ 300 w 919"/>
                  <a:gd name="T25" fmla="*/ 964 h 1555"/>
                  <a:gd name="T26" fmla="*/ 435 w 919"/>
                  <a:gd name="T27" fmla="*/ 1027 h 1555"/>
                  <a:gd name="T28" fmla="*/ 449 w 919"/>
                  <a:gd name="T29" fmla="*/ 1203 h 1555"/>
                  <a:gd name="T30" fmla="*/ 371 w 919"/>
                  <a:gd name="T31" fmla="*/ 1301 h 1555"/>
                  <a:gd name="T32" fmla="*/ 367 w 919"/>
                  <a:gd name="T33" fmla="*/ 1303 h 1555"/>
                  <a:gd name="T34" fmla="*/ 540 w 919"/>
                  <a:gd name="T35" fmla="*/ 1555 h 1555"/>
                  <a:gd name="T36" fmla="*/ 919 w 919"/>
                  <a:gd name="T37" fmla="*/ 813 h 1555"/>
                  <a:gd name="T38" fmla="*/ 858 w 919"/>
                  <a:gd name="T39" fmla="*/ 484 h 1555"/>
                  <a:gd name="T40" fmla="*/ 617 w 919"/>
                  <a:gd name="T41" fmla="*/ 800 h 1555"/>
                  <a:gd name="T42" fmla="*/ 557 w 919"/>
                  <a:gd name="T43" fmla="*/ 834 h 1555"/>
                  <a:gd name="T44" fmla="*/ 557 w 919"/>
                  <a:gd name="T45" fmla="*/ 889 h 1555"/>
                  <a:gd name="T46" fmla="*/ 501 w 919"/>
                  <a:gd name="T47" fmla="*/ 889 h 1555"/>
                  <a:gd name="T48" fmla="*/ 501 w 919"/>
                  <a:gd name="T49" fmla="*/ 839 h 1555"/>
                  <a:gd name="T50" fmla="*/ 425 w 919"/>
                  <a:gd name="T51" fmla="*/ 814 h 1555"/>
                  <a:gd name="T52" fmla="*/ 448 w 919"/>
                  <a:gd name="T53" fmla="*/ 757 h 1555"/>
                  <a:gd name="T54" fmla="*/ 521 w 919"/>
                  <a:gd name="T55" fmla="*/ 783 h 1555"/>
                  <a:gd name="T56" fmla="*/ 576 w 919"/>
                  <a:gd name="T57" fmla="*/ 745 h 1555"/>
                  <a:gd name="T58" fmla="*/ 562 w 919"/>
                  <a:gd name="T59" fmla="*/ 709 h 1555"/>
                  <a:gd name="T60" fmla="*/ 509 w 919"/>
                  <a:gd name="T61" fmla="*/ 672 h 1555"/>
                  <a:gd name="T62" fmla="*/ 455 w 919"/>
                  <a:gd name="T63" fmla="*/ 640 h 1555"/>
                  <a:gd name="T64" fmla="*/ 433 w 919"/>
                  <a:gd name="T65" fmla="*/ 609 h 1555"/>
                  <a:gd name="T66" fmla="*/ 426 w 919"/>
                  <a:gd name="T67" fmla="*/ 568 h 1555"/>
                  <a:gd name="T68" fmla="*/ 446 w 919"/>
                  <a:gd name="T69" fmla="*/ 510 h 1555"/>
                  <a:gd name="T70" fmla="*/ 501 w 919"/>
                  <a:gd name="T71" fmla="*/ 477 h 1555"/>
                  <a:gd name="T72" fmla="*/ 501 w 919"/>
                  <a:gd name="T73" fmla="*/ 433 h 1555"/>
                  <a:gd name="T74" fmla="*/ 557 w 919"/>
                  <a:gd name="T75" fmla="*/ 433 h 1555"/>
                  <a:gd name="T76" fmla="*/ 557 w 919"/>
                  <a:gd name="T77" fmla="*/ 474 h 1555"/>
                  <a:gd name="T78" fmla="*/ 622 w 919"/>
                  <a:gd name="T79" fmla="*/ 496 h 1555"/>
                  <a:gd name="T80" fmla="*/ 604 w 919"/>
                  <a:gd name="T81" fmla="*/ 551 h 1555"/>
                  <a:gd name="T82" fmla="*/ 534 w 919"/>
                  <a:gd name="T83" fmla="*/ 527 h 1555"/>
                  <a:gd name="T84" fmla="*/ 500 w 919"/>
                  <a:gd name="T85" fmla="*/ 539 h 1555"/>
                  <a:gd name="T86" fmla="*/ 488 w 919"/>
                  <a:gd name="T87" fmla="*/ 568 h 1555"/>
                  <a:gd name="T88" fmla="*/ 556 w 919"/>
                  <a:gd name="T89" fmla="*/ 631 h 1555"/>
                  <a:gd name="T90" fmla="*/ 607 w 919"/>
                  <a:gd name="T91" fmla="*/ 663 h 1555"/>
                  <a:gd name="T92" fmla="*/ 631 w 919"/>
                  <a:gd name="T93" fmla="*/ 697 h 1555"/>
                  <a:gd name="T94" fmla="*/ 639 w 919"/>
                  <a:gd name="T95" fmla="*/ 741 h 1555"/>
                  <a:gd name="T96" fmla="*/ 617 w 919"/>
                  <a:gd name="T97" fmla="*/ 800 h 1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9" h="1555">
                    <a:moveTo>
                      <a:pt x="858" y="484"/>
                    </a:moveTo>
                    <a:cubicBezTo>
                      <a:pt x="767" y="258"/>
                      <a:pt x="622" y="138"/>
                      <a:pt x="622" y="138"/>
                    </a:cubicBezTo>
                    <a:cubicBezTo>
                      <a:pt x="563" y="83"/>
                      <a:pt x="495" y="36"/>
                      <a:pt x="424" y="0"/>
                    </a:cubicBezTo>
                    <a:cubicBezTo>
                      <a:pt x="272" y="319"/>
                      <a:pt x="272" y="319"/>
                      <a:pt x="272" y="319"/>
                    </a:cubicBezTo>
                    <a:cubicBezTo>
                      <a:pt x="262" y="304"/>
                      <a:pt x="248" y="290"/>
                      <a:pt x="232" y="281"/>
                    </a:cubicBezTo>
                    <a:cubicBezTo>
                      <a:pt x="232" y="280"/>
                      <a:pt x="230" y="280"/>
                      <a:pt x="229" y="280"/>
                    </a:cubicBezTo>
                    <a:cubicBezTo>
                      <a:pt x="153" y="238"/>
                      <a:pt x="66" y="252"/>
                      <a:pt x="33" y="312"/>
                    </a:cubicBezTo>
                    <a:cubicBezTo>
                      <a:pt x="0" y="371"/>
                      <a:pt x="34" y="455"/>
                      <a:pt x="111" y="498"/>
                    </a:cubicBezTo>
                    <a:cubicBezTo>
                      <a:pt x="115" y="501"/>
                      <a:pt x="119" y="502"/>
                      <a:pt x="123" y="503"/>
                    </a:cubicBezTo>
                    <a:cubicBezTo>
                      <a:pt x="142" y="511"/>
                      <a:pt x="161" y="512"/>
                      <a:pt x="181" y="511"/>
                    </a:cubicBezTo>
                    <a:cubicBezTo>
                      <a:pt x="35" y="818"/>
                      <a:pt x="35" y="818"/>
                      <a:pt x="35" y="818"/>
                    </a:cubicBezTo>
                    <a:cubicBezTo>
                      <a:pt x="164" y="1007"/>
                      <a:pt x="164" y="1007"/>
                      <a:pt x="164" y="1007"/>
                    </a:cubicBezTo>
                    <a:cubicBezTo>
                      <a:pt x="206" y="978"/>
                      <a:pt x="253" y="962"/>
                      <a:pt x="300" y="964"/>
                    </a:cubicBezTo>
                    <a:cubicBezTo>
                      <a:pt x="356" y="964"/>
                      <a:pt x="404" y="988"/>
                      <a:pt x="435" y="1027"/>
                    </a:cubicBezTo>
                    <a:cubicBezTo>
                      <a:pt x="471" y="1075"/>
                      <a:pt x="476" y="1141"/>
                      <a:pt x="449" y="1203"/>
                    </a:cubicBezTo>
                    <a:cubicBezTo>
                      <a:pt x="433" y="1241"/>
                      <a:pt x="405" y="1274"/>
                      <a:pt x="371" y="1301"/>
                    </a:cubicBezTo>
                    <a:cubicBezTo>
                      <a:pt x="370" y="1301"/>
                      <a:pt x="369" y="1302"/>
                      <a:pt x="367" y="1303"/>
                    </a:cubicBezTo>
                    <a:cubicBezTo>
                      <a:pt x="540" y="1555"/>
                      <a:pt x="540" y="1555"/>
                      <a:pt x="540" y="1555"/>
                    </a:cubicBezTo>
                    <a:cubicBezTo>
                      <a:pt x="769" y="1388"/>
                      <a:pt x="919" y="1118"/>
                      <a:pt x="919" y="813"/>
                    </a:cubicBezTo>
                    <a:cubicBezTo>
                      <a:pt x="919" y="697"/>
                      <a:pt x="897" y="586"/>
                      <a:pt x="858" y="484"/>
                    </a:cubicBezTo>
                    <a:close/>
                    <a:moveTo>
                      <a:pt x="617" y="800"/>
                    </a:moveTo>
                    <a:cubicBezTo>
                      <a:pt x="603" y="816"/>
                      <a:pt x="583" y="828"/>
                      <a:pt x="557" y="834"/>
                    </a:cubicBezTo>
                    <a:cubicBezTo>
                      <a:pt x="557" y="889"/>
                      <a:pt x="557" y="889"/>
                      <a:pt x="557" y="889"/>
                    </a:cubicBezTo>
                    <a:cubicBezTo>
                      <a:pt x="501" y="889"/>
                      <a:pt x="501" y="889"/>
                      <a:pt x="501" y="889"/>
                    </a:cubicBezTo>
                    <a:cubicBezTo>
                      <a:pt x="501" y="839"/>
                      <a:pt x="501" y="839"/>
                      <a:pt x="501" y="839"/>
                    </a:cubicBezTo>
                    <a:cubicBezTo>
                      <a:pt x="474" y="837"/>
                      <a:pt x="448" y="828"/>
                      <a:pt x="425" y="814"/>
                    </a:cubicBezTo>
                    <a:cubicBezTo>
                      <a:pt x="448" y="757"/>
                      <a:pt x="448" y="757"/>
                      <a:pt x="448" y="757"/>
                    </a:cubicBezTo>
                    <a:cubicBezTo>
                      <a:pt x="473" y="775"/>
                      <a:pt x="497" y="783"/>
                      <a:pt x="521" y="783"/>
                    </a:cubicBezTo>
                    <a:cubicBezTo>
                      <a:pt x="558" y="783"/>
                      <a:pt x="576" y="770"/>
                      <a:pt x="576" y="745"/>
                    </a:cubicBezTo>
                    <a:cubicBezTo>
                      <a:pt x="576" y="732"/>
                      <a:pt x="571" y="720"/>
                      <a:pt x="562" y="709"/>
                    </a:cubicBezTo>
                    <a:cubicBezTo>
                      <a:pt x="553" y="698"/>
                      <a:pt x="535" y="685"/>
                      <a:pt x="509" y="672"/>
                    </a:cubicBezTo>
                    <a:cubicBezTo>
                      <a:pt x="482" y="659"/>
                      <a:pt x="464" y="648"/>
                      <a:pt x="455" y="640"/>
                    </a:cubicBezTo>
                    <a:cubicBezTo>
                      <a:pt x="445" y="631"/>
                      <a:pt x="438" y="621"/>
                      <a:pt x="433" y="609"/>
                    </a:cubicBezTo>
                    <a:cubicBezTo>
                      <a:pt x="427" y="597"/>
                      <a:pt x="426" y="583"/>
                      <a:pt x="426" y="568"/>
                    </a:cubicBezTo>
                    <a:cubicBezTo>
                      <a:pt x="426" y="546"/>
                      <a:pt x="432" y="527"/>
                      <a:pt x="446" y="510"/>
                    </a:cubicBezTo>
                    <a:cubicBezTo>
                      <a:pt x="460" y="493"/>
                      <a:pt x="478" y="482"/>
                      <a:pt x="501" y="477"/>
                    </a:cubicBezTo>
                    <a:cubicBezTo>
                      <a:pt x="501" y="433"/>
                      <a:pt x="501" y="433"/>
                      <a:pt x="501" y="433"/>
                    </a:cubicBezTo>
                    <a:cubicBezTo>
                      <a:pt x="557" y="433"/>
                      <a:pt x="557" y="433"/>
                      <a:pt x="557" y="433"/>
                    </a:cubicBezTo>
                    <a:cubicBezTo>
                      <a:pt x="557" y="474"/>
                      <a:pt x="557" y="474"/>
                      <a:pt x="557" y="474"/>
                    </a:cubicBezTo>
                    <a:cubicBezTo>
                      <a:pt x="586" y="478"/>
                      <a:pt x="608" y="484"/>
                      <a:pt x="622" y="496"/>
                    </a:cubicBezTo>
                    <a:cubicBezTo>
                      <a:pt x="604" y="551"/>
                      <a:pt x="604" y="551"/>
                      <a:pt x="604" y="551"/>
                    </a:cubicBezTo>
                    <a:cubicBezTo>
                      <a:pt x="582" y="534"/>
                      <a:pt x="559" y="527"/>
                      <a:pt x="534" y="527"/>
                    </a:cubicBezTo>
                    <a:cubicBezTo>
                      <a:pt x="519" y="527"/>
                      <a:pt x="508" y="530"/>
                      <a:pt x="500" y="539"/>
                    </a:cubicBezTo>
                    <a:cubicBezTo>
                      <a:pt x="492" y="546"/>
                      <a:pt x="488" y="556"/>
                      <a:pt x="488" y="568"/>
                    </a:cubicBezTo>
                    <a:cubicBezTo>
                      <a:pt x="488" y="588"/>
                      <a:pt x="510" y="609"/>
                      <a:pt x="556" y="631"/>
                    </a:cubicBezTo>
                    <a:cubicBezTo>
                      <a:pt x="579" y="643"/>
                      <a:pt x="596" y="653"/>
                      <a:pt x="607" y="663"/>
                    </a:cubicBezTo>
                    <a:cubicBezTo>
                      <a:pt x="617" y="672"/>
                      <a:pt x="625" y="684"/>
                      <a:pt x="631" y="697"/>
                    </a:cubicBezTo>
                    <a:cubicBezTo>
                      <a:pt x="636" y="710"/>
                      <a:pt x="639" y="724"/>
                      <a:pt x="639" y="741"/>
                    </a:cubicBezTo>
                    <a:cubicBezTo>
                      <a:pt x="639" y="763"/>
                      <a:pt x="631" y="782"/>
                      <a:pt x="617" y="8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29" name="Freeform 6">
                <a:extLst>
                  <a:ext uri="{FF2B5EF4-FFF2-40B4-BE49-F238E27FC236}">
                    <a16:creationId xmlns:a16="http://schemas.microsoft.com/office/drawing/2014/main" id="{5884EB8C-DF51-A9E9-81FA-680B3A0475E1}"/>
                  </a:ext>
                </a:extLst>
              </p:cNvPr>
              <p:cNvSpPr>
                <a:spLocks noEditPoints="1"/>
              </p:cNvSpPr>
              <p:nvPr/>
            </p:nvSpPr>
            <p:spPr bwMode="auto">
              <a:xfrm>
                <a:off x="1616076" y="2778125"/>
                <a:ext cx="1000125" cy="1300163"/>
              </a:xfrm>
              <a:custGeom>
                <a:avLst/>
                <a:gdLst>
                  <a:gd name="T0" fmla="*/ 590 w 1403"/>
                  <a:gd name="T1" fmla="*/ 916 h 1822"/>
                  <a:gd name="T2" fmla="*/ 888 w 1403"/>
                  <a:gd name="T3" fmla="*/ 534 h 1822"/>
                  <a:gd name="T4" fmla="*/ 1282 w 1403"/>
                  <a:gd name="T5" fmla="*/ 77 h 1822"/>
                  <a:gd name="T6" fmla="*/ 0 w 1403"/>
                  <a:gd name="T7" fmla="*/ 912 h 1822"/>
                  <a:gd name="T8" fmla="*/ 584 w 1403"/>
                  <a:gd name="T9" fmla="*/ 712 h 1822"/>
                  <a:gd name="T10" fmla="*/ 474 w 1403"/>
                  <a:gd name="T11" fmla="*/ 721 h 1822"/>
                  <a:gd name="T12" fmla="*/ 574 w 1403"/>
                  <a:gd name="T13" fmla="*/ 687 h 1822"/>
                  <a:gd name="T14" fmla="*/ 461 w 1403"/>
                  <a:gd name="T15" fmla="*/ 679 h 1822"/>
                  <a:gd name="T16" fmla="*/ 602 w 1403"/>
                  <a:gd name="T17" fmla="*/ 669 h 1822"/>
                  <a:gd name="T18" fmla="*/ 450 w 1403"/>
                  <a:gd name="T19" fmla="*/ 640 h 1822"/>
                  <a:gd name="T20" fmla="*/ 592 w 1403"/>
                  <a:gd name="T21" fmla="*/ 650 h 1822"/>
                  <a:gd name="T22" fmla="*/ 620 w 1403"/>
                  <a:gd name="T23" fmla="*/ 525 h 1822"/>
                  <a:gd name="T24" fmla="*/ 537 w 1403"/>
                  <a:gd name="T25" fmla="*/ 615 h 1822"/>
                  <a:gd name="T26" fmla="*/ 558 w 1403"/>
                  <a:gd name="T27" fmla="*/ 509 h 1822"/>
                  <a:gd name="T28" fmla="*/ 548 w 1403"/>
                  <a:gd name="T29" fmla="*/ 468 h 1822"/>
                  <a:gd name="T30" fmla="*/ 539 w 1403"/>
                  <a:gd name="T31" fmla="*/ 424 h 1822"/>
                  <a:gd name="T32" fmla="*/ 525 w 1403"/>
                  <a:gd name="T33" fmla="*/ 488 h 1822"/>
                  <a:gd name="T34" fmla="*/ 535 w 1403"/>
                  <a:gd name="T35" fmla="*/ 530 h 1822"/>
                  <a:gd name="T36" fmla="*/ 472 w 1403"/>
                  <a:gd name="T37" fmla="*/ 615 h 1822"/>
                  <a:gd name="T38" fmla="*/ 432 w 1403"/>
                  <a:gd name="T39" fmla="*/ 524 h 1822"/>
                  <a:gd name="T40" fmla="*/ 1249 w 1403"/>
                  <a:gd name="T41" fmla="*/ 1356 h 1822"/>
                  <a:gd name="T42" fmla="*/ 1067 w 1403"/>
                  <a:gd name="T43" fmla="*/ 1195 h 1822"/>
                  <a:gd name="T44" fmla="*/ 480 w 1403"/>
                  <a:gd name="T45" fmla="*/ 1174 h 1822"/>
                  <a:gd name="T46" fmla="*/ 904 w 1403"/>
                  <a:gd name="T47" fmla="*/ 1822 h 1822"/>
                  <a:gd name="T48" fmla="*/ 1174 w 1403"/>
                  <a:gd name="T49" fmla="*/ 1745 h 1822"/>
                  <a:gd name="T50" fmla="*/ 286 w 1403"/>
                  <a:gd name="T51" fmla="*/ 1516 h 1822"/>
                  <a:gd name="T52" fmla="*/ 480 w 1403"/>
                  <a:gd name="T53" fmla="*/ 1218 h 1822"/>
                  <a:gd name="T54" fmla="*/ 1031 w 1403"/>
                  <a:gd name="T55" fmla="*/ 1220 h 1822"/>
                  <a:gd name="T56" fmla="*/ 1125 w 1403"/>
                  <a:gd name="T57" fmla="*/ 1192 h 1822"/>
                  <a:gd name="T58" fmla="*/ 1266 w 1403"/>
                  <a:gd name="T59" fmla="*/ 1187 h 1822"/>
                  <a:gd name="T60" fmla="*/ 1186 w 1403"/>
                  <a:gd name="T61" fmla="*/ 1333 h 1822"/>
                  <a:gd name="T62" fmla="*/ 1174 w 1403"/>
                  <a:gd name="T63" fmla="*/ 1745 h 1822"/>
                  <a:gd name="T64" fmla="*/ 920 w 1403"/>
                  <a:gd name="T65" fmla="*/ 1609 h 1822"/>
                  <a:gd name="T66" fmla="*/ 923 w 1403"/>
                  <a:gd name="T67" fmla="*/ 1264 h 1822"/>
                  <a:gd name="T68" fmla="*/ 895 w 1403"/>
                  <a:gd name="T69" fmla="*/ 1231 h 1822"/>
                  <a:gd name="T70" fmla="*/ 683 w 1403"/>
                  <a:gd name="T71" fmla="*/ 1245 h 1822"/>
                  <a:gd name="T72" fmla="*/ 668 w 1403"/>
                  <a:gd name="T73" fmla="*/ 1269 h 1822"/>
                  <a:gd name="T74" fmla="*/ 662 w 1403"/>
                  <a:gd name="T75" fmla="*/ 1614 h 1822"/>
                  <a:gd name="T76" fmla="*/ 642 w 1403"/>
                  <a:gd name="T77" fmla="*/ 1644 h 1822"/>
                  <a:gd name="T78" fmla="*/ 944 w 1403"/>
                  <a:gd name="T79" fmla="*/ 1626 h 1822"/>
                  <a:gd name="T80" fmla="*/ 778 w 1403"/>
                  <a:gd name="T81" fmla="*/ 1286 h 1822"/>
                  <a:gd name="T82" fmla="*/ 721 w 1403"/>
                  <a:gd name="T83" fmla="*/ 1370 h 1822"/>
                  <a:gd name="T84" fmla="*/ 718 w 1403"/>
                  <a:gd name="T85" fmla="*/ 1391 h 1822"/>
                  <a:gd name="T86" fmla="*/ 782 w 1403"/>
                  <a:gd name="T87" fmla="*/ 1468 h 1822"/>
                  <a:gd name="T88" fmla="*/ 788 w 1403"/>
                  <a:gd name="T89" fmla="*/ 1597 h 1822"/>
                  <a:gd name="T90" fmla="*/ 736 w 1403"/>
                  <a:gd name="T91" fmla="*/ 1511 h 1822"/>
                  <a:gd name="T92" fmla="*/ 788 w 1403"/>
                  <a:gd name="T93" fmla="*/ 1597 h 1822"/>
                  <a:gd name="T94" fmla="*/ 799 w 1403"/>
                  <a:gd name="T95" fmla="*/ 1597 h 1822"/>
                  <a:gd name="T96" fmla="*/ 850 w 1403"/>
                  <a:gd name="T97" fmla="*/ 1511 h 1822"/>
                  <a:gd name="T98" fmla="*/ 808 w 1403"/>
                  <a:gd name="T99" fmla="*/ 1471 h 1822"/>
                  <a:gd name="T100" fmla="*/ 866 w 1403"/>
                  <a:gd name="T101" fmla="*/ 1388 h 1822"/>
                  <a:gd name="T102" fmla="*/ 866 w 1403"/>
                  <a:gd name="T103" fmla="*/ 1370 h 1822"/>
                  <a:gd name="T104" fmla="*/ 808 w 1403"/>
                  <a:gd name="T105" fmla="*/ 1286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3" h="1822">
                    <a:moveTo>
                      <a:pt x="353" y="977"/>
                    </a:moveTo>
                    <a:cubicBezTo>
                      <a:pt x="362" y="1064"/>
                      <a:pt x="424" y="1130"/>
                      <a:pt x="493" y="1124"/>
                    </a:cubicBezTo>
                    <a:cubicBezTo>
                      <a:pt x="561" y="1117"/>
                      <a:pt x="609" y="1040"/>
                      <a:pt x="602" y="953"/>
                    </a:cubicBezTo>
                    <a:cubicBezTo>
                      <a:pt x="600" y="940"/>
                      <a:pt x="595" y="927"/>
                      <a:pt x="590" y="916"/>
                    </a:cubicBezTo>
                    <a:cubicBezTo>
                      <a:pt x="895" y="891"/>
                      <a:pt x="895" y="891"/>
                      <a:pt x="895" y="891"/>
                    </a:cubicBezTo>
                    <a:cubicBezTo>
                      <a:pt x="1007" y="654"/>
                      <a:pt x="1007" y="654"/>
                      <a:pt x="1007" y="654"/>
                    </a:cubicBezTo>
                    <a:cubicBezTo>
                      <a:pt x="1002" y="652"/>
                      <a:pt x="997" y="649"/>
                      <a:pt x="993" y="646"/>
                    </a:cubicBezTo>
                    <a:cubicBezTo>
                      <a:pt x="945" y="620"/>
                      <a:pt x="907" y="579"/>
                      <a:pt x="888" y="534"/>
                    </a:cubicBezTo>
                    <a:cubicBezTo>
                      <a:pt x="866" y="483"/>
                      <a:pt x="868" y="429"/>
                      <a:pt x="892" y="386"/>
                    </a:cubicBezTo>
                    <a:cubicBezTo>
                      <a:pt x="922" y="333"/>
                      <a:pt x="980" y="301"/>
                      <a:pt x="1049" y="301"/>
                    </a:cubicBezTo>
                    <a:cubicBezTo>
                      <a:pt x="1087" y="301"/>
                      <a:pt x="1126" y="311"/>
                      <a:pt x="1161" y="330"/>
                    </a:cubicBezTo>
                    <a:cubicBezTo>
                      <a:pt x="1282" y="77"/>
                      <a:pt x="1282" y="77"/>
                      <a:pt x="1282" y="77"/>
                    </a:cubicBezTo>
                    <a:cubicBezTo>
                      <a:pt x="1169" y="27"/>
                      <a:pt x="1045" y="0"/>
                      <a:pt x="913" y="0"/>
                    </a:cubicBezTo>
                    <a:cubicBezTo>
                      <a:pt x="626" y="0"/>
                      <a:pt x="369" y="133"/>
                      <a:pt x="201" y="340"/>
                    </a:cubicBezTo>
                    <a:cubicBezTo>
                      <a:pt x="49" y="531"/>
                      <a:pt x="20" y="719"/>
                      <a:pt x="20" y="719"/>
                    </a:cubicBezTo>
                    <a:cubicBezTo>
                      <a:pt x="6" y="781"/>
                      <a:pt x="0" y="845"/>
                      <a:pt x="0" y="912"/>
                    </a:cubicBezTo>
                    <a:cubicBezTo>
                      <a:pt x="0" y="930"/>
                      <a:pt x="0" y="948"/>
                      <a:pt x="1" y="965"/>
                    </a:cubicBezTo>
                    <a:cubicBezTo>
                      <a:pt x="358" y="935"/>
                      <a:pt x="358" y="935"/>
                      <a:pt x="358" y="935"/>
                    </a:cubicBezTo>
                    <a:cubicBezTo>
                      <a:pt x="355" y="949"/>
                      <a:pt x="352" y="963"/>
                      <a:pt x="353" y="977"/>
                    </a:cubicBezTo>
                    <a:close/>
                    <a:moveTo>
                      <a:pt x="584" y="712"/>
                    </a:moveTo>
                    <a:cubicBezTo>
                      <a:pt x="584" y="716"/>
                      <a:pt x="582" y="719"/>
                      <a:pt x="578" y="721"/>
                    </a:cubicBezTo>
                    <a:cubicBezTo>
                      <a:pt x="559" y="730"/>
                      <a:pt x="541" y="731"/>
                      <a:pt x="532" y="731"/>
                    </a:cubicBezTo>
                    <a:cubicBezTo>
                      <a:pt x="529" y="731"/>
                      <a:pt x="527" y="731"/>
                      <a:pt x="526" y="731"/>
                    </a:cubicBezTo>
                    <a:cubicBezTo>
                      <a:pt x="521" y="731"/>
                      <a:pt x="498" y="732"/>
                      <a:pt x="474" y="721"/>
                    </a:cubicBezTo>
                    <a:cubicBezTo>
                      <a:pt x="471" y="719"/>
                      <a:pt x="468" y="716"/>
                      <a:pt x="468" y="712"/>
                    </a:cubicBezTo>
                    <a:cubicBezTo>
                      <a:pt x="468" y="712"/>
                      <a:pt x="468" y="712"/>
                      <a:pt x="468" y="698"/>
                    </a:cubicBezTo>
                    <a:cubicBezTo>
                      <a:pt x="468" y="692"/>
                      <a:pt x="473" y="687"/>
                      <a:pt x="479" y="687"/>
                    </a:cubicBezTo>
                    <a:cubicBezTo>
                      <a:pt x="479" y="687"/>
                      <a:pt x="479" y="687"/>
                      <a:pt x="574" y="687"/>
                    </a:cubicBezTo>
                    <a:cubicBezTo>
                      <a:pt x="579" y="687"/>
                      <a:pt x="584" y="692"/>
                      <a:pt x="584" y="698"/>
                    </a:cubicBezTo>
                    <a:cubicBezTo>
                      <a:pt x="584" y="698"/>
                      <a:pt x="584" y="698"/>
                      <a:pt x="584" y="712"/>
                    </a:cubicBezTo>
                    <a:close/>
                    <a:moveTo>
                      <a:pt x="592" y="679"/>
                    </a:moveTo>
                    <a:cubicBezTo>
                      <a:pt x="592" y="679"/>
                      <a:pt x="592" y="679"/>
                      <a:pt x="461" y="679"/>
                    </a:cubicBezTo>
                    <a:cubicBezTo>
                      <a:pt x="455" y="679"/>
                      <a:pt x="450" y="674"/>
                      <a:pt x="450" y="669"/>
                    </a:cubicBezTo>
                    <a:cubicBezTo>
                      <a:pt x="450" y="663"/>
                      <a:pt x="455" y="658"/>
                      <a:pt x="461" y="658"/>
                    </a:cubicBezTo>
                    <a:cubicBezTo>
                      <a:pt x="461" y="658"/>
                      <a:pt x="461" y="658"/>
                      <a:pt x="592" y="658"/>
                    </a:cubicBezTo>
                    <a:cubicBezTo>
                      <a:pt x="597" y="658"/>
                      <a:pt x="602" y="663"/>
                      <a:pt x="602" y="669"/>
                    </a:cubicBezTo>
                    <a:cubicBezTo>
                      <a:pt x="602" y="674"/>
                      <a:pt x="597" y="679"/>
                      <a:pt x="592" y="679"/>
                    </a:cubicBezTo>
                    <a:close/>
                    <a:moveTo>
                      <a:pt x="592" y="650"/>
                    </a:moveTo>
                    <a:cubicBezTo>
                      <a:pt x="592" y="650"/>
                      <a:pt x="592" y="650"/>
                      <a:pt x="461" y="650"/>
                    </a:cubicBezTo>
                    <a:cubicBezTo>
                      <a:pt x="455" y="650"/>
                      <a:pt x="450" y="645"/>
                      <a:pt x="450" y="640"/>
                    </a:cubicBezTo>
                    <a:cubicBezTo>
                      <a:pt x="450" y="634"/>
                      <a:pt x="455" y="629"/>
                      <a:pt x="461" y="629"/>
                    </a:cubicBezTo>
                    <a:cubicBezTo>
                      <a:pt x="461" y="629"/>
                      <a:pt x="461" y="629"/>
                      <a:pt x="592" y="629"/>
                    </a:cubicBezTo>
                    <a:cubicBezTo>
                      <a:pt x="597" y="629"/>
                      <a:pt x="602" y="634"/>
                      <a:pt x="602" y="640"/>
                    </a:cubicBezTo>
                    <a:cubicBezTo>
                      <a:pt x="602" y="645"/>
                      <a:pt x="597" y="650"/>
                      <a:pt x="592" y="650"/>
                    </a:cubicBezTo>
                    <a:close/>
                    <a:moveTo>
                      <a:pt x="526" y="317"/>
                    </a:moveTo>
                    <a:cubicBezTo>
                      <a:pt x="595" y="317"/>
                      <a:pt x="651" y="373"/>
                      <a:pt x="651" y="442"/>
                    </a:cubicBezTo>
                    <a:cubicBezTo>
                      <a:pt x="651" y="472"/>
                      <a:pt x="641" y="501"/>
                      <a:pt x="621" y="524"/>
                    </a:cubicBezTo>
                    <a:cubicBezTo>
                      <a:pt x="620" y="525"/>
                      <a:pt x="620" y="525"/>
                      <a:pt x="620" y="525"/>
                    </a:cubicBezTo>
                    <a:cubicBezTo>
                      <a:pt x="620" y="525"/>
                      <a:pt x="591" y="552"/>
                      <a:pt x="591" y="582"/>
                    </a:cubicBezTo>
                    <a:cubicBezTo>
                      <a:pt x="591" y="615"/>
                      <a:pt x="591" y="615"/>
                      <a:pt x="591" y="615"/>
                    </a:cubicBezTo>
                    <a:cubicBezTo>
                      <a:pt x="581" y="615"/>
                      <a:pt x="581" y="615"/>
                      <a:pt x="581" y="615"/>
                    </a:cubicBezTo>
                    <a:cubicBezTo>
                      <a:pt x="537" y="615"/>
                      <a:pt x="537" y="615"/>
                      <a:pt x="537" y="615"/>
                    </a:cubicBezTo>
                    <a:cubicBezTo>
                      <a:pt x="537" y="560"/>
                      <a:pt x="537" y="560"/>
                      <a:pt x="537" y="560"/>
                    </a:cubicBezTo>
                    <a:cubicBezTo>
                      <a:pt x="566" y="527"/>
                      <a:pt x="566" y="527"/>
                      <a:pt x="566" y="527"/>
                    </a:cubicBezTo>
                    <a:cubicBezTo>
                      <a:pt x="569" y="523"/>
                      <a:pt x="569" y="519"/>
                      <a:pt x="567" y="515"/>
                    </a:cubicBezTo>
                    <a:cubicBezTo>
                      <a:pt x="566" y="512"/>
                      <a:pt x="562" y="509"/>
                      <a:pt x="558" y="509"/>
                    </a:cubicBezTo>
                    <a:cubicBezTo>
                      <a:pt x="534" y="509"/>
                      <a:pt x="534" y="509"/>
                      <a:pt x="534" y="509"/>
                    </a:cubicBezTo>
                    <a:cubicBezTo>
                      <a:pt x="556" y="485"/>
                      <a:pt x="556" y="485"/>
                      <a:pt x="556" y="485"/>
                    </a:cubicBezTo>
                    <a:cubicBezTo>
                      <a:pt x="558" y="482"/>
                      <a:pt x="559" y="478"/>
                      <a:pt x="557" y="474"/>
                    </a:cubicBezTo>
                    <a:cubicBezTo>
                      <a:pt x="556" y="470"/>
                      <a:pt x="552" y="468"/>
                      <a:pt x="548" y="468"/>
                    </a:cubicBezTo>
                    <a:cubicBezTo>
                      <a:pt x="529" y="468"/>
                      <a:pt x="529" y="468"/>
                      <a:pt x="529" y="468"/>
                    </a:cubicBezTo>
                    <a:cubicBezTo>
                      <a:pt x="555" y="436"/>
                      <a:pt x="555" y="436"/>
                      <a:pt x="555" y="436"/>
                    </a:cubicBezTo>
                    <a:cubicBezTo>
                      <a:pt x="558" y="432"/>
                      <a:pt x="557" y="425"/>
                      <a:pt x="553" y="422"/>
                    </a:cubicBezTo>
                    <a:cubicBezTo>
                      <a:pt x="548" y="418"/>
                      <a:pt x="542" y="419"/>
                      <a:pt x="539" y="424"/>
                    </a:cubicBezTo>
                    <a:cubicBezTo>
                      <a:pt x="499" y="471"/>
                      <a:pt x="499" y="471"/>
                      <a:pt x="499" y="471"/>
                    </a:cubicBezTo>
                    <a:cubicBezTo>
                      <a:pt x="496" y="475"/>
                      <a:pt x="496" y="479"/>
                      <a:pt x="498" y="482"/>
                    </a:cubicBezTo>
                    <a:cubicBezTo>
                      <a:pt x="500" y="486"/>
                      <a:pt x="503" y="488"/>
                      <a:pt x="507" y="488"/>
                    </a:cubicBezTo>
                    <a:cubicBezTo>
                      <a:pt x="525" y="488"/>
                      <a:pt x="525" y="488"/>
                      <a:pt x="525" y="488"/>
                    </a:cubicBezTo>
                    <a:cubicBezTo>
                      <a:pt x="503" y="513"/>
                      <a:pt x="503" y="513"/>
                      <a:pt x="503" y="513"/>
                    </a:cubicBezTo>
                    <a:cubicBezTo>
                      <a:pt x="500" y="516"/>
                      <a:pt x="500" y="520"/>
                      <a:pt x="501" y="524"/>
                    </a:cubicBezTo>
                    <a:cubicBezTo>
                      <a:pt x="503" y="528"/>
                      <a:pt x="507" y="530"/>
                      <a:pt x="511" y="530"/>
                    </a:cubicBezTo>
                    <a:cubicBezTo>
                      <a:pt x="535" y="530"/>
                      <a:pt x="535" y="530"/>
                      <a:pt x="535" y="530"/>
                    </a:cubicBezTo>
                    <a:cubicBezTo>
                      <a:pt x="518" y="549"/>
                      <a:pt x="518" y="549"/>
                      <a:pt x="518" y="549"/>
                    </a:cubicBezTo>
                    <a:cubicBezTo>
                      <a:pt x="517" y="551"/>
                      <a:pt x="516" y="553"/>
                      <a:pt x="516" y="556"/>
                    </a:cubicBezTo>
                    <a:cubicBezTo>
                      <a:pt x="516" y="615"/>
                      <a:pt x="516" y="615"/>
                      <a:pt x="516" y="615"/>
                    </a:cubicBezTo>
                    <a:cubicBezTo>
                      <a:pt x="472" y="615"/>
                      <a:pt x="472" y="615"/>
                      <a:pt x="472" y="615"/>
                    </a:cubicBezTo>
                    <a:cubicBezTo>
                      <a:pt x="461" y="615"/>
                      <a:pt x="461" y="615"/>
                      <a:pt x="461" y="615"/>
                    </a:cubicBezTo>
                    <a:cubicBezTo>
                      <a:pt x="461" y="582"/>
                      <a:pt x="461" y="582"/>
                      <a:pt x="461" y="582"/>
                    </a:cubicBezTo>
                    <a:cubicBezTo>
                      <a:pt x="461" y="552"/>
                      <a:pt x="432" y="525"/>
                      <a:pt x="432" y="525"/>
                    </a:cubicBezTo>
                    <a:cubicBezTo>
                      <a:pt x="432" y="524"/>
                      <a:pt x="432" y="524"/>
                      <a:pt x="432" y="524"/>
                    </a:cubicBezTo>
                    <a:cubicBezTo>
                      <a:pt x="412" y="501"/>
                      <a:pt x="401" y="472"/>
                      <a:pt x="401" y="442"/>
                    </a:cubicBezTo>
                    <a:cubicBezTo>
                      <a:pt x="401" y="373"/>
                      <a:pt x="457" y="317"/>
                      <a:pt x="526" y="317"/>
                    </a:cubicBezTo>
                    <a:close/>
                    <a:moveTo>
                      <a:pt x="1191" y="1377"/>
                    </a:moveTo>
                    <a:cubicBezTo>
                      <a:pt x="1212" y="1374"/>
                      <a:pt x="1232" y="1368"/>
                      <a:pt x="1249" y="1356"/>
                    </a:cubicBezTo>
                    <a:cubicBezTo>
                      <a:pt x="1318" y="1303"/>
                      <a:pt x="1342" y="1215"/>
                      <a:pt x="1301" y="1161"/>
                    </a:cubicBezTo>
                    <a:cubicBezTo>
                      <a:pt x="1279" y="1132"/>
                      <a:pt x="1245" y="1118"/>
                      <a:pt x="1208" y="1118"/>
                    </a:cubicBezTo>
                    <a:cubicBezTo>
                      <a:pt x="1172" y="1118"/>
                      <a:pt x="1133" y="1131"/>
                      <a:pt x="1099" y="1157"/>
                    </a:cubicBezTo>
                    <a:cubicBezTo>
                      <a:pt x="1085" y="1167"/>
                      <a:pt x="1075" y="1181"/>
                      <a:pt x="1067" y="1195"/>
                    </a:cubicBezTo>
                    <a:cubicBezTo>
                      <a:pt x="896" y="946"/>
                      <a:pt x="896" y="946"/>
                      <a:pt x="896" y="946"/>
                    </a:cubicBezTo>
                    <a:cubicBezTo>
                      <a:pt x="657" y="966"/>
                      <a:pt x="657" y="966"/>
                      <a:pt x="657" y="966"/>
                    </a:cubicBezTo>
                    <a:cubicBezTo>
                      <a:pt x="640" y="1155"/>
                      <a:pt x="518" y="1170"/>
                      <a:pt x="518" y="1170"/>
                    </a:cubicBezTo>
                    <a:cubicBezTo>
                      <a:pt x="505" y="1173"/>
                      <a:pt x="492" y="1174"/>
                      <a:pt x="480" y="1174"/>
                    </a:cubicBezTo>
                    <a:cubicBezTo>
                      <a:pt x="349" y="1174"/>
                      <a:pt x="299" y="997"/>
                      <a:pt x="299" y="997"/>
                    </a:cubicBezTo>
                    <a:cubicBezTo>
                      <a:pt x="5" y="1023"/>
                      <a:pt x="5" y="1023"/>
                      <a:pt x="5" y="1023"/>
                    </a:cubicBezTo>
                    <a:cubicBezTo>
                      <a:pt x="54" y="1427"/>
                      <a:pt x="367" y="1751"/>
                      <a:pt x="767" y="1814"/>
                    </a:cubicBezTo>
                    <a:cubicBezTo>
                      <a:pt x="767" y="1814"/>
                      <a:pt x="821" y="1822"/>
                      <a:pt x="904" y="1822"/>
                    </a:cubicBezTo>
                    <a:cubicBezTo>
                      <a:pt x="981" y="1822"/>
                      <a:pt x="1082" y="1815"/>
                      <a:pt x="1186" y="1787"/>
                    </a:cubicBezTo>
                    <a:cubicBezTo>
                      <a:pt x="1264" y="1763"/>
                      <a:pt x="1336" y="1729"/>
                      <a:pt x="1403" y="1685"/>
                    </a:cubicBezTo>
                    <a:cubicBezTo>
                      <a:pt x="1191" y="1377"/>
                      <a:pt x="1191" y="1377"/>
                      <a:pt x="1191" y="1377"/>
                    </a:cubicBezTo>
                    <a:close/>
                    <a:moveTo>
                      <a:pt x="1174" y="1745"/>
                    </a:moveTo>
                    <a:cubicBezTo>
                      <a:pt x="1092" y="1767"/>
                      <a:pt x="999" y="1778"/>
                      <a:pt x="904" y="1778"/>
                    </a:cubicBezTo>
                    <a:cubicBezTo>
                      <a:pt x="828" y="1778"/>
                      <a:pt x="776" y="1771"/>
                      <a:pt x="774" y="1771"/>
                    </a:cubicBezTo>
                    <a:cubicBezTo>
                      <a:pt x="680" y="1756"/>
                      <a:pt x="590" y="1726"/>
                      <a:pt x="506" y="1682"/>
                    </a:cubicBezTo>
                    <a:cubicBezTo>
                      <a:pt x="424" y="1639"/>
                      <a:pt x="350" y="1583"/>
                      <a:pt x="286" y="1516"/>
                    </a:cubicBezTo>
                    <a:cubicBezTo>
                      <a:pt x="221" y="1449"/>
                      <a:pt x="168" y="1373"/>
                      <a:pt x="128" y="1289"/>
                    </a:cubicBezTo>
                    <a:cubicBezTo>
                      <a:pt x="93" y="1217"/>
                      <a:pt x="69" y="1141"/>
                      <a:pt x="56" y="1063"/>
                    </a:cubicBezTo>
                    <a:cubicBezTo>
                      <a:pt x="269" y="1044"/>
                      <a:pt x="269" y="1044"/>
                      <a:pt x="269" y="1044"/>
                    </a:cubicBezTo>
                    <a:cubicBezTo>
                      <a:pt x="294" y="1104"/>
                      <a:pt x="357" y="1218"/>
                      <a:pt x="480" y="1218"/>
                    </a:cubicBezTo>
                    <a:cubicBezTo>
                      <a:pt x="495" y="1218"/>
                      <a:pt x="511" y="1216"/>
                      <a:pt x="527" y="1213"/>
                    </a:cubicBezTo>
                    <a:cubicBezTo>
                      <a:pt x="548" y="1209"/>
                      <a:pt x="666" y="1180"/>
                      <a:pt x="696" y="1007"/>
                    </a:cubicBezTo>
                    <a:cubicBezTo>
                      <a:pt x="874" y="992"/>
                      <a:pt x="874" y="992"/>
                      <a:pt x="874" y="992"/>
                    </a:cubicBezTo>
                    <a:cubicBezTo>
                      <a:pt x="1031" y="1220"/>
                      <a:pt x="1031" y="1220"/>
                      <a:pt x="1031" y="1220"/>
                    </a:cubicBezTo>
                    <a:cubicBezTo>
                      <a:pt x="1071" y="1279"/>
                      <a:pt x="1071" y="1279"/>
                      <a:pt x="1071" y="1279"/>
                    </a:cubicBezTo>
                    <a:cubicBezTo>
                      <a:pt x="1106" y="1216"/>
                      <a:pt x="1106" y="1216"/>
                      <a:pt x="1106" y="1216"/>
                    </a:cubicBezTo>
                    <a:cubicBezTo>
                      <a:pt x="1111" y="1205"/>
                      <a:pt x="1118" y="1197"/>
                      <a:pt x="1125" y="1193"/>
                    </a:cubicBezTo>
                    <a:cubicBezTo>
                      <a:pt x="1125" y="1192"/>
                      <a:pt x="1125" y="1192"/>
                      <a:pt x="1125" y="1192"/>
                    </a:cubicBezTo>
                    <a:cubicBezTo>
                      <a:pt x="1125" y="1192"/>
                      <a:pt x="1125" y="1192"/>
                      <a:pt x="1125" y="1192"/>
                    </a:cubicBezTo>
                    <a:cubicBezTo>
                      <a:pt x="1151" y="1173"/>
                      <a:pt x="1180" y="1162"/>
                      <a:pt x="1208" y="1162"/>
                    </a:cubicBezTo>
                    <a:cubicBezTo>
                      <a:pt x="1222" y="1162"/>
                      <a:pt x="1249" y="1165"/>
                      <a:pt x="1265" y="1187"/>
                    </a:cubicBezTo>
                    <a:cubicBezTo>
                      <a:pt x="1266" y="1187"/>
                      <a:pt x="1266" y="1187"/>
                      <a:pt x="1266" y="1187"/>
                    </a:cubicBezTo>
                    <a:cubicBezTo>
                      <a:pt x="1266" y="1188"/>
                      <a:pt x="1266" y="1188"/>
                      <a:pt x="1266" y="1188"/>
                    </a:cubicBezTo>
                    <a:cubicBezTo>
                      <a:pt x="1278" y="1203"/>
                      <a:pt x="1278" y="1222"/>
                      <a:pt x="1276" y="1235"/>
                    </a:cubicBezTo>
                    <a:cubicBezTo>
                      <a:pt x="1272" y="1266"/>
                      <a:pt x="1252" y="1298"/>
                      <a:pt x="1223" y="1321"/>
                    </a:cubicBezTo>
                    <a:cubicBezTo>
                      <a:pt x="1213" y="1327"/>
                      <a:pt x="1201" y="1331"/>
                      <a:pt x="1186" y="1333"/>
                    </a:cubicBezTo>
                    <a:cubicBezTo>
                      <a:pt x="1114" y="1342"/>
                      <a:pt x="1114" y="1342"/>
                      <a:pt x="1114" y="1342"/>
                    </a:cubicBezTo>
                    <a:cubicBezTo>
                      <a:pt x="1155" y="1402"/>
                      <a:pt x="1155" y="1402"/>
                      <a:pt x="1155" y="1402"/>
                    </a:cubicBezTo>
                    <a:cubicBezTo>
                      <a:pt x="1341" y="1672"/>
                      <a:pt x="1341" y="1672"/>
                      <a:pt x="1341" y="1672"/>
                    </a:cubicBezTo>
                    <a:cubicBezTo>
                      <a:pt x="1288" y="1702"/>
                      <a:pt x="1232" y="1727"/>
                      <a:pt x="1174" y="1745"/>
                    </a:cubicBezTo>
                    <a:close/>
                    <a:moveTo>
                      <a:pt x="939" y="1621"/>
                    </a:moveTo>
                    <a:cubicBezTo>
                      <a:pt x="925" y="1621"/>
                      <a:pt x="925" y="1621"/>
                      <a:pt x="925" y="1621"/>
                    </a:cubicBezTo>
                    <a:cubicBezTo>
                      <a:pt x="925" y="1614"/>
                      <a:pt x="925" y="1614"/>
                      <a:pt x="925" y="1614"/>
                    </a:cubicBezTo>
                    <a:cubicBezTo>
                      <a:pt x="925" y="1611"/>
                      <a:pt x="923" y="1609"/>
                      <a:pt x="920" y="1609"/>
                    </a:cubicBezTo>
                    <a:cubicBezTo>
                      <a:pt x="919" y="1609"/>
                      <a:pt x="917" y="1609"/>
                      <a:pt x="916" y="1609"/>
                    </a:cubicBezTo>
                    <a:cubicBezTo>
                      <a:pt x="916" y="1279"/>
                      <a:pt x="916" y="1269"/>
                      <a:pt x="916" y="1269"/>
                    </a:cubicBezTo>
                    <a:cubicBezTo>
                      <a:pt x="918" y="1269"/>
                      <a:pt x="918" y="1269"/>
                      <a:pt x="918" y="1269"/>
                    </a:cubicBezTo>
                    <a:cubicBezTo>
                      <a:pt x="921" y="1269"/>
                      <a:pt x="923" y="1267"/>
                      <a:pt x="923" y="1264"/>
                    </a:cubicBezTo>
                    <a:cubicBezTo>
                      <a:pt x="923" y="1250"/>
                      <a:pt x="923" y="1250"/>
                      <a:pt x="923" y="1250"/>
                    </a:cubicBezTo>
                    <a:cubicBezTo>
                      <a:pt x="923" y="1247"/>
                      <a:pt x="921" y="1245"/>
                      <a:pt x="918" y="1245"/>
                    </a:cubicBezTo>
                    <a:cubicBezTo>
                      <a:pt x="904" y="1245"/>
                      <a:pt x="904" y="1245"/>
                      <a:pt x="904" y="1245"/>
                    </a:cubicBezTo>
                    <a:cubicBezTo>
                      <a:pt x="895" y="1231"/>
                      <a:pt x="895" y="1231"/>
                      <a:pt x="895" y="1231"/>
                    </a:cubicBezTo>
                    <a:cubicBezTo>
                      <a:pt x="894" y="1230"/>
                      <a:pt x="892" y="1229"/>
                      <a:pt x="891" y="1229"/>
                    </a:cubicBezTo>
                    <a:cubicBezTo>
                      <a:pt x="696" y="1229"/>
                      <a:pt x="696" y="1229"/>
                      <a:pt x="696" y="1229"/>
                    </a:cubicBezTo>
                    <a:cubicBezTo>
                      <a:pt x="694" y="1229"/>
                      <a:pt x="693" y="1230"/>
                      <a:pt x="692" y="1231"/>
                    </a:cubicBezTo>
                    <a:cubicBezTo>
                      <a:pt x="683" y="1245"/>
                      <a:pt x="683" y="1245"/>
                      <a:pt x="683" y="1245"/>
                    </a:cubicBezTo>
                    <a:cubicBezTo>
                      <a:pt x="668" y="1245"/>
                      <a:pt x="668" y="1245"/>
                      <a:pt x="668" y="1245"/>
                    </a:cubicBezTo>
                    <a:cubicBezTo>
                      <a:pt x="665" y="1245"/>
                      <a:pt x="663" y="1247"/>
                      <a:pt x="663" y="1250"/>
                    </a:cubicBezTo>
                    <a:cubicBezTo>
                      <a:pt x="663" y="1264"/>
                      <a:pt x="663" y="1264"/>
                      <a:pt x="663" y="1264"/>
                    </a:cubicBezTo>
                    <a:cubicBezTo>
                      <a:pt x="663" y="1267"/>
                      <a:pt x="665" y="1269"/>
                      <a:pt x="668" y="1269"/>
                    </a:cubicBezTo>
                    <a:cubicBezTo>
                      <a:pt x="671" y="1269"/>
                      <a:pt x="671" y="1269"/>
                      <a:pt x="671" y="1269"/>
                    </a:cubicBezTo>
                    <a:cubicBezTo>
                      <a:pt x="671" y="1600"/>
                      <a:pt x="671" y="1609"/>
                      <a:pt x="671" y="1609"/>
                    </a:cubicBezTo>
                    <a:cubicBezTo>
                      <a:pt x="666" y="1609"/>
                      <a:pt x="666" y="1609"/>
                      <a:pt x="666" y="1609"/>
                    </a:cubicBezTo>
                    <a:cubicBezTo>
                      <a:pt x="664" y="1609"/>
                      <a:pt x="662" y="1611"/>
                      <a:pt x="662" y="1614"/>
                    </a:cubicBezTo>
                    <a:cubicBezTo>
                      <a:pt x="662" y="1621"/>
                      <a:pt x="662" y="1621"/>
                      <a:pt x="662" y="1621"/>
                    </a:cubicBezTo>
                    <a:cubicBezTo>
                      <a:pt x="648" y="1621"/>
                      <a:pt x="648" y="1621"/>
                      <a:pt x="648" y="1621"/>
                    </a:cubicBezTo>
                    <a:cubicBezTo>
                      <a:pt x="645" y="1621"/>
                      <a:pt x="642" y="1623"/>
                      <a:pt x="642" y="1626"/>
                    </a:cubicBezTo>
                    <a:cubicBezTo>
                      <a:pt x="642" y="1644"/>
                      <a:pt x="642" y="1644"/>
                      <a:pt x="642" y="1644"/>
                    </a:cubicBezTo>
                    <a:cubicBezTo>
                      <a:pt x="642" y="1647"/>
                      <a:pt x="645" y="1649"/>
                      <a:pt x="648" y="1649"/>
                    </a:cubicBezTo>
                    <a:cubicBezTo>
                      <a:pt x="939" y="1649"/>
                      <a:pt x="939" y="1649"/>
                      <a:pt x="939" y="1649"/>
                    </a:cubicBezTo>
                    <a:cubicBezTo>
                      <a:pt x="942" y="1649"/>
                      <a:pt x="944" y="1647"/>
                      <a:pt x="944" y="1644"/>
                    </a:cubicBezTo>
                    <a:cubicBezTo>
                      <a:pt x="944" y="1626"/>
                      <a:pt x="944" y="1626"/>
                      <a:pt x="944" y="1626"/>
                    </a:cubicBezTo>
                    <a:cubicBezTo>
                      <a:pt x="944" y="1623"/>
                      <a:pt x="942" y="1621"/>
                      <a:pt x="939" y="1621"/>
                    </a:cubicBezTo>
                    <a:close/>
                    <a:moveTo>
                      <a:pt x="718" y="1290"/>
                    </a:moveTo>
                    <a:cubicBezTo>
                      <a:pt x="718" y="1288"/>
                      <a:pt x="719" y="1286"/>
                      <a:pt x="721" y="1286"/>
                    </a:cubicBezTo>
                    <a:cubicBezTo>
                      <a:pt x="721" y="1286"/>
                      <a:pt x="721" y="1286"/>
                      <a:pt x="778" y="1286"/>
                    </a:cubicBezTo>
                    <a:cubicBezTo>
                      <a:pt x="780" y="1286"/>
                      <a:pt x="782" y="1288"/>
                      <a:pt x="782" y="1290"/>
                    </a:cubicBezTo>
                    <a:cubicBezTo>
                      <a:pt x="782" y="1290"/>
                      <a:pt x="782" y="1290"/>
                      <a:pt x="782" y="1366"/>
                    </a:cubicBezTo>
                    <a:cubicBezTo>
                      <a:pt x="782" y="1368"/>
                      <a:pt x="780" y="1370"/>
                      <a:pt x="778" y="1370"/>
                    </a:cubicBezTo>
                    <a:cubicBezTo>
                      <a:pt x="778" y="1370"/>
                      <a:pt x="778" y="1370"/>
                      <a:pt x="721" y="1370"/>
                    </a:cubicBezTo>
                    <a:cubicBezTo>
                      <a:pt x="719" y="1370"/>
                      <a:pt x="718" y="1368"/>
                      <a:pt x="718" y="1366"/>
                    </a:cubicBezTo>
                    <a:cubicBezTo>
                      <a:pt x="718" y="1366"/>
                      <a:pt x="718" y="1366"/>
                      <a:pt x="718" y="1290"/>
                    </a:cubicBezTo>
                    <a:close/>
                    <a:moveTo>
                      <a:pt x="718" y="1468"/>
                    </a:moveTo>
                    <a:cubicBezTo>
                      <a:pt x="718" y="1468"/>
                      <a:pt x="718" y="1468"/>
                      <a:pt x="718" y="1391"/>
                    </a:cubicBezTo>
                    <a:cubicBezTo>
                      <a:pt x="718" y="1389"/>
                      <a:pt x="719" y="1388"/>
                      <a:pt x="721" y="1388"/>
                    </a:cubicBezTo>
                    <a:cubicBezTo>
                      <a:pt x="721" y="1388"/>
                      <a:pt x="721" y="1388"/>
                      <a:pt x="778" y="1388"/>
                    </a:cubicBezTo>
                    <a:cubicBezTo>
                      <a:pt x="780" y="1388"/>
                      <a:pt x="782" y="1389"/>
                      <a:pt x="782" y="1391"/>
                    </a:cubicBezTo>
                    <a:cubicBezTo>
                      <a:pt x="782" y="1391"/>
                      <a:pt x="782" y="1391"/>
                      <a:pt x="782" y="1468"/>
                    </a:cubicBezTo>
                    <a:cubicBezTo>
                      <a:pt x="782" y="1469"/>
                      <a:pt x="780" y="1471"/>
                      <a:pt x="778" y="1471"/>
                    </a:cubicBezTo>
                    <a:cubicBezTo>
                      <a:pt x="778" y="1471"/>
                      <a:pt x="778" y="1471"/>
                      <a:pt x="721" y="1471"/>
                    </a:cubicBezTo>
                    <a:cubicBezTo>
                      <a:pt x="719" y="1471"/>
                      <a:pt x="718" y="1469"/>
                      <a:pt x="718" y="1468"/>
                    </a:cubicBezTo>
                    <a:close/>
                    <a:moveTo>
                      <a:pt x="788" y="1597"/>
                    </a:moveTo>
                    <a:cubicBezTo>
                      <a:pt x="788" y="1599"/>
                      <a:pt x="787" y="1599"/>
                      <a:pt x="786" y="1599"/>
                    </a:cubicBezTo>
                    <a:cubicBezTo>
                      <a:pt x="738" y="1599"/>
                      <a:pt x="738" y="1599"/>
                      <a:pt x="738" y="1599"/>
                    </a:cubicBezTo>
                    <a:cubicBezTo>
                      <a:pt x="737" y="1599"/>
                      <a:pt x="736" y="1599"/>
                      <a:pt x="736" y="1597"/>
                    </a:cubicBezTo>
                    <a:cubicBezTo>
                      <a:pt x="736" y="1511"/>
                      <a:pt x="736" y="1511"/>
                      <a:pt x="736" y="1511"/>
                    </a:cubicBezTo>
                    <a:cubicBezTo>
                      <a:pt x="736" y="1509"/>
                      <a:pt x="737" y="1508"/>
                      <a:pt x="738" y="1508"/>
                    </a:cubicBezTo>
                    <a:cubicBezTo>
                      <a:pt x="786" y="1508"/>
                      <a:pt x="786" y="1508"/>
                      <a:pt x="786" y="1508"/>
                    </a:cubicBezTo>
                    <a:cubicBezTo>
                      <a:pt x="787" y="1508"/>
                      <a:pt x="788" y="1509"/>
                      <a:pt x="788" y="1511"/>
                    </a:cubicBezTo>
                    <a:cubicBezTo>
                      <a:pt x="788" y="1597"/>
                      <a:pt x="788" y="1597"/>
                      <a:pt x="788" y="1597"/>
                    </a:cubicBezTo>
                    <a:close/>
                    <a:moveTo>
                      <a:pt x="850" y="1597"/>
                    </a:moveTo>
                    <a:cubicBezTo>
                      <a:pt x="850" y="1599"/>
                      <a:pt x="849" y="1599"/>
                      <a:pt x="848" y="1599"/>
                    </a:cubicBezTo>
                    <a:cubicBezTo>
                      <a:pt x="848" y="1599"/>
                      <a:pt x="848" y="1599"/>
                      <a:pt x="801" y="1599"/>
                    </a:cubicBezTo>
                    <a:cubicBezTo>
                      <a:pt x="800" y="1599"/>
                      <a:pt x="799" y="1599"/>
                      <a:pt x="799" y="1597"/>
                    </a:cubicBezTo>
                    <a:cubicBezTo>
                      <a:pt x="799" y="1597"/>
                      <a:pt x="799" y="1597"/>
                      <a:pt x="799" y="1511"/>
                    </a:cubicBezTo>
                    <a:cubicBezTo>
                      <a:pt x="799" y="1509"/>
                      <a:pt x="800" y="1508"/>
                      <a:pt x="801" y="1508"/>
                    </a:cubicBezTo>
                    <a:cubicBezTo>
                      <a:pt x="801" y="1508"/>
                      <a:pt x="801" y="1508"/>
                      <a:pt x="848" y="1508"/>
                    </a:cubicBezTo>
                    <a:cubicBezTo>
                      <a:pt x="849" y="1508"/>
                      <a:pt x="850" y="1509"/>
                      <a:pt x="850" y="1511"/>
                    </a:cubicBezTo>
                    <a:cubicBezTo>
                      <a:pt x="850" y="1511"/>
                      <a:pt x="850" y="1511"/>
                      <a:pt x="850" y="1597"/>
                    </a:cubicBezTo>
                    <a:close/>
                    <a:moveTo>
                      <a:pt x="869" y="1468"/>
                    </a:moveTo>
                    <a:cubicBezTo>
                      <a:pt x="869" y="1469"/>
                      <a:pt x="868" y="1471"/>
                      <a:pt x="866" y="1471"/>
                    </a:cubicBezTo>
                    <a:cubicBezTo>
                      <a:pt x="866" y="1471"/>
                      <a:pt x="866" y="1471"/>
                      <a:pt x="808" y="1471"/>
                    </a:cubicBezTo>
                    <a:cubicBezTo>
                      <a:pt x="806" y="1471"/>
                      <a:pt x="805" y="1469"/>
                      <a:pt x="805" y="1468"/>
                    </a:cubicBezTo>
                    <a:cubicBezTo>
                      <a:pt x="805" y="1468"/>
                      <a:pt x="805" y="1468"/>
                      <a:pt x="805" y="1391"/>
                    </a:cubicBezTo>
                    <a:cubicBezTo>
                      <a:pt x="805" y="1389"/>
                      <a:pt x="806" y="1388"/>
                      <a:pt x="808" y="1388"/>
                    </a:cubicBezTo>
                    <a:cubicBezTo>
                      <a:pt x="808" y="1388"/>
                      <a:pt x="808" y="1388"/>
                      <a:pt x="866" y="1388"/>
                    </a:cubicBezTo>
                    <a:cubicBezTo>
                      <a:pt x="868" y="1388"/>
                      <a:pt x="869" y="1389"/>
                      <a:pt x="869" y="1391"/>
                    </a:cubicBezTo>
                    <a:cubicBezTo>
                      <a:pt x="869" y="1391"/>
                      <a:pt x="869" y="1391"/>
                      <a:pt x="869" y="1468"/>
                    </a:cubicBezTo>
                    <a:close/>
                    <a:moveTo>
                      <a:pt x="869" y="1366"/>
                    </a:moveTo>
                    <a:cubicBezTo>
                      <a:pt x="869" y="1368"/>
                      <a:pt x="868" y="1370"/>
                      <a:pt x="866" y="1370"/>
                    </a:cubicBezTo>
                    <a:cubicBezTo>
                      <a:pt x="866" y="1370"/>
                      <a:pt x="866" y="1370"/>
                      <a:pt x="808" y="1370"/>
                    </a:cubicBezTo>
                    <a:cubicBezTo>
                      <a:pt x="806" y="1370"/>
                      <a:pt x="805" y="1368"/>
                      <a:pt x="805" y="1366"/>
                    </a:cubicBezTo>
                    <a:cubicBezTo>
                      <a:pt x="805" y="1366"/>
                      <a:pt x="805" y="1366"/>
                      <a:pt x="805" y="1290"/>
                    </a:cubicBezTo>
                    <a:cubicBezTo>
                      <a:pt x="805" y="1288"/>
                      <a:pt x="806" y="1286"/>
                      <a:pt x="808" y="1286"/>
                    </a:cubicBezTo>
                    <a:cubicBezTo>
                      <a:pt x="808" y="1286"/>
                      <a:pt x="808" y="1286"/>
                      <a:pt x="866" y="1286"/>
                    </a:cubicBezTo>
                    <a:cubicBezTo>
                      <a:pt x="868" y="1286"/>
                      <a:pt x="869" y="1288"/>
                      <a:pt x="869" y="1290"/>
                    </a:cubicBezTo>
                    <a:cubicBezTo>
                      <a:pt x="869" y="1290"/>
                      <a:pt x="869" y="1290"/>
                      <a:pt x="869" y="13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grpSp>
      </p:grpSp>
      <p:sp>
        <p:nvSpPr>
          <p:cNvPr id="20" name="Textfeld 1">
            <a:extLst>
              <a:ext uri="{FF2B5EF4-FFF2-40B4-BE49-F238E27FC236}">
                <a16:creationId xmlns:a16="http://schemas.microsoft.com/office/drawing/2014/main" id="{37C884A6-3EE3-F5A1-0C76-3F69ACED1923}"/>
              </a:ext>
            </a:extLst>
          </p:cNvPr>
          <p:cNvSpPr txBox="1"/>
          <p:nvPr>
            <p:custDataLst>
              <p:tags r:id="rId2"/>
            </p:custDataLst>
          </p:nvPr>
        </p:nvSpPr>
        <p:spPr>
          <a:xfrm>
            <a:off x="630000" y="41925"/>
            <a:ext cx="2743200" cy="483209"/>
          </a:xfrm>
          <a:prstGeom prst="rect">
            <a:avLst/>
          </a:prstGeom>
          <a:pattFill>
            <a:fgClr>
              <a:srgbClr val="FE48F1"/>
            </a:fgClr>
            <a:bgClr>
              <a:srgbClr val="FE48F1"/>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marL="0" marR="0" lvl="0" indent="0" algn="l" defTabSz="914400" eaLnBrk="1" fontAlgn="auto" latinLnBrk="0" hangingPunct="1">
              <a:lnSpc>
                <a:spcPct val="90000"/>
              </a:lnSpc>
              <a:spcBef>
                <a:spcPts val="0"/>
              </a:spcBef>
              <a:spcAft>
                <a:spcPts val="60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a:cs typeface="Arial"/>
                <a:sym typeface="Trebuchet MS" panose="020B0603020202020204" pitchFamily="34" charset="0"/>
              </a:rPr>
              <a:t>ST 17.Apr.23: Data to be finalized
</a:t>
            </a:r>
          </a:p>
        </p:txBody>
      </p:sp>
      <p:sp>
        <p:nvSpPr>
          <p:cNvPr id="23" name="Google Shape;11285;p43">
            <a:extLst>
              <a:ext uri="{FF2B5EF4-FFF2-40B4-BE49-F238E27FC236}">
                <a16:creationId xmlns:a16="http://schemas.microsoft.com/office/drawing/2014/main" id="{F01534D1-240E-5DA4-EF87-EF7B0C09FD5B}"/>
              </a:ext>
            </a:extLst>
          </p:cNvPr>
          <p:cNvSpPr txBox="1">
            <a:spLocks/>
          </p:cNvSpPr>
          <p:nvPr/>
        </p:nvSpPr>
        <p:spPr>
          <a:xfrm>
            <a:off x="334963" y="0"/>
            <a:ext cx="4545012" cy="1018096"/>
          </a:xfrm>
          <a:prstGeom prst="rect">
            <a:avLst/>
          </a:prstGeom>
          <a:solidFill>
            <a:schemeClr val="accent1"/>
          </a:solidFill>
          <a:ln>
            <a:noFill/>
          </a:ln>
        </p:spPr>
        <p:txBody>
          <a:bodyPr spcFirstLastPara="1" vert="horz" wrap="square" lIns="180000" tIns="540000" rIns="72000" bIns="180000" anchor="b" anchorCtr="0">
            <a:noAutofit/>
          </a:bodyPr>
          <a:lstStyle>
            <a:defPPr marR="0" lvl="0" algn="l" rtl="0">
              <a:lnSpc>
                <a:spcPct val="100000"/>
              </a:lnSpc>
              <a:spcBef>
                <a:spcPts val="0"/>
              </a:spcBef>
              <a:spcAft>
                <a:spcPts val="0"/>
              </a:spcAft>
            </a:defPPr>
            <a:lvl1pPr marL="0" marR="0" lvl="0" indent="0" algn="l" rtl="0">
              <a:lnSpc>
                <a:spcPct val="90000"/>
              </a:lnSpc>
              <a:spcBef>
                <a:spcPct val="0"/>
              </a:spcBef>
              <a:spcAft>
                <a:spcPts val="0"/>
              </a:spcAft>
              <a:buClr>
                <a:schemeClr val="lt1"/>
              </a:buClr>
              <a:buSzPts val="2000"/>
              <a:buFont typeface="Arial"/>
              <a:buNone/>
              <a:defRPr sz="3400" b="0" i="0" u="none" strike="noStrike" kern="1200" cap="none" spc="0">
                <a:solidFill>
                  <a:schemeClr val="tx2">
                    <a:lumMod val="100000"/>
                  </a:schemeClr>
                </a:solidFill>
                <a:latin typeface="+mj-lt"/>
                <a:ea typeface="Arial"/>
                <a:cs typeface="Arial"/>
                <a:sym typeface="Trebuchet MS" panose="020B0603020202020204" pitchFamily="34" charset="0"/>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eaLnBrk="1" fontAlgn="auto" latinLnBrk="0" hangingPunct="1">
              <a:lnSpc>
                <a:spcPct val="90000"/>
              </a:lnSpc>
              <a:spcBef>
                <a:spcPts val="0"/>
              </a:spcBef>
              <a:spcAft>
                <a:spcPts val="0"/>
              </a:spcAft>
              <a:buClr>
                <a:srgbClr val="FFFFFF"/>
              </a:buClr>
              <a:buSzPts val="2000"/>
              <a:buFont typeface="Arial"/>
              <a:buNone/>
              <a:tabLst/>
              <a:defRPr/>
            </a:pPr>
            <a:r>
              <a:rPr kumimoji="0" lang="en-US" sz="2800" b="0" i="0" u="none" strike="noStrike" kern="1200" cap="none" spc="0" normalizeH="0" baseline="0" noProof="0" dirty="0">
                <a:ln>
                  <a:noFill/>
                </a:ln>
                <a:solidFill>
                  <a:srgbClr val="E7E6E6">
                    <a:lumMod val="100000"/>
                  </a:srgbClr>
                </a:solidFill>
                <a:effectLst/>
                <a:uLnTx/>
                <a:uFillTx/>
                <a:latin typeface="Arial"/>
                <a:cs typeface="Arial"/>
                <a:sym typeface="Trebuchet MS" panose="020B0603020202020204" pitchFamily="34" charset="0"/>
              </a:rPr>
              <a:t>Companies we talked to…</a:t>
            </a:r>
          </a:p>
        </p:txBody>
      </p:sp>
      <p:grpSp>
        <p:nvGrpSpPr>
          <p:cNvPr id="3" name="Google Shape;11292;p43">
            <a:extLst>
              <a:ext uri="{FF2B5EF4-FFF2-40B4-BE49-F238E27FC236}">
                <a16:creationId xmlns:a16="http://schemas.microsoft.com/office/drawing/2014/main" id="{0996C952-F4F8-4E98-5A16-79A472344CB3}"/>
              </a:ext>
            </a:extLst>
          </p:cNvPr>
          <p:cNvGrpSpPr/>
          <p:nvPr/>
        </p:nvGrpSpPr>
        <p:grpSpPr>
          <a:xfrm>
            <a:off x="-24198" y="6292595"/>
            <a:ext cx="12216198" cy="584200"/>
            <a:chOff x="0" y="6273800"/>
            <a:chExt cx="12192000" cy="584200"/>
          </a:xfrm>
        </p:grpSpPr>
        <p:sp>
          <p:nvSpPr>
            <p:cNvPr id="21" name="Google Shape;11293;p43">
              <a:extLst>
                <a:ext uri="{FF2B5EF4-FFF2-40B4-BE49-F238E27FC236}">
                  <a16:creationId xmlns:a16="http://schemas.microsoft.com/office/drawing/2014/main" id="{3890BA00-B7A6-9492-A6D0-9D05BB84B44A}"/>
                </a:ext>
              </a:extLst>
            </p:cNvPr>
            <p:cNvSpPr/>
            <p:nvPr/>
          </p:nvSpPr>
          <p:spPr>
            <a:xfrm>
              <a:off x="0" y="6273800"/>
              <a:ext cx="12192000" cy="5842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a:spcBef>
                  <a:spcPts val="0"/>
                </a:spcBef>
                <a:spcAft>
                  <a:spcPts val="0"/>
                </a:spcAft>
                <a:buNone/>
              </a:pPr>
              <a:endParaRPr lang="en-US" sz="1800" dirty="0">
                <a:solidFill>
                  <a:schemeClr val="lt1"/>
                </a:solidFill>
                <a:latin typeface="Arial"/>
                <a:ea typeface="Arial"/>
                <a:cs typeface="Arial"/>
                <a:sym typeface="Arial"/>
              </a:endParaRPr>
            </a:p>
          </p:txBody>
        </p:sp>
        <p:pic>
          <p:nvPicPr>
            <p:cNvPr id="22" name="Google Shape;11294;p43">
              <a:extLst>
                <a:ext uri="{FF2B5EF4-FFF2-40B4-BE49-F238E27FC236}">
                  <a16:creationId xmlns:a16="http://schemas.microsoft.com/office/drawing/2014/main" id="{A18504D8-845D-572F-C81A-45DD2E9C5E8D}"/>
                </a:ext>
              </a:extLst>
            </p:cNvPr>
            <p:cNvPicPr preferRelativeResize="0"/>
            <p:nvPr/>
          </p:nvPicPr>
          <p:blipFill rotWithShape="1">
            <a:blip r:embed="rId8">
              <a:alphaModFix/>
            </a:blip>
            <a:srcRect/>
            <a:stretch/>
          </p:blipFill>
          <p:spPr>
            <a:xfrm>
              <a:off x="9513888" y="6392994"/>
              <a:ext cx="2305050" cy="334291"/>
            </a:xfrm>
            <a:prstGeom prst="rect">
              <a:avLst/>
            </a:prstGeom>
            <a:noFill/>
            <a:ln>
              <a:noFill/>
            </a:ln>
          </p:spPr>
        </p:pic>
      </p:grpSp>
    </p:spTree>
    <p:extLst>
      <p:ext uri="{BB962C8B-B14F-4D97-AF65-F5344CB8AC3E}">
        <p14:creationId xmlns:p14="http://schemas.microsoft.com/office/powerpoint/2010/main" val="3347498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46957C-77AE-E2EF-E52E-B74589BF52DB}"/>
              </a:ext>
            </a:extLst>
          </p:cNvPr>
          <p:cNvGraphicFramePr>
            <a:graphicFrameLocks noChangeAspect="1"/>
          </p:cNvGraphicFramePr>
          <p:nvPr>
            <p:custDataLst>
              <p:tags r:id="rId1"/>
            </p:custDataLst>
            <p:extLst>
              <p:ext uri="{D42A27DB-BD31-4B8C-83A1-F6EECF244321}">
                <p14:modId xmlns:p14="http://schemas.microsoft.com/office/powerpoint/2010/main" val="1503367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Object 7" hidden="1">
                        <a:extLst>
                          <a:ext uri="{FF2B5EF4-FFF2-40B4-BE49-F238E27FC236}">
                            <a16:creationId xmlns:a16="http://schemas.microsoft.com/office/drawing/2014/main" id="{9F46957C-77AE-E2EF-E52E-B74589BF52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5DA58330-B6FC-1671-18E3-9BDEBA83B02C}"/>
              </a:ext>
            </a:extLst>
          </p:cNvPr>
          <p:cNvSpPr>
            <a:spLocks noGrp="1"/>
          </p:cNvSpPr>
          <p:nvPr>
            <p:ph type="body" idx="1"/>
          </p:nvPr>
        </p:nvSpPr>
        <p:spPr>
          <a:xfrm>
            <a:off x="7375835" y="1826173"/>
            <a:ext cx="4637055" cy="2047327"/>
          </a:xfrm>
          <a:solidFill>
            <a:schemeClr val="accent1"/>
          </a:solidFill>
        </p:spPr>
        <p:txBody>
          <a:bodyPr lIns="0" tIns="0" rIns="0" bIns="0" anchor="b" anchorCtr="0">
            <a:noAutofit/>
          </a:bodyPr>
          <a:lstStyle/>
          <a:p>
            <a:r>
              <a:rPr lang="en-US" sz="3200" dirty="0">
                <a:solidFill>
                  <a:schemeClr val="bg1"/>
                </a:solidFill>
              </a:rPr>
              <a:t>	</a:t>
            </a:r>
            <a:r>
              <a:rPr lang="en-US" sz="4400" dirty="0">
                <a:solidFill>
                  <a:schemeClr val="bg1"/>
                </a:solidFill>
              </a:rPr>
              <a:t>5 paradigm shifts identified</a:t>
            </a:r>
          </a:p>
          <a:p>
            <a:endParaRPr lang="en-US" sz="3200" dirty="0">
              <a:solidFill>
                <a:schemeClr val="bg1"/>
              </a:solidFill>
            </a:endParaRPr>
          </a:p>
        </p:txBody>
      </p:sp>
      <p:sp>
        <p:nvSpPr>
          <p:cNvPr id="3" name="Slide Number Placeholder 2">
            <a:extLst>
              <a:ext uri="{FF2B5EF4-FFF2-40B4-BE49-F238E27FC236}">
                <a16:creationId xmlns:a16="http://schemas.microsoft.com/office/drawing/2014/main" id="{6FF194F9-5157-1F43-0DBA-A8570667FE3D}"/>
              </a:ext>
            </a:extLst>
          </p:cNvPr>
          <p:cNvSpPr>
            <a:spLocks noGrp="1"/>
          </p:cNvSpPr>
          <p:nvPr>
            <p:ph type="sldNum" idx="12"/>
          </p:nvPr>
        </p:nvSpPr>
        <p:spPr/>
        <p:txBody>
          <a:bodyPr/>
          <a:lstStyle/>
          <a:p>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smtClean="0">
                <a:ln>
                  <a:noFill/>
                </a:ln>
                <a:solidFill>
                  <a:srgbClr val="A41034"/>
                </a:solidFill>
                <a:effectLst/>
                <a:uLnTx/>
                <a:uFillTx/>
                <a:latin typeface="Arial"/>
                <a:cs typeface="Arial"/>
                <a:sym typeface="Arial"/>
              </a:rPr>
              <a:pPr marL="0" marR="0" lvl="0" indent="0" algn="l" defTabSz="91440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dirty="0">
              <a:ln>
                <a:noFill/>
              </a:ln>
              <a:solidFill>
                <a:srgbClr val="A41034"/>
              </a:solidFill>
              <a:effectLst/>
              <a:uLnTx/>
              <a:uFillTx/>
              <a:latin typeface="Arial"/>
              <a:cs typeface="Arial"/>
              <a:sym typeface="Arial"/>
            </a:endParaRPr>
          </a:p>
        </p:txBody>
      </p:sp>
      <p:sp>
        <p:nvSpPr>
          <p:cNvPr id="9" name="Rectangle 8" descr="Business team brainstorming">
            <a:extLst>
              <a:ext uri="{FF2B5EF4-FFF2-40B4-BE49-F238E27FC236}">
                <a16:creationId xmlns:a16="http://schemas.microsoft.com/office/drawing/2014/main" id="{D984AF55-5988-CC65-125E-B891EEF801B4}"/>
              </a:ext>
            </a:extLst>
          </p:cNvPr>
          <p:cNvSpPr/>
          <p:nvPr/>
        </p:nvSpPr>
        <p:spPr>
          <a:xfrm>
            <a:off x="0" y="0"/>
            <a:ext cx="7230766" cy="6884275"/>
          </a:xfrm>
          <a:prstGeom prst="rect">
            <a:avLst/>
          </a:prstGeom>
          <a:blipFill dpi="0" rotWithShape="1">
            <a:blip r:embed="rId6"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CB5EC4D8-64F9-73E6-BA1C-D144EA390D7B}"/>
              </a:ext>
            </a:extLst>
          </p:cNvPr>
          <p:cNvSpPr/>
          <p:nvPr/>
        </p:nvSpPr>
        <p:spPr>
          <a:xfrm>
            <a:off x="4" y="13137"/>
            <a:ext cx="7230762" cy="6858000"/>
          </a:xfrm>
          <a:prstGeom prst="rect">
            <a:avLst/>
          </a:prstGeom>
          <a:solidFill>
            <a:srgbClr val="37373A">
              <a:alpha val="46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2877699984"/>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E7CF61A-44B3-47B2-BF32-5B68C85B80AB}"/>
              </a:ext>
            </a:extLst>
          </p:cNvPr>
          <p:cNvGraphicFramePr>
            <a:graphicFrameLocks noChangeAspect="1"/>
          </p:cNvGraphicFramePr>
          <p:nvPr>
            <p:custDataLst>
              <p:tags r:id="rId1"/>
            </p:custDataLst>
            <p:extLst>
              <p:ext uri="{D42A27DB-BD31-4B8C-83A1-F6EECF244321}">
                <p14:modId xmlns:p14="http://schemas.microsoft.com/office/powerpoint/2010/main" val="72162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think-cell data - do not delete" hidden="1">
                        <a:extLst>
                          <a:ext uri="{FF2B5EF4-FFF2-40B4-BE49-F238E27FC236}">
                            <a16:creationId xmlns:a16="http://schemas.microsoft.com/office/drawing/2014/main" id="{FE7CF61A-44B3-47B2-BF32-5B68C85B80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1" name="Google Shape;11292;p43">
            <a:extLst>
              <a:ext uri="{FF2B5EF4-FFF2-40B4-BE49-F238E27FC236}">
                <a16:creationId xmlns:a16="http://schemas.microsoft.com/office/drawing/2014/main" id="{20F7A066-EA15-4F27-A5E9-6F18A4F9E4A6}"/>
              </a:ext>
            </a:extLst>
          </p:cNvPr>
          <p:cNvGrpSpPr/>
          <p:nvPr/>
        </p:nvGrpSpPr>
        <p:grpSpPr>
          <a:xfrm>
            <a:off x="0" y="6292596"/>
            <a:ext cx="12192000" cy="565405"/>
            <a:chOff x="0" y="6273800"/>
            <a:chExt cx="12192000" cy="584200"/>
          </a:xfrm>
        </p:grpSpPr>
        <p:sp>
          <p:nvSpPr>
            <p:cNvPr id="22" name="Google Shape;11293;p43">
              <a:extLst>
                <a:ext uri="{FF2B5EF4-FFF2-40B4-BE49-F238E27FC236}">
                  <a16:creationId xmlns:a16="http://schemas.microsoft.com/office/drawing/2014/main" id="{8B955D68-AC1D-4117-BA31-004182041166}"/>
                </a:ext>
              </a:extLst>
            </p:cNvPr>
            <p:cNvSpPr/>
            <p:nvPr/>
          </p:nvSpPr>
          <p:spPr>
            <a:xfrm>
              <a:off x="0" y="6273800"/>
              <a:ext cx="12192000" cy="5842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a:ea typeface="+mn-ea"/>
                <a:cs typeface="+mn-cs"/>
                <a:sym typeface="Arial"/>
              </a:endParaRPr>
            </a:p>
          </p:txBody>
        </p:sp>
        <p:pic>
          <p:nvPicPr>
            <p:cNvPr id="23" name="Google Shape;11294;p43">
              <a:extLst>
                <a:ext uri="{FF2B5EF4-FFF2-40B4-BE49-F238E27FC236}">
                  <a16:creationId xmlns:a16="http://schemas.microsoft.com/office/drawing/2014/main" id="{F18D99E3-1E2A-4E60-B902-4CFEC9C11853}"/>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9513888" y="6392994"/>
              <a:ext cx="2305050" cy="334291"/>
            </a:xfrm>
            <a:prstGeom prst="rect">
              <a:avLst/>
            </a:prstGeom>
            <a:noFill/>
            <a:ln>
              <a:noFill/>
            </a:ln>
          </p:spPr>
        </p:pic>
      </p:grpSp>
      <p:sp>
        <p:nvSpPr>
          <p:cNvPr id="2" name="Rectangle 1">
            <a:extLst>
              <a:ext uri="{FF2B5EF4-FFF2-40B4-BE49-F238E27FC236}">
                <a16:creationId xmlns:a16="http://schemas.microsoft.com/office/drawing/2014/main" id="{BF948FAA-B8F0-B406-9F03-E137902FD59E}"/>
              </a:ext>
            </a:extLst>
          </p:cNvPr>
          <p:cNvSpPr/>
          <p:nvPr/>
        </p:nvSpPr>
        <p:spPr>
          <a:xfrm>
            <a:off x="0" y="990600"/>
            <a:ext cx="11658601" cy="683297"/>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 name="Rectangle 2">
            <a:extLst>
              <a:ext uri="{FF2B5EF4-FFF2-40B4-BE49-F238E27FC236}">
                <a16:creationId xmlns:a16="http://schemas.microsoft.com/office/drawing/2014/main" id="{F0566F05-98CD-02DD-C7A1-3708020DD1A1}"/>
              </a:ext>
            </a:extLst>
          </p:cNvPr>
          <p:cNvSpPr/>
          <p:nvPr/>
        </p:nvSpPr>
        <p:spPr>
          <a:xfrm>
            <a:off x="0" y="1673897"/>
            <a:ext cx="11658601" cy="1135388"/>
          </a:xfrm>
          <a:prstGeom prst="rect">
            <a:avLst/>
          </a:prstGeom>
          <a:gradFill flip="none" rotWithShape="1">
            <a:gsLst>
              <a:gs pos="36000">
                <a:schemeClr val="accent5"/>
              </a:gs>
              <a:gs pos="100000">
                <a:srgbClr val="A41034"/>
              </a:gs>
            </a:gsLst>
            <a:lin ang="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 name="ee4pContent2">
            <a:extLst>
              <a:ext uri="{FF2B5EF4-FFF2-40B4-BE49-F238E27FC236}">
                <a16:creationId xmlns:a16="http://schemas.microsoft.com/office/drawing/2014/main" id="{7E9EAD58-EDA3-0ACA-70B7-A6D8704E669E}"/>
              </a:ext>
            </a:extLst>
          </p:cNvPr>
          <p:cNvSpPr txBox="1"/>
          <p:nvPr/>
        </p:nvSpPr>
        <p:spPr>
          <a:xfrm>
            <a:off x="6256021" y="1979542"/>
            <a:ext cx="5307330" cy="49244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flat" cmpd="sng" algn="ctr">
                <a:solidFill>
                  <a:srgbClr val="EDFA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0">
            <a:noAutofit/>
          </a:bodyPr>
          <a:lstStyle>
            <a:defPPr>
              <a:defRPr lang="en-US"/>
            </a:defPPr>
            <a:lvl1pPr>
              <a:buClr>
                <a:srgbClr val="30B131"/>
              </a:buClr>
              <a:buSzPct val="100000"/>
              <a:buFont typeface="Trebuchet MS" panose="020B0603020202020204" pitchFamily="34" charset="0"/>
              <a:buChar char="​"/>
              <a:defRPr sz="2000">
                <a:solidFill>
                  <a:srgbClr val="575757"/>
                </a:solidFill>
              </a:defRPr>
            </a:lvl1pPr>
            <a:lvl2pPr marL="320040" lvl="1" indent="-219456">
              <a:buClr>
                <a:srgbClr val="30B131"/>
              </a:buClr>
              <a:buSzPct val="100000"/>
              <a:buFont typeface="Trebuchet MS" panose="020B0603020202020204" pitchFamily="34" charset="0"/>
              <a:buChar char="•"/>
              <a:defRPr sz="2000">
                <a:solidFill>
                  <a:srgbClr val="575757"/>
                </a:solidFill>
              </a:defRPr>
            </a:lvl2pPr>
            <a:lvl3pPr marL="649224" lvl="2" indent="-219456">
              <a:buClr>
                <a:srgbClr val="30B131"/>
              </a:buClr>
              <a:buSzPct val="100000"/>
              <a:buFont typeface="Trebuchet MS" panose="020B0603020202020204" pitchFamily="34" charset="0"/>
              <a:buChar char="–"/>
              <a:defRPr sz="2000">
                <a:solidFill>
                  <a:srgbClr val="575757"/>
                </a:solidFill>
              </a:defRPr>
            </a:lvl3pPr>
            <a:lvl4pPr marL="0" lvl="3">
              <a:buClr>
                <a:srgbClr val="30B131"/>
              </a:buClr>
              <a:buSzPct val="100000"/>
              <a:buFont typeface="Trebuchet MS" panose="020B0603020202020204" pitchFamily="34" charset="0"/>
              <a:buChar char="​"/>
              <a:defRPr sz="2400">
                <a:solidFill>
                  <a:srgbClr val="30B131"/>
                </a:solidFill>
              </a:defRPr>
            </a:lvl4pPr>
            <a:lvl5pPr marL="0" lvl="4">
              <a:buClr>
                <a:srgbClr val="30B131"/>
              </a:buClr>
              <a:buSzPct val="100000"/>
              <a:buFont typeface="Trebuchet MS" panose="020B0603020202020204" pitchFamily="34" charset="0"/>
              <a:buChar char="​"/>
              <a:defRPr sz="2400" b="1">
                <a:solidFill>
                  <a:srgbClr val="575757"/>
                </a:solidFill>
              </a:defRPr>
            </a:lvl5pPr>
            <a:lvl6pPr marL="320040" lvl="5" indent="-219456">
              <a:buClr>
                <a:srgbClr val="30B131"/>
              </a:buClr>
              <a:buSzPct val="100000"/>
              <a:buFont typeface="Trebuchet MS" panose="020B0603020202020204" pitchFamily="34" charset="0"/>
              <a:buChar char="•"/>
              <a:defRPr sz="2400">
                <a:solidFill>
                  <a:srgbClr val="575757"/>
                </a:solidFill>
              </a:defRPr>
            </a:lvl6pPr>
            <a:lvl7pPr marL="0" lvl="6">
              <a:buClr>
                <a:srgbClr val="30B131"/>
              </a:buClr>
              <a:buSzPct val="100000"/>
              <a:buFont typeface="Trebuchet MS" panose="020B0603020202020204" pitchFamily="34" charset="0"/>
              <a:buChar char="​"/>
              <a:defRPr sz="5400">
                <a:solidFill>
                  <a:srgbClr val="575757"/>
                </a:solidFill>
              </a:defRPr>
            </a:lvl7pPr>
            <a:lvl8pPr marL="0" lvl="7">
              <a:buClr>
                <a:srgbClr val="30B131"/>
              </a:buClr>
              <a:buSzPct val="100000"/>
              <a:buFont typeface="Trebuchet MS" panose="020B0603020202020204" pitchFamily="34" charset="0"/>
              <a:buChar char="​"/>
              <a:defRPr sz="6600">
                <a:solidFill>
                  <a:srgbClr val="30B131"/>
                </a:solidFill>
              </a:defRPr>
            </a:lvl8pPr>
            <a:lvl9pPr marL="0" lvl="8">
              <a:buClr>
                <a:srgbClr val="30B131"/>
              </a:buClr>
              <a:buSzPct val="100000"/>
              <a:buFont typeface="Trebuchet MS" panose="020B0603020202020204" pitchFamily="34" charset="0"/>
              <a:buChar char="​"/>
              <a:defRPr sz="4400">
                <a:solidFill>
                  <a:srgbClr val="30B131"/>
                </a:solidFill>
              </a:defRPr>
            </a:lvl9pPr>
          </a:lstStyle>
          <a:p>
            <a:pPr marL="0" marR="0" lvl="0" indent="0" algn="ctr" defTabSz="914400" eaLnBrk="1" fontAlgn="auto" latinLnBrk="0" hangingPunct="1">
              <a:lnSpc>
                <a:spcPct val="100000"/>
              </a:lnSpc>
              <a:spcBef>
                <a:spcPts val="0"/>
              </a:spcBef>
              <a:spcAft>
                <a:spcPts val="0"/>
              </a:spcAft>
              <a:buClr>
                <a:srgbClr val="30B131"/>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eskilling is a key strategic initiative</a:t>
            </a:r>
          </a:p>
        </p:txBody>
      </p:sp>
      <p:sp>
        <p:nvSpPr>
          <p:cNvPr id="7" name="ee4pContent2">
            <a:extLst>
              <a:ext uri="{FF2B5EF4-FFF2-40B4-BE49-F238E27FC236}">
                <a16:creationId xmlns:a16="http://schemas.microsoft.com/office/drawing/2014/main" id="{00E6ED74-20BE-31A6-D056-8674AE8842C3}"/>
              </a:ext>
            </a:extLst>
          </p:cNvPr>
          <p:cNvSpPr txBox="1"/>
          <p:nvPr/>
        </p:nvSpPr>
        <p:spPr>
          <a:xfrm>
            <a:off x="628651" y="1979542"/>
            <a:ext cx="5307330" cy="49244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flat" cmpd="sng" algn="ctr">
                <a:solidFill>
                  <a:srgbClr val="EDFAE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nchorCtr="0">
            <a:noAutofit/>
          </a:bodyPr>
          <a:lstStyle>
            <a:defPPr>
              <a:defRPr lang="en-US"/>
            </a:defPPr>
            <a:lvl1pPr>
              <a:buClr>
                <a:srgbClr val="30B131"/>
              </a:buClr>
              <a:buSzPct val="100000"/>
              <a:buFont typeface="Trebuchet MS" panose="020B0603020202020204" pitchFamily="34" charset="0"/>
              <a:buChar char="​"/>
              <a:defRPr sz="2000">
                <a:solidFill>
                  <a:srgbClr val="575757"/>
                </a:solidFill>
              </a:defRPr>
            </a:lvl1pPr>
            <a:lvl2pPr marL="320040" lvl="1" indent="-219456">
              <a:buClr>
                <a:srgbClr val="30B131"/>
              </a:buClr>
              <a:buSzPct val="100000"/>
              <a:buFont typeface="Trebuchet MS" panose="020B0603020202020204" pitchFamily="34" charset="0"/>
              <a:buChar char="•"/>
              <a:defRPr sz="2000">
                <a:solidFill>
                  <a:srgbClr val="575757"/>
                </a:solidFill>
              </a:defRPr>
            </a:lvl2pPr>
            <a:lvl3pPr marL="649224" lvl="2" indent="-219456">
              <a:buClr>
                <a:srgbClr val="30B131"/>
              </a:buClr>
              <a:buSzPct val="100000"/>
              <a:buFont typeface="Trebuchet MS" panose="020B0603020202020204" pitchFamily="34" charset="0"/>
              <a:buChar char="–"/>
              <a:defRPr sz="2000">
                <a:solidFill>
                  <a:srgbClr val="575757"/>
                </a:solidFill>
              </a:defRPr>
            </a:lvl3pPr>
            <a:lvl4pPr marL="0" lvl="3">
              <a:buClr>
                <a:srgbClr val="30B131"/>
              </a:buClr>
              <a:buSzPct val="100000"/>
              <a:buFont typeface="Trebuchet MS" panose="020B0603020202020204" pitchFamily="34" charset="0"/>
              <a:buChar char="​"/>
              <a:defRPr sz="2400">
                <a:solidFill>
                  <a:srgbClr val="30B131"/>
                </a:solidFill>
              </a:defRPr>
            </a:lvl4pPr>
            <a:lvl5pPr marL="0" lvl="4">
              <a:buClr>
                <a:srgbClr val="30B131"/>
              </a:buClr>
              <a:buSzPct val="100000"/>
              <a:buFont typeface="Trebuchet MS" panose="020B0603020202020204" pitchFamily="34" charset="0"/>
              <a:buChar char="​"/>
              <a:defRPr sz="2400" b="1">
                <a:solidFill>
                  <a:srgbClr val="575757"/>
                </a:solidFill>
              </a:defRPr>
            </a:lvl5pPr>
            <a:lvl6pPr marL="320040" lvl="5" indent="-219456">
              <a:buClr>
                <a:srgbClr val="30B131"/>
              </a:buClr>
              <a:buSzPct val="100000"/>
              <a:buFont typeface="Trebuchet MS" panose="020B0603020202020204" pitchFamily="34" charset="0"/>
              <a:buChar char="•"/>
              <a:defRPr sz="2400">
                <a:solidFill>
                  <a:srgbClr val="575757"/>
                </a:solidFill>
              </a:defRPr>
            </a:lvl6pPr>
            <a:lvl7pPr marL="0" lvl="6">
              <a:buClr>
                <a:srgbClr val="30B131"/>
              </a:buClr>
              <a:buSzPct val="100000"/>
              <a:buFont typeface="Trebuchet MS" panose="020B0603020202020204" pitchFamily="34" charset="0"/>
              <a:buChar char="​"/>
              <a:defRPr sz="5400">
                <a:solidFill>
                  <a:srgbClr val="575757"/>
                </a:solidFill>
              </a:defRPr>
            </a:lvl7pPr>
            <a:lvl8pPr marL="0" lvl="7">
              <a:buClr>
                <a:srgbClr val="30B131"/>
              </a:buClr>
              <a:buSzPct val="100000"/>
              <a:buFont typeface="Trebuchet MS" panose="020B0603020202020204" pitchFamily="34" charset="0"/>
              <a:buChar char="​"/>
              <a:defRPr sz="6600">
                <a:solidFill>
                  <a:srgbClr val="30B131"/>
                </a:solidFill>
              </a:defRPr>
            </a:lvl8pPr>
            <a:lvl9pPr marL="0" lvl="8">
              <a:buClr>
                <a:srgbClr val="30B131"/>
              </a:buClr>
              <a:buSzPct val="100000"/>
              <a:buFont typeface="Trebuchet MS" panose="020B0603020202020204" pitchFamily="34" charset="0"/>
              <a:buChar char="​"/>
              <a:defRPr sz="4400">
                <a:solidFill>
                  <a:srgbClr val="30B131"/>
                </a:solidFill>
              </a:defRPr>
            </a:lvl9pPr>
          </a:lstStyle>
          <a:p>
            <a:pPr marL="0" marR="0" lvl="0" indent="0" algn="ctr" defTabSz="914400" eaLnBrk="1" fontAlgn="auto" latinLnBrk="0" hangingPunct="1">
              <a:lnSpc>
                <a:spcPct val="100000"/>
              </a:lnSpc>
              <a:spcBef>
                <a:spcPts val="0"/>
              </a:spcBef>
              <a:spcAft>
                <a:spcPts val="0"/>
              </a:spcAft>
              <a:buClr>
                <a:srgbClr val="30B131"/>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eskilling is a CSR or PR initiative </a:t>
            </a:r>
            <a:b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to support displaced workers</a:t>
            </a:r>
          </a:p>
        </p:txBody>
      </p:sp>
      <p:sp>
        <p:nvSpPr>
          <p:cNvPr id="8" name="Isosceles Triangle 7">
            <a:extLst>
              <a:ext uri="{FF2B5EF4-FFF2-40B4-BE49-F238E27FC236}">
                <a16:creationId xmlns:a16="http://schemas.microsoft.com/office/drawing/2014/main" id="{AC2D8BC2-E763-13CC-05E9-CB542586D2DD}"/>
              </a:ext>
            </a:extLst>
          </p:cNvPr>
          <p:cNvSpPr/>
          <p:nvPr/>
        </p:nvSpPr>
        <p:spPr>
          <a:xfrm rot="5400000">
            <a:off x="11218447" y="2088704"/>
            <a:ext cx="1135387" cy="275446"/>
          </a:xfrm>
          <a:prstGeom prst="triangle">
            <a:avLst/>
          </a:prstGeom>
          <a:solidFill>
            <a:srgbClr val="A4103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0" name="Rounded Rectangle 18">
            <a:extLst>
              <a:ext uri="{FF2B5EF4-FFF2-40B4-BE49-F238E27FC236}">
                <a16:creationId xmlns:a16="http://schemas.microsoft.com/office/drawing/2014/main" id="{05D53721-62EF-CBE1-FF0B-855F8C87FF47}"/>
              </a:ext>
            </a:extLst>
          </p:cNvPr>
          <p:cNvSpPr/>
          <p:nvPr/>
        </p:nvSpPr>
        <p:spPr>
          <a:xfrm>
            <a:off x="2011441" y="1216775"/>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LD PARADIGM</a:t>
            </a:r>
          </a:p>
        </p:txBody>
      </p:sp>
      <p:sp>
        <p:nvSpPr>
          <p:cNvPr id="11" name="Rounded Rectangle 19">
            <a:extLst>
              <a:ext uri="{FF2B5EF4-FFF2-40B4-BE49-F238E27FC236}">
                <a16:creationId xmlns:a16="http://schemas.microsoft.com/office/drawing/2014/main" id="{D2FFF146-F0D4-7E8F-2E02-57E22C9809C1}"/>
              </a:ext>
            </a:extLst>
          </p:cNvPr>
          <p:cNvSpPr/>
          <p:nvPr/>
        </p:nvSpPr>
        <p:spPr>
          <a:xfrm>
            <a:off x="7638812" y="1224167"/>
            <a:ext cx="2541750" cy="369332"/>
          </a:xfrm>
          <a:prstGeom prst="rect">
            <a:avLst/>
          </a:prstGeom>
          <a:no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vert="horz" wrap="square" lIns="0" tIns="0" rIns="0" bIns="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A41034"/>
                </a:solidFill>
                <a:effectLst/>
                <a:uLnTx/>
                <a:uFillTx/>
                <a:latin typeface="Arial" panose="020B0604020202020204" pitchFamily="34" charset="0"/>
                <a:cs typeface="Arial" panose="020B0604020202020204" pitchFamily="34" charset="0"/>
              </a:rPr>
              <a:t>NEW PARADIGM</a:t>
            </a:r>
          </a:p>
        </p:txBody>
      </p:sp>
      <p:sp>
        <p:nvSpPr>
          <p:cNvPr id="16" name="Oval 20">
            <a:extLst>
              <a:ext uri="{FF2B5EF4-FFF2-40B4-BE49-F238E27FC236}">
                <a16:creationId xmlns:a16="http://schemas.microsoft.com/office/drawing/2014/main" id="{B28D1113-52DA-483F-3785-0C038FF3D488}"/>
              </a:ext>
            </a:extLst>
          </p:cNvPr>
          <p:cNvSpPr>
            <a:spLocks noChangeAspect="1" noChangeArrowheads="1"/>
          </p:cNvSpPr>
          <p:nvPr/>
        </p:nvSpPr>
        <p:spPr bwMode="auto">
          <a:xfrm>
            <a:off x="628650" y="1990900"/>
            <a:ext cx="464945" cy="464945"/>
          </a:xfrm>
          <a:prstGeom prst="ellipse">
            <a:avLst/>
          </a:prstGeom>
          <a:grpFill/>
          <a:ln w="19050">
            <a:gradFill flip="none" rotWithShape="1">
              <a:gsLst>
                <a:gs pos="0">
                  <a:srgbClr val="670F31"/>
                </a:gs>
                <a:gs pos="100000">
                  <a:srgbClr val="E71C57"/>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1</a:t>
            </a:r>
          </a:p>
        </p:txBody>
      </p:sp>
      <p:grpSp>
        <p:nvGrpSpPr>
          <p:cNvPr id="19" name="Group 18">
            <a:extLst>
              <a:ext uri="{FF2B5EF4-FFF2-40B4-BE49-F238E27FC236}">
                <a16:creationId xmlns:a16="http://schemas.microsoft.com/office/drawing/2014/main" id="{7BA4FF89-FFF4-D5C8-493E-D63717101376}"/>
              </a:ext>
            </a:extLst>
          </p:cNvPr>
          <p:cNvGrpSpPr/>
          <p:nvPr/>
        </p:nvGrpSpPr>
        <p:grpSpPr>
          <a:xfrm>
            <a:off x="703365" y="3636335"/>
            <a:ext cx="10785271" cy="1471934"/>
            <a:chOff x="703365" y="3005779"/>
            <a:chExt cx="10785271" cy="1909162"/>
          </a:xfrm>
        </p:grpSpPr>
        <p:sp>
          <p:nvSpPr>
            <p:cNvPr id="25" name="Rectangle: Rounded Corners 24">
              <a:extLst>
                <a:ext uri="{FF2B5EF4-FFF2-40B4-BE49-F238E27FC236}">
                  <a16:creationId xmlns:a16="http://schemas.microsoft.com/office/drawing/2014/main" id="{10C19BDD-AE87-D7D4-6D17-EC56ACB4C64F}"/>
                </a:ext>
              </a:extLst>
            </p:cNvPr>
            <p:cNvSpPr/>
            <p:nvPr/>
          </p:nvSpPr>
          <p:spPr>
            <a:xfrm>
              <a:off x="703365" y="3005779"/>
              <a:ext cx="3261538" cy="1909162"/>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R="0" lvl="0" algn="l" defTabSz="914400" eaLnBrk="1" fontAlgn="auto" latinLnBrk="0" hangingPunct="1">
                <a:lnSpc>
                  <a:spcPct val="100000"/>
                </a:lnSpc>
                <a:spcBef>
                  <a:spcPts val="0"/>
                </a:spcBef>
                <a:spcAft>
                  <a:spcPts val="0"/>
                </a:spcAft>
                <a:buClr>
                  <a:srgbClr val="A41034"/>
                </a:buClr>
                <a:buSzTx/>
                <a:tabLst/>
                <a:defRPr/>
              </a:pPr>
              <a:r>
                <a:rPr kumimoji="0" lang="en-US" sz="1400" b="0" i="0" u="none" strike="noStrike" kern="1200" cap="none" spc="0" normalizeH="0" baseline="0" noProof="0" dirty="0">
                  <a:ln>
                    <a:noFill/>
                  </a:ln>
                  <a:solidFill>
                    <a:srgbClr val="575757"/>
                  </a:solidFill>
                  <a:effectLst/>
                  <a:uLnTx/>
                  <a:uFillTx/>
                  <a:latin typeface="Arial" panose="020B0604020202020204" pitchFamily="34" charset="0"/>
                  <a:cs typeface="Arial" panose="020B0604020202020204" pitchFamily="34" charset="0"/>
                </a:rPr>
                <a:t>Multinational IT services company</a:t>
              </a:r>
              <a:r>
                <a:rPr lang="en-US" sz="1400" dirty="0">
                  <a:solidFill>
                    <a:srgbClr val="575757"/>
                  </a:solidFill>
                  <a:latin typeface="Arial" panose="020B0604020202020204" pitchFamily="34" charset="0"/>
                  <a:cs typeface="Arial" panose="020B0604020202020204" pitchFamily="34" charset="0"/>
                </a:rPr>
                <a:t> identified cybersecurity as a key digital skill for the future,</a:t>
              </a:r>
              <a:r>
                <a:rPr kumimoji="0" lang="en-US" sz="1400" b="0" i="0" u="none" strike="noStrike" kern="1200" cap="none" spc="0" normalizeH="0" baseline="0" noProof="0" dirty="0">
                  <a:ln>
                    <a:noFill/>
                  </a:ln>
                  <a:solidFill>
                    <a:srgbClr val="575757"/>
                  </a:solidFill>
                  <a:effectLst/>
                  <a:uLnTx/>
                  <a:uFillTx/>
                  <a:latin typeface="Arial" panose="020B0604020202020204" pitchFamily="34" charset="0"/>
                  <a:cs typeface="Arial" panose="020B0604020202020204" pitchFamily="34" charset="0"/>
                </a:rPr>
                <a:t> ran reskilling programs to train up to 2000 cybersecurity experts from various starting skill levels </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575757"/>
                </a:solidFill>
                <a:effectLst/>
                <a:uLnTx/>
                <a:uFillTx/>
                <a:latin typeface="Arial" panose="020B0604020202020204" pitchFamily="34" charset="0"/>
                <a:cs typeface="Arial" panose="020B0604020202020204" pitchFamily="34" charset="0"/>
              </a:endParaRPr>
            </a:p>
          </p:txBody>
        </p:sp>
        <p:sp>
          <p:nvSpPr>
            <p:cNvPr id="26" name="Rectangle: Rounded Corners 25">
              <a:extLst>
                <a:ext uri="{FF2B5EF4-FFF2-40B4-BE49-F238E27FC236}">
                  <a16:creationId xmlns:a16="http://schemas.microsoft.com/office/drawing/2014/main" id="{CE3A6FAD-037B-3A01-B47F-637E6FFCE23C}"/>
                </a:ext>
              </a:extLst>
            </p:cNvPr>
            <p:cNvSpPr/>
            <p:nvPr/>
          </p:nvSpPr>
          <p:spPr>
            <a:xfrm>
              <a:off x="4465232" y="3011009"/>
              <a:ext cx="3261538" cy="1898703"/>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R="0" lvl="0" algn="l" defTabSz="914400" eaLnBrk="1" fontAlgn="auto" latinLnBrk="0" hangingPunct="1">
                <a:lnSpc>
                  <a:spcPct val="100000"/>
                </a:lnSpc>
                <a:spcBef>
                  <a:spcPts val="0"/>
                </a:spcBef>
                <a:spcAft>
                  <a:spcPts val="0"/>
                </a:spcAft>
                <a:buClr>
                  <a:srgbClr val="A41034"/>
                </a:buClr>
                <a:buSzTx/>
                <a:tabLst/>
                <a:defRPr/>
              </a:pPr>
              <a:r>
                <a:rPr kumimoji="0" lang="en-US" sz="1400" b="0" i="0" u="none" strike="noStrike" kern="1200" cap="none" spc="0" normalizeH="0" baseline="0" noProof="0" dirty="0">
                  <a:ln>
                    <a:noFill/>
                  </a:ln>
                  <a:solidFill>
                    <a:srgbClr val="575757"/>
                  </a:solidFill>
                  <a:effectLst/>
                  <a:uLnTx/>
                  <a:uFillTx/>
                  <a:latin typeface="Arial" panose="020B0604020202020204" pitchFamily="34" charset="0"/>
                  <a:cs typeface="Arial" panose="020B0604020202020204" pitchFamily="34" charset="0"/>
                </a:rPr>
                <a:t>Global company aims to change from a telecommunication firm to a tech firm, can't find developers externally – aims to fill 40% of 7000 open software developer jobs from internal talent</a:t>
              </a:r>
            </a:p>
            <a:p>
              <a:pPr marL="285750" marR="0" lvl="0" indent="-285750" algn="l" defTabSz="914400" eaLnBrk="1" fontAlgn="auto" latinLnBrk="0" hangingPunct="1">
                <a:lnSpc>
                  <a:spcPct val="100000"/>
                </a:lnSpc>
                <a:spcBef>
                  <a:spcPts val="0"/>
                </a:spcBef>
                <a:spcAft>
                  <a:spcPts val="0"/>
                </a:spcAft>
                <a:buClr>
                  <a:srgbClr val="A41034"/>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575757"/>
                </a:solidFill>
                <a:effectLst/>
                <a:uLnTx/>
                <a:uFillTx/>
                <a:latin typeface="Arial" panose="020B0604020202020204" pitchFamily="34" charset="0"/>
                <a:cs typeface="Arial" panose="020B0604020202020204" pitchFamily="34" charset="0"/>
              </a:endParaRPr>
            </a:p>
          </p:txBody>
        </p:sp>
        <p:sp>
          <p:nvSpPr>
            <p:cNvPr id="27" name="Rectangle: Rounded Corners 26">
              <a:extLst>
                <a:ext uri="{FF2B5EF4-FFF2-40B4-BE49-F238E27FC236}">
                  <a16:creationId xmlns:a16="http://schemas.microsoft.com/office/drawing/2014/main" id="{4C0A940F-95E7-6EED-39EF-31941466244C}"/>
                </a:ext>
              </a:extLst>
            </p:cNvPr>
            <p:cNvSpPr/>
            <p:nvPr/>
          </p:nvSpPr>
          <p:spPr>
            <a:xfrm>
              <a:off x="8227098" y="3020903"/>
              <a:ext cx="3261538" cy="1878914"/>
            </a:xfrm>
            <a:prstGeom prst="roundRect">
              <a:avLst/>
            </a:prstGeom>
            <a:solidFill>
              <a:srgbClr val="FFFFFF"/>
            </a:solidFill>
            <a:ln w="9525" cap="rnd" cmpd="sng" algn="ctr">
              <a:solidFill>
                <a:srgbClr val="A41034"/>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oAutofit/>
            </a:bodyPr>
            <a:lstStyle/>
            <a:p>
              <a:pPr marR="0" lvl="0" algn="l" defTabSz="914400" eaLnBrk="1" fontAlgn="auto" latinLnBrk="0" hangingPunct="1">
                <a:lnSpc>
                  <a:spcPct val="100000"/>
                </a:lnSpc>
                <a:spcBef>
                  <a:spcPts val="0"/>
                </a:spcBef>
                <a:spcAft>
                  <a:spcPts val="0"/>
                </a:spcAft>
                <a:buClr>
                  <a:srgbClr val="A41034"/>
                </a:buClr>
                <a:buSzTx/>
                <a:tabLst/>
                <a:defRPr/>
              </a:pPr>
              <a:r>
                <a:rPr kumimoji="0" lang="en-US" sz="1400" b="0" i="0" u="none" strike="noStrike" kern="1200" cap="none" spc="0" normalizeH="0" baseline="0" noProof="0" dirty="0">
                  <a:ln>
                    <a:noFill/>
                  </a:ln>
                  <a:solidFill>
                    <a:srgbClr val="575757"/>
                  </a:solidFill>
                  <a:effectLst/>
                  <a:uLnTx/>
                  <a:uFillTx/>
                  <a:latin typeface="Arial" panose="020B0604020202020204" pitchFamily="34" charset="0"/>
                  <a:cs typeface="Arial" panose="020B0604020202020204" pitchFamily="34" charset="0"/>
                </a:rPr>
                <a:t>During the peak of the pandemic, US health retailer reskilled workers from different fields (among them laid-off hospitality workers) into their vaccination and testing centers</a:t>
              </a:r>
            </a:p>
          </p:txBody>
        </p:sp>
      </p:grpSp>
      <p:sp>
        <p:nvSpPr>
          <p:cNvPr id="29" name="Isosceles Triangle 28">
            <a:extLst>
              <a:ext uri="{FF2B5EF4-FFF2-40B4-BE49-F238E27FC236}">
                <a16:creationId xmlns:a16="http://schemas.microsoft.com/office/drawing/2014/main" id="{FCA13B8F-91BB-B13A-A382-711BE88893DC}"/>
              </a:ext>
            </a:extLst>
          </p:cNvPr>
          <p:cNvSpPr/>
          <p:nvPr/>
        </p:nvSpPr>
        <p:spPr>
          <a:xfrm rot="5400000">
            <a:off x="11449584" y="1199618"/>
            <a:ext cx="683295" cy="265263"/>
          </a:xfrm>
          <a:prstGeom prst="triangle">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3110870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Office">
      <a:dk1>
        <a:srgbClr val="000000"/>
      </a:dk1>
      <a:lt1>
        <a:srgbClr val="FFFFFF"/>
      </a:lt1>
      <a:dk2>
        <a:srgbClr val="595959"/>
      </a:dk2>
      <a:lt2>
        <a:srgbClr val="E7E6E6"/>
      </a:lt2>
      <a:accent1>
        <a:srgbClr val="A41034"/>
      </a:accent1>
      <a:accent2>
        <a:srgbClr val="BFBFBF"/>
      </a:accent2>
      <a:accent3>
        <a:srgbClr val="7F7F7F"/>
      </a:accent3>
      <a:accent4>
        <a:srgbClr val="BFBFBF"/>
      </a:accent4>
      <a:accent5>
        <a:srgbClr val="3684B9"/>
      </a:accent5>
      <a:accent6>
        <a:srgbClr val="E3E3E3"/>
      </a:accent6>
      <a:hlink>
        <a:srgbClr val="A41034"/>
      </a:hlink>
      <a:folHlink>
        <a:srgbClr val="A4103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rgbClr val="000000"/>
      </a:dk1>
      <a:lt1>
        <a:srgbClr val="FFFFFF"/>
      </a:lt1>
      <a:dk2>
        <a:srgbClr val="595959"/>
      </a:dk2>
      <a:lt2>
        <a:srgbClr val="E7E6E6"/>
      </a:lt2>
      <a:accent1>
        <a:srgbClr val="A41034"/>
      </a:accent1>
      <a:accent2>
        <a:srgbClr val="BFBFBF"/>
      </a:accent2>
      <a:accent3>
        <a:srgbClr val="7F7F7F"/>
      </a:accent3>
      <a:accent4>
        <a:srgbClr val="BFBFBF"/>
      </a:accent4>
      <a:accent5>
        <a:srgbClr val="3684B9"/>
      </a:accent5>
      <a:accent6>
        <a:srgbClr val="E3E3E3"/>
      </a:accent6>
      <a:hlink>
        <a:srgbClr val="A41034"/>
      </a:hlink>
      <a:folHlink>
        <a:srgbClr val="A4103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BCG Grid 16:9">
  <a:themeElements>
    <a:clrScheme name="BCG Henderson Institute">
      <a:dk1>
        <a:srgbClr val="575757"/>
      </a:dk1>
      <a:lt1>
        <a:sysClr val="window" lastClr="FFFFFF"/>
      </a:lt1>
      <a:dk2>
        <a:srgbClr val="60C090"/>
      </a:dk2>
      <a:lt2>
        <a:srgbClr val="F2F2F2"/>
      </a:lt2>
      <a:accent1>
        <a:srgbClr val="215649"/>
      </a:accent1>
      <a:accent2>
        <a:srgbClr val="97DF65"/>
      </a:accent2>
      <a:accent3>
        <a:srgbClr val="FFFF00"/>
      </a:accent3>
      <a:accent4>
        <a:srgbClr val="44AD93"/>
      </a:accent4>
      <a:accent5>
        <a:srgbClr val="797979"/>
      </a:accent5>
      <a:accent6>
        <a:srgbClr val="00B0F0"/>
      </a:accent6>
      <a:hlink>
        <a:srgbClr val="7030A0"/>
      </a:hlink>
      <a:folHlink>
        <a:srgbClr val="7030A0"/>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0C090"/>
        </a:solidFill>
        <a:ln w="9525" cap="rnd" cmpd="sng" algn="ctr">
          <a:solidFill>
            <a:srgbClr val="60C09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2_Office Theme">
  <a:themeElements>
    <a:clrScheme name="D3">
      <a:dk1>
        <a:srgbClr val="000000"/>
      </a:dk1>
      <a:lt1>
        <a:srgbClr val="FFFFFF"/>
      </a:lt1>
      <a:dk2>
        <a:srgbClr val="808284"/>
      </a:dk2>
      <a:lt2>
        <a:srgbClr val="E7E6E6"/>
      </a:lt2>
      <a:accent1>
        <a:srgbClr val="3CBDB7"/>
      </a:accent1>
      <a:accent2>
        <a:srgbClr val="FF6B3B"/>
      </a:accent2>
      <a:accent3>
        <a:srgbClr val="FFBB00"/>
      </a:accent3>
      <a:accent4>
        <a:srgbClr val="A41034"/>
      </a:accent4>
      <a:accent5>
        <a:srgbClr val="FFBB00"/>
      </a:accent5>
      <a:accent6>
        <a:srgbClr val="3CBDB7"/>
      </a:accent6>
      <a:hlink>
        <a:srgbClr val="0563C1"/>
      </a:hlink>
      <a:folHlink>
        <a:srgbClr val="954F72"/>
      </a:folHlink>
    </a:clrScheme>
    <a:fontScheme name="D^3 PPT">
      <a:majorFont>
        <a:latin typeface="Roboto Black"/>
        <a:ea typeface=""/>
        <a:cs typeface=""/>
      </a:majorFont>
      <a:minorFont>
        <a:latin typeface="Lor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rgbClr val="000000"/>
    </a:dk1>
    <a:lt1>
      <a:srgbClr val="FFFFFF"/>
    </a:lt1>
    <a:dk2>
      <a:srgbClr val="595959"/>
    </a:dk2>
    <a:lt2>
      <a:srgbClr val="E7E6E6"/>
    </a:lt2>
    <a:accent1>
      <a:srgbClr val="A41034"/>
    </a:accent1>
    <a:accent2>
      <a:srgbClr val="BFBFBF"/>
    </a:accent2>
    <a:accent3>
      <a:srgbClr val="7F7F7F"/>
    </a:accent3>
    <a:accent4>
      <a:srgbClr val="BFBFBF"/>
    </a:accent4>
    <a:accent5>
      <a:srgbClr val="3684B9"/>
    </a:accent5>
    <a:accent6>
      <a:srgbClr val="E3E3E3"/>
    </a:accent6>
    <a:hlink>
      <a:srgbClr val="A41034"/>
    </a:hlink>
    <a:folHlink>
      <a:srgbClr val="A4103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46A50A8B73674FA7ABF1D0394C60D1" ma:contentTypeVersion="4" ma:contentTypeDescription="Create a new document." ma:contentTypeScope="" ma:versionID="d4ebd829ea30ab254ceecbe0a2bc8e18">
  <xsd:schema xmlns:xsd="http://www.w3.org/2001/XMLSchema" xmlns:xs="http://www.w3.org/2001/XMLSchema" xmlns:p="http://schemas.microsoft.com/office/2006/metadata/properties" xmlns:ns2="4a66a441-741e-407c-ba6a-573e4cb6c84d" targetNamespace="http://schemas.microsoft.com/office/2006/metadata/properties" ma:root="true" ma:fieldsID="dde610c696e369249de4e4b05dd6cb25" ns2:_="">
    <xsd:import namespace="4a66a441-741e-407c-ba6a-573e4cb6c84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66a441-741e-407c-ba6a-573e4cb6c8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8592A4E-CDB1-4780-A398-EE886BC1E6BF}">
  <ds:schemaRefs>
    <ds:schemaRef ds:uri="4a66a441-741e-407c-ba6a-573e4cb6c84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6396344-F99C-4774-AF99-08CD428FE7A6}">
  <ds:schemaRefs>
    <ds:schemaRef ds:uri="http://schemas.microsoft.com/sharepoint/v3/contenttype/forms"/>
  </ds:schemaRefs>
</ds:datastoreItem>
</file>

<file path=customXml/itemProps3.xml><?xml version="1.0" encoding="utf-8"?>
<ds:datastoreItem xmlns:ds="http://schemas.openxmlformats.org/officeDocument/2006/customXml" ds:itemID="{9F6BE313-54CF-4755-8F44-8C7F7B66C2E5}">
  <ds:schemaRefs>
    <ds:schemaRef ds:uri="http://purl.org/dc/dcmitype/"/>
    <ds:schemaRef ds:uri="http://purl.org/dc/elements/1.1/"/>
    <ds:schemaRef ds:uri="http://www.w3.org/XML/1998/namespace"/>
    <ds:schemaRef ds:uri="4a66a441-741e-407c-ba6a-573e4cb6c84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lank</Template>
  <TotalTime>452</TotalTime>
  <Words>2242</Words>
  <Application>Microsoft Macintosh PowerPoint</Application>
  <PresentationFormat>Widescreen</PresentationFormat>
  <Paragraphs>291</Paragraphs>
  <Slides>21</Slides>
  <Notes>19</Notes>
  <HiddenSlides>0</HiddenSlides>
  <MMClips>0</MMClips>
  <ScaleCrop>false</ScaleCrop>
  <HeadingPairs>
    <vt:vector size="10"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1</vt:i4>
      </vt:variant>
      <vt:variant>
        <vt:lpstr>Custom Shows</vt:lpstr>
      </vt:variant>
      <vt:variant>
        <vt:i4>1</vt:i4>
      </vt:variant>
    </vt:vector>
  </HeadingPairs>
  <TitlesOfParts>
    <vt:vector size="36" baseType="lpstr">
      <vt:lpstr>Arial</vt:lpstr>
      <vt:lpstr>Calibri</vt:lpstr>
      <vt:lpstr>Lora</vt:lpstr>
      <vt:lpstr>Roboto</vt:lpstr>
      <vt:lpstr>Roboto  </vt:lpstr>
      <vt:lpstr>Roboto Black</vt:lpstr>
      <vt:lpstr>Trebuchet MS</vt:lpstr>
      <vt:lpstr>Wingdings</vt:lpstr>
      <vt:lpstr>BCG Grid 16:9</vt:lpstr>
      <vt:lpstr>Office Theme</vt:lpstr>
      <vt:lpstr>1_Office Theme</vt:lpstr>
      <vt:lpstr>6_BCG Grid 16:9</vt:lpstr>
      <vt:lpstr>2_Office Theme</vt:lpstr>
      <vt:lpstr>think-cell Slide</vt:lpstr>
      <vt:lpstr>Reskilling Revolution?  Evidence from the Digital Reskilling Lab at HBS </vt:lpstr>
      <vt:lpstr>Why Reskilling?</vt:lpstr>
      <vt:lpstr>PowerPoint Presentation</vt:lpstr>
      <vt:lpstr>PowerPoint Presentation</vt:lpstr>
      <vt:lpstr>Progress</vt:lpstr>
      <vt:lpstr>Today’s objec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ep dive 1: Talent Hoarding</vt:lpstr>
      <vt:lpstr>Deep dive 2: Who wants to be reskilled?</vt:lpstr>
      <vt:lpstr>Next Steps</vt:lpstr>
      <vt:lpstr>Thank you</vt:lpstr>
      <vt:lpstr>Why Reskilling?</vt:lpstr>
      <vt:lpstr>The Digital Data Design Institute at Harvard</vt:lpstr>
      <vt:lpstr>Format Guide Workshop</vt:lpstr>
    </vt:vector>
  </TitlesOfParts>
  <Company>B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kboontip, Tom</dc:creator>
  <cp:lastModifiedBy>Sadun, Raffaella</cp:lastModifiedBy>
  <cp:revision>59</cp:revision>
  <cp:lastPrinted>2016-04-06T18:59:25Z</cp:lastPrinted>
  <dcterms:created xsi:type="dcterms:W3CDTF">2023-04-16T13:35:49Z</dcterms:created>
  <dcterms:modified xsi:type="dcterms:W3CDTF">2023-07-20T06:1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3-04-16T13:36:31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9e1b68b0-e41a-4984-8fa9-1b16ad13792d</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y fmtid="{D5CDD505-2E9C-101B-9397-08002B2CF9AE}" pid="15" name="ContentTypeId">
    <vt:lpwstr>0x010100DB46A50A8B73674FA7ABF1D0394C60D1</vt:lpwstr>
  </property>
</Properties>
</file>